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2"/>
    <p:sldId id="265" r:id="rId3"/>
    <p:sldId id="258" r:id="rId4"/>
    <p:sldId id="272" r:id="rId5"/>
    <p:sldId id="273" r:id="rId6"/>
    <p:sldId id="274" r:id="rId7"/>
    <p:sldId id="275" r:id="rId8"/>
    <p:sldId id="276" r:id="rId9"/>
    <p:sldId id="277" r:id="rId10"/>
    <p:sldId id="262" r:id="rId11"/>
    <p:sldId id="266" r:id="rId12"/>
    <p:sldId id="267" r:id="rId13"/>
    <p:sldId id="268" r:id="rId14"/>
    <p:sldId id="269" r:id="rId15"/>
    <p:sldId id="270" r:id="rId16"/>
    <p:sldId id="271" r:id="rId17"/>
    <p:sldId id="263" r:id="rId18"/>
    <p:sldId id="284" r:id="rId19"/>
    <p:sldId id="285" r:id="rId20"/>
    <p:sldId id="286" r:id="rId21"/>
    <p:sldId id="287" r:id="rId22"/>
    <p:sldId id="288" r:id="rId23"/>
    <p:sldId id="289" r:id="rId24"/>
    <p:sldId id="290" r:id="rId25"/>
    <p:sldId id="264" r:id="rId26"/>
    <p:sldId id="278" r:id="rId27"/>
    <p:sldId id="279" r:id="rId28"/>
    <p:sldId id="280" r:id="rId29"/>
    <p:sldId id="281" r:id="rId30"/>
    <p:sldId id="282" r:id="rId31"/>
    <p:sldId id="283" r:id="rId32"/>
    <p:sldId id="261" r:id="rId33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Wang" initials="JW" lastIdx="1" clrIdx="0">
    <p:extLst>
      <p:ext uri="{19B8F6BF-5375-455C-9EA6-DF929625EA0E}">
        <p15:presenceInfo xmlns:p15="http://schemas.microsoft.com/office/powerpoint/2012/main" userId="James W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BCA6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2480" y="12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10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0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42DB9C8A-5CCD-4F82-BF12-BEC9F1FBFD8F}"/>
              </a:ext>
            </a:extLst>
          </p:cNvPr>
          <p:cNvGrpSpPr/>
          <p:nvPr userDrawn="1"/>
        </p:nvGrpSpPr>
        <p:grpSpPr>
          <a:xfrm>
            <a:off x="160696" y="233251"/>
            <a:ext cx="6537547" cy="6454099"/>
            <a:chOff x="342224" y="478451"/>
            <a:chExt cx="6274475" cy="6194385"/>
          </a:xfrm>
        </p:grpSpPr>
        <p:sp>
          <p:nvSpPr>
            <p:cNvPr id="9807" name="Rectangle 6">
              <a:extLst>
                <a:ext uri="{FF2B5EF4-FFF2-40B4-BE49-F238E27FC236}">
                  <a16:creationId xmlns:a16="http://schemas.microsoft.com/office/drawing/2014/main" id="{B4D3A0C0-1897-4FD9-87FD-8534E0F45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73102" y="478451"/>
              <a:ext cx="5255751" cy="590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8" name="Freeform 7">
              <a:extLst>
                <a:ext uri="{FF2B5EF4-FFF2-40B4-BE49-F238E27FC236}">
                  <a16:creationId xmlns:a16="http://schemas.microsoft.com/office/drawing/2014/main" id="{DA875899-17F9-44AD-ADBE-449986420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195" y="2669517"/>
              <a:ext cx="1919504" cy="2008569"/>
            </a:xfrm>
            <a:prstGeom prst="ellipse">
              <a:avLst/>
            </a:pr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9" name="Rectangle 8">
              <a:extLst>
                <a:ext uri="{FF2B5EF4-FFF2-40B4-BE49-F238E27FC236}">
                  <a16:creationId xmlns:a16="http://schemas.microsoft.com/office/drawing/2014/main" id="{85703B75-0367-4052-867E-455FB3B0C7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87660" y="3144018"/>
              <a:ext cx="10749" cy="2372508"/>
            </a:xfrm>
            <a:prstGeom prst="rect">
              <a:avLst/>
            </a:pr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0" name="Freeform 9">
              <a:extLst>
                <a:ext uri="{FF2B5EF4-FFF2-40B4-BE49-F238E27FC236}">
                  <a16:creationId xmlns:a16="http://schemas.microsoft.com/office/drawing/2014/main" id="{74907CE0-868A-4650-A753-03BC31746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7660" y="3144018"/>
              <a:ext cx="10749" cy="2372508"/>
            </a:xfrm>
            <a:custGeom>
              <a:avLst/>
              <a:gdLst>
                <a:gd name="T0" fmla="*/ 7 w 7"/>
                <a:gd name="T1" fmla="*/ 1545 h 1545"/>
                <a:gd name="T2" fmla="*/ 7 w 7"/>
                <a:gd name="T3" fmla="*/ 0 h 1545"/>
                <a:gd name="T4" fmla="*/ 0 w 7"/>
                <a:gd name="T5" fmla="*/ 0 h 1545"/>
                <a:gd name="T6" fmla="*/ 0 w 7"/>
                <a:gd name="T7" fmla="*/ 1545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45">
                  <a:moveTo>
                    <a:pt x="7" y="1545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15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1" name="Freeform 10">
              <a:extLst>
                <a:ext uri="{FF2B5EF4-FFF2-40B4-BE49-F238E27FC236}">
                  <a16:creationId xmlns:a16="http://schemas.microsoft.com/office/drawing/2014/main" id="{903E4B81-E784-404C-8957-5D2565664C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3530" y="3790508"/>
              <a:ext cx="681808" cy="683344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  <a:gd name="T8" fmla="*/ 444 w 444"/>
                <a:gd name="T9" fmla="*/ 43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  <a:lnTo>
                    <a:pt x="444" y="43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2" name="Freeform 11">
              <a:extLst>
                <a:ext uri="{FF2B5EF4-FFF2-40B4-BE49-F238E27FC236}">
                  <a16:creationId xmlns:a16="http://schemas.microsoft.com/office/drawing/2014/main" id="{1DB921AC-1A2C-47C7-BCD7-6E2E5E377E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3530" y="3790508"/>
              <a:ext cx="681808" cy="683344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3" name="Freeform 12">
              <a:extLst>
                <a:ext uri="{FF2B5EF4-FFF2-40B4-BE49-F238E27FC236}">
                  <a16:creationId xmlns:a16="http://schemas.microsoft.com/office/drawing/2014/main" id="{6B43BF94-6F38-4E38-ABCD-9C04633F0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195" y="3767473"/>
              <a:ext cx="288693" cy="290230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  <a:gd name="T8" fmla="*/ 4 w 188"/>
                <a:gd name="T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  <a:lnTo>
                    <a:pt x="4" y="18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4" name="Freeform 13">
              <a:extLst>
                <a:ext uri="{FF2B5EF4-FFF2-40B4-BE49-F238E27FC236}">
                  <a16:creationId xmlns:a16="http://schemas.microsoft.com/office/drawing/2014/main" id="{17AAB889-1898-465A-92E0-340655499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195" y="3767473"/>
              <a:ext cx="288693" cy="290230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5" name="Freeform 14">
              <a:extLst>
                <a:ext uri="{FF2B5EF4-FFF2-40B4-BE49-F238E27FC236}">
                  <a16:creationId xmlns:a16="http://schemas.microsoft.com/office/drawing/2014/main" id="{46FFE9A2-2662-400E-A5DB-937C35B9BA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8408" y="3045740"/>
              <a:ext cx="336298" cy="336298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  <a:gd name="T8" fmla="*/ 6 w 219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  <a:lnTo>
                    <a:pt x="6" y="21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6" name="Freeform 15">
              <a:extLst>
                <a:ext uri="{FF2B5EF4-FFF2-40B4-BE49-F238E27FC236}">
                  <a16:creationId xmlns:a16="http://schemas.microsoft.com/office/drawing/2014/main" id="{4D04F0B6-AC65-4A4D-995C-1DC770307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8408" y="3045740"/>
              <a:ext cx="336298" cy="336298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7" name="Freeform 16">
              <a:extLst>
                <a:ext uri="{FF2B5EF4-FFF2-40B4-BE49-F238E27FC236}">
                  <a16:creationId xmlns:a16="http://schemas.microsoft.com/office/drawing/2014/main" id="{54DC4BB9-F898-46C8-9E39-43A610822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2224" y="5257008"/>
              <a:ext cx="1239232" cy="322477"/>
            </a:xfrm>
            <a:custGeom>
              <a:avLst/>
              <a:gdLst>
                <a:gd name="T0" fmla="*/ 0 w 431"/>
                <a:gd name="T1" fmla="*/ 112 h 112"/>
                <a:gd name="T2" fmla="*/ 431 w 431"/>
                <a:gd name="T3" fmla="*/ 112 h 112"/>
                <a:gd name="T4" fmla="*/ 336 w 431"/>
                <a:gd name="T5" fmla="*/ 17 h 112"/>
                <a:gd name="T6" fmla="*/ 303 w 431"/>
                <a:gd name="T7" fmla="*/ 17 h 112"/>
                <a:gd name="T8" fmla="*/ 275 w 431"/>
                <a:gd name="T9" fmla="*/ 44 h 112"/>
                <a:gd name="T10" fmla="*/ 242 w 431"/>
                <a:gd name="T11" fmla="*/ 44 h 112"/>
                <a:gd name="T12" fmla="*/ 207 w 431"/>
                <a:gd name="T13" fmla="*/ 9 h 112"/>
                <a:gd name="T14" fmla="*/ 173 w 431"/>
                <a:gd name="T15" fmla="*/ 9 h 112"/>
                <a:gd name="T16" fmla="*/ 124 w 431"/>
                <a:gd name="T17" fmla="*/ 58 h 112"/>
                <a:gd name="T18" fmla="*/ 90 w 431"/>
                <a:gd name="T19" fmla="*/ 58 h 112"/>
                <a:gd name="T20" fmla="*/ 57 w 431"/>
                <a:gd name="T21" fmla="*/ 58 h 112"/>
                <a:gd name="T22" fmla="*/ 0 w 431"/>
                <a:gd name="T2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1" h="112">
                  <a:moveTo>
                    <a:pt x="0" y="112"/>
                  </a:moveTo>
                  <a:cubicBezTo>
                    <a:pt x="431" y="112"/>
                    <a:pt x="431" y="112"/>
                    <a:pt x="431" y="112"/>
                  </a:cubicBezTo>
                  <a:cubicBezTo>
                    <a:pt x="336" y="17"/>
                    <a:pt x="336" y="17"/>
                    <a:pt x="336" y="17"/>
                  </a:cubicBezTo>
                  <a:cubicBezTo>
                    <a:pt x="327" y="8"/>
                    <a:pt x="312" y="8"/>
                    <a:pt x="303" y="17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66" y="54"/>
                    <a:pt x="251" y="54"/>
                    <a:pt x="242" y="44"/>
                  </a:cubicBezTo>
                  <a:cubicBezTo>
                    <a:pt x="207" y="9"/>
                    <a:pt x="207" y="9"/>
                    <a:pt x="207" y="9"/>
                  </a:cubicBezTo>
                  <a:cubicBezTo>
                    <a:pt x="197" y="0"/>
                    <a:pt x="182" y="0"/>
                    <a:pt x="173" y="9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15" y="68"/>
                    <a:pt x="100" y="68"/>
                    <a:pt x="90" y="58"/>
                  </a:cubicBezTo>
                  <a:cubicBezTo>
                    <a:pt x="81" y="49"/>
                    <a:pt x="66" y="49"/>
                    <a:pt x="57" y="58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8" name="Freeform 17">
              <a:extLst>
                <a:ext uri="{FF2B5EF4-FFF2-40B4-BE49-F238E27FC236}">
                  <a16:creationId xmlns:a16="http://schemas.microsoft.com/office/drawing/2014/main" id="{62E60E3E-98DD-46D6-B781-8298A52BA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4162" y="5209406"/>
              <a:ext cx="1558638" cy="419221"/>
            </a:xfrm>
            <a:custGeom>
              <a:avLst/>
              <a:gdLst>
                <a:gd name="T0" fmla="*/ 542 w 542"/>
                <a:gd name="T1" fmla="*/ 146 h 146"/>
                <a:gd name="T2" fmla="*/ 0 w 542"/>
                <a:gd name="T3" fmla="*/ 146 h 146"/>
                <a:gd name="T4" fmla="*/ 59 w 542"/>
                <a:gd name="T5" fmla="*/ 36 h 146"/>
                <a:gd name="T6" fmla="*/ 149 w 542"/>
                <a:gd name="T7" fmla="*/ 33 h 146"/>
                <a:gd name="T8" fmla="*/ 166 w 542"/>
                <a:gd name="T9" fmla="*/ 60 h 146"/>
                <a:gd name="T10" fmla="*/ 241 w 542"/>
                <a:gd name="T11" fmla="*/ 74 h 146"/>
                <a:gd name="T12" fmla="*/ 302 w 542"/>
                <a:gd name="T13" fmla="*/ 74 h 146"/>
                <a:gd name="T14" fmla="*/ 345 w 542"/>
                <a:gd name="T15" fmla="*/ 104 h 146"/>
                <a:gd name="T16" fmla="*/ 396 w 542"/>
                <a:gd name="T17" fmla="*/ 110 h 146"/>
                <a:gd name="T18" fmla="*/ 410 w 542"/>
                <a:gd name="T19" fmla="*/ 103 h 146"/>
                <a:gd name="T20" fmla="*/ 453 w 542"/>
                <a:gd name="T21" fmla="*/ 104 h 146"/>
                <a:gd name="T22" fmla="*/ 542 w 542"/>
                <a:gd name="T2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146">
                  <a:moveTo>
                    <a:pt x="542" y="146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78" y="1"/>
                    <a:pt x="128" y="0"/>
                    <a:pt x="149" y="33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82" y="86"/>
                    <a:pt x="216" y="92"/>
                    <a:pt x="241" y="74"/>
                  </a:cubicBezTo>
                  <a:cubicBezTo>
                    <a:pt x="259" y="61"/>
                    <a:pt x="283" y="61"/>
                    <a:pt x="302" y="74"/>
                  </a:cubicBezTo>
                  <a:cubicBezTo>
                    <a:pt x="345" y="104"/>
                    <a:pt x="345" y="104"/>
                    <a:pt x="345" y="104"/>
                  </a:cubicBezTo>
                  <a:cubicBezTo>
                    <a:pt x="360" y="115"/>
                    <a:pt x="379" y="117"/>
                    <a:pt x="396" y="110"/>
                  </a:cubicBezTo>
                  <a:cubicBezTo>
                    <a:pt x="410" y="103"/>
                    <a:pt x="410" y="103"/>
                    <a:pt x="410" y="103"/>
                  </a:cubicBezTo>
                  <a:cubicBezTo>
                    <a:pt x="424" y="97"/>
                    <a:pt x="439" y="98"/>
                    <a:pt x="453" y="104"/>
                  </a:cubicBezTo>
                  <a:lnTo>
                    <a:pt x="542" y="146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19" name="Freeform 18">
              <a:extLst>
                <a:ext uri="{FF2B5EF4-FFF2-40B4-BE49-F238E27FC236}">
                  <a16:creationId xmlns:a16="http://schemas.microsoft.com/office/drawing/2014/main" id="{DEA13077-DC44-4B04-92B0-E8453E803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2224" y="5748402"/>
              <a:ext cx="1653845" cy="924433"/>
            </a:xfrm>
            <a:custGeom>
              <a:avLst/>
              <a:gdLst>
                <a:gd name="T0" fmla="*/ 832 w 1077"/>
                <a:gd name="T1" fmla="*/ 0 h 602"/>
                <a:gd name="T2" fmla="*/ 0 w 1077"/>
                <a:gd name="T3" fmla="*/ 550 h 602"/>
                <a:gd name="T4" fmla="*/ 0 w 1077"/>
                <a:gd name="T5" fmla="*/ 602 h 602"/>
                <a:gd name="T6" fmla="*/ 223 w 1077"/>
                <a:gd name="T7" fmla="*/ 602 h 602"/>
                <a:gd name="T8" fmla="*/ 1077 w 1077"/>
                <a:gd name="T9" fmla="*/ 19 h 602"/>
                <a:gd name="T10" fmla="*/ 832 w 1077"/>
                <a:gd name="T1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7" h="602">
                  <a:moveTo>
                    <a:pt x="832" y="0"/>
                  </a:moveTo>
                  <a:lnTo>
                    <a:pt x="0" y="550"/>
                  </a:lnTo>
                  <a:lnTo>
                    <a:pt x="0" y="602"/>
                  </a:lnTo>
                  <a:lnTo>
                    <a:pt x="223" y="602"/>
                  </a:lnTo>
                  <a:lnTo>
                    <a:pt x="1077" y="19"/>
                  </a:lnTo>
                  <a:lnTo>
                    <a:pt x="83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0" name="Freeform 19">
              <a:extLst>
                <a:ext uri="{FF2B5EF4-FFF2-40B4-BE49-F238E27FC236}">
                  <a16:creationId xmlns:a16="http://schemas.microsoft.com/office/drawing/2014/main" id="{DF20B537-7719-478A-B988-A39B4F5A2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0515" y="5728439"/>
              <a:ext cx="1351331" cy="944397"/>
            </a:xfrm>
            <a:custGeom>
              <a:avLst/>
              <a:gdLst>
                <a:gd name="T0" fmla="*/ 653 w 880"/>
                <a:gd name="T1" fmla="*/ 0 h 615"/>
                <a:gd name="T2" fmla="*/ 0 w 880"/>
                <a:gd name="T3" fmla="*/ 615 h 615"/>
                <a:gd name="T4" fmla="*/ 372 w 880"/>
                <a:gd name="T5" fmla="*/ 615 h 615"/>
                <a:gd name="T6" fmla="*/ 880 w 880"/>
                <a:gd name="T7" fmla="*/ 13 h 615"/>
                <a:gd name="T8" fmla="*/ 653 w 880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0" h="615">
                  <a:moveTo>
                    <a:pt x="653" y="0"/>
                  </a:moveTo>
                  <a:lnTo>
                    <a:pt x="0" y="615"/>
                  </a:lnTo>
                  <a:lnTo>
                    <a:pt x="372" y="615"/>
                  </a:lnTo>
                  <a:lnTo>
                    <a:pt x="880" y="13"/>
                  </a:lnTo>
                  <a:lnTo>
                    <a:pt x="653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1" name="Freeform 20">
              <a:extLst>
                <a:ext uri="{FF2B5EF4-FFF2-40B4-BE49-F238E27FC236}">
                  <a16:creationId xmlns:a16="http://schemas.microsoft.com/office/drawing/2014/main" id="{D740E7ED-A057-4295-B431-68B881F93E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5666" y="5754544"/>
              <a:ext cx="440718" cy="918291"/>
            </a:xfrm>
            <a:custGeom>
              <a:avLst/>
              <a:gdLst>
                <a:gd name="T0" fmla="*/ 272 w 287"/>
                <a:gd name="T1" fmla="*/ 0 h 598"/>
                <a:gd name="T2" fmla="*/ 287 w 287"/>
                <a:gd name="T3" fmla="*/ 598 h 598"/>
                <a:gd name="T4" fmla="*/ 0 w 287"/>
                <a:gd name="T5" fmla="*/ 598 h 598"/>
                <a:gd name="T6" fmla="*/ 28 w 287"/>
                <a:gd name="T7" fmla="*/ 108 h 598"/>
                <a:gd name="T8" fmla="*/ 272 w 287"/>
                <a:gd name="T9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598">
                  <a:moveTo>
                    <a:pt x="272" y="0"/>
                  </a:moveTo>
                  <a:lnTo>
                    <a:pt x="287" y="598"/>
                  </a:lnTo>
                  <a:lnTo>
                    <a:pt x="0" y="598"/>
                  </a:lnTo>
                  <a:lnTo>
                    <a:pt x="28" y="108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2" name="Freeform 21">
              <a:extLst>
                <a:ext uri="{FF2B5EF4-FFF2-40B4-BE49-F238E27FC236}">
                  <a16:creationId xmlns:a16="http://schemas.microsoft.com/office/drawing/2014/main" id="{BEC8A749-3EC1-4F6B-89DB-BCBA1FB98C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5864" y="5702333"/>
              <a:ext cx="525176" cy="970501"/>
            </a:xfrm>
            <a:custGeom>
              <a:avLst/>
              <a:gdLst>
                <a:gd name="T0" fmla="*/ 0 w 342"/>
                <a:gd name="T1" fmla="*/ 0 h 632"/>
                <a:gd name="T2" fmla="*/ 35 w 342"/>
                <a:gd name="T3" fmla="*/ 632 h 632"/>
                <a:gd name="T4" fmla="*/ 342 w 342"/>
                <a:gd name="T5" fmla="*/ 632 h 632"/>
                <a:gd name="T6" fmla="*/ 204 w 342"/>
                <a:gd name="T7" fmla="*/ 131 h 632"/>
                <a:gd name="T8" fmla="*/ 0 w 342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632">
                  <a:moveTo>
                    <a:pt x="0" y="0"/>
                  </a:moveTo>
                  <a:lnTo>
                    <a:pt x="35" y="632"/>
                  </a:lnTo>
                  <a:lnTo>
                    <a:pt x="342" y="632"/>
                  </a:lnTo>
                  <a:lnTo>
                    <a:pt x="204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3" name="Freeform 22">
              <a:extLst>
                <a:ext uri="{FF2B5EF4-FFF2-40B4-BE49-F238E27FC236}">
                  <a16:creationId xmlns:a16="http://schemas.microsoft.com/office/drawing/2014/main" id="{7326A421-6AB8-488E-A43E-36FF38ACA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45121" y="5705405"/>
              <a:ext cx="621920" cy="967430"/>
            </a:xfrm>
            <a:custGeom>
              <a:avLst/>
              <a:gdLst>
                <a:gd name="T0" fmla="*/ 0 w 405"/>
                <a:gd name="T1" fmla="*/ 109 h 630"/>
                <a:gd name="T2" fmla="*/ 167 w 405"/>
                <a:gd name="T3" fmla="*/ 630 h 630"/>
                <a:gd name="T4" fmla="*/ 405 w 405"/>
                <a:gd name="T5" fmla="*/ 630 h 630"/>
                <a:gd name="T6" fmla="*/ 204 w 405"/>
                <a:gd name="T7" fmla="*/ 0 h 630"/>
                <a:gd name="T8" fmla="*/ 0 w 405"/>
                <a:gd name="T9" fmla="*/ 10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630">
                  <a:moveTo>
                    <a:pt x="0" y="109"/>
                  </a:moveTo>
                  <a:lnTo>
                    <a:pt x="167" y="630"/>
                  </a:lnTo>
                  <a:lnTo>
                    <a:pt x="405" y="630"/>
                  </a:lnTo>
                  <a:lnTo>
                    <a:pt x="204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4" name="Freeform 23">
              <a:extLst>
                <a:ext uri="{FF2B5EF4-FFF2-40B4-BE49-F238E27FC236}">
                  <a16:creationId xmlns:a16="http://schemas.microsoft.com/office/drawing/2014/main" id="{518F05C9-4A79-4420-ABF6-D07D12C2B3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7715" y="5728439"/>
              <a:ext cx="1099492" cy="944397"/>
            </a:xfrm>
            <a:custGeom>
              <a:avLst/>
              <a:gdLst>
                <a:gd name="T0" fmla="*/ 0 w 716"/>
                <a:gd name="T1" fmla="*/ 0 h 615"/>
                <a:gd name="T2" fmla="*/ 309 w 716"/>
                <a:gd name="T3" fmla="*/ 615 h 615"/>
                <a:gd name="T4" fmla="*/ 716 w 716"/>
                <a:gd name="T5" fmla="*/ 615 h 615"/>
                <a:gd name="T6" fmla="*/ 278 w 716"/>
                <a:gd name="T7" fmla="*/ 0 h 615"/>
                <a:gd name="T8" fmla="*/ 0 w 716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6" h="615">
                  <a:moveTo>
                    <a:pt x="0" y="0"/>
                  </a:moveTo>
                  <a:lnTo>
                    <a:pt x="309" y="615"/>
                  </a:lnTo>
                  <a:lnTo>
                    <a:pt x="716" y="615"/>
                  </a:lnTo>
                  <a:lnTo>
                    <a:pt x="2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5" name="Freeform 24">
              <a:extLst>
                <a:ext uri="{FF2B5EF4-FFF2-40B4-BE49-F238E27FC236}">
                  <a16:creationId xmlns:a16="http://schemas.microsoft.com/office/drawing/2014/main" id="{378E031F-82CE-47A9-81B5-4F09D2C7C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155" y="2187338"/>
              <a:ext cx="175059" cy="221127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  <a:gd name="T8" fmla="*/ 0 w 11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AB66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6" name="Freeform 25">
              <a:extLst>
                <a:ext uri="{FF2B5EF4-FFF2-40B4-BE49-F238E27FC236}">
                  <a16:creationId xmlns:a16="http://schemas.microsoft.com/office/drawing/2014/main" id="{CA34CA6F-B263-4E32-B6AE-74F868F387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155" y="2187338"/>
              <a:ext cx="175059" cy="221127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7" name="Freeform 26">
              <a:extLst>
                <a:ext uri="{FF2B5EF4-FFF2-40B4-BE49-F238E27FC236}">
                  <a16:creationId xmlns:a16="http://schemas.microsoft.com/office/drawing/2014/main" id="{0E953E66-0446-41E1-A657-A7B1380CD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8700" y="1705158"/>
              <a:ext cx="843047" cy="921363"/>
            </a:xfrm>
            <a:custGeom>
              <a:avLst/>
              <a:gdLst>
                <a:gd name="T0" fmla="*/ 0 w 549"/>
                <a:gd name="T1" fmla="*/ 260 h 600"/>
                <a:gd name="T2" fmla="*/ 369 w 549"/>
                <a:gd name="T3" fmla="*/ 600 h 600"/>
                <a:gd name="T4" fmla="*/ 549 w 549"/>
                <a:gd name="T5" fmla="*/ 314 h 600"/>
                <a:gd name="T6" fmla="*/ 157 w 549"/>
                <a:gd name="T7" fmla="*/ 0 h 600"/>
                <a:gd name="T8" fmla="*/ 0 w 549"/>
                <a:gd name="T9" fmla="*/ 26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9" h="600">
                  <a:moveTo>
                    <a:pt x="0" y="260"/>
                  </a:moveTo>
                  <a:lnTo>
                    <a:pt x="369" y="600"/>
                  </a:lnTo>
                  <a:lnTo>
                    <a:pt x="549" y="314"/>
                  </a:lnTo>
                  <a:lnTo>
                    <a:pt x="157" y="0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8" name="Freeform 27">
              <a:extLst>
                <a:ext uri="{FF2B5EF4-FFF2-40B4-BE49-F238E27FC236}">
                  <a16:creationId xmlns:a16="http://schemas.microsoft.com/office/drawing/2014/main" id="{E7CA9D07-C200-4198-A418-B8FF69289C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51685" y="2225727"/>
              <a:ext cx="678736" cy="621920"/>
            </a:xfrm>
            <a:custGeom>
              <a:avLst/>
              <a:gdLst>
                <a:gd name="T0" fmla="*/ 72 w 236"/>
                <a:gd name="T1" fmla="*/ 11 h 217"/>
                <a:gd name="T2" fmla="*/ 161 w 236"/>
                <a:gd name="T3" fmla="*/ 64 h 217"/>
                <a:gd name="T4" fmla="*/ 231 w 236"/>
                <a:gd name="T5" fmla="*/ 141 h 217"/>
                <a:gd name="T6" fmla="*/ 169 w 236"/>
                <a:gd name="T7" fmla="*/ 217 h 217"/>
                <a:gd name="T8" fmla="*/ 0 w 236"/>
                <a:gd name="T9" fmla="*/ 162 h 217"/>
                <a:gd name="T10" fmla="*/ 0 w 236"/>
                <a:gd name="T11" fmla="*/ 81 h 217"/>
                <a:gd name="T12" fmla="*/ 46 w 236"/>
                <a:gd name="T13" fmla="*/ 0 h 217"/>
                <a:gd name="T14" fmla="*/ 72 w 236"/>
                <a:gd name="T15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6" h="217">
                  <a:moveTo>
                    <a:pt x="72" y="11"/>
                  </a:moveTo>
                  <a:cubicBezTo>
                    <a:pt x="72" y="11"/>
                    <a:pt x="86" y="56"/>
                    <a:pt x="161" y="64"/>
                  </a:cubicBezTo>
                  <a:cubicBezTo>
                    <a:pt x="236" y="72"/>
                    <a:pt x="231" y="141"/>
                    <a:pt x="231" y="141"/>
                  </a:cubicBezTo>
                  <a:cubicBezTo>
                    <a:pt x="169" y="217"/>
                    <a:pt x="169" y="217"/>
                    <a:pt x="169" y="217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72" y="11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29" name="Freeform 28">
              <a:extLst>
                <a:ext uri="{FF2B5EF4-FFF2-40B4-BE49-F238E27FC236}">
                  <a16:creationId xmlns:a16="http://schemas.microsoft.com/office/drawing/2014/main" id="{A0716478-F904-45CF-BD11-B5DBAAAA81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9356" y="5233975"/>
              <a:ext cx="158167" cy="379295"/>
            </a:xfrm>
            <a:custGeom>
              <a:avLst/>
              <a:gdLst>
                <a:gd name="T0" fmla="*/ 7 w 55"/>
                <a:gd name="T1" fmla="*/ 0 h 132"/>
                <a:gd name="T2" fmla="*/ 0 w 55"/>
                <a:gd name="T3" fmla="*/ 117 h 132"/>
                <a:gd name="T4" fmla="*/ 38 w 55"/>
                <a:gd name="T5" fmla="*/ 132 h 132"/>
                <a:gd name="T6" fmla="*/ 55 w 55"/>
                <a:gd name="T7" fmla="*/ 14 h 132"/>
                <a:gd name="T8" fmla="*/ 7 w 5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32">
                  <a:moveTo>
                    <a:pt x="7" y="0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1" y="131"/>
                    <a:pt x="38" y="132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0" name="Freeform 29">
              <a:extLst>
                <a:ext uri="{FF2B5EF4-FFF2-40B4-BE49-F238E27FC236}">
                  <a16:creationId xmlns:a16="http://schemas.microsoft.com/office/drawing/2014/main" id="{DD4E8624-6F6C-4927-A95A-07073A32CE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4682" y="5194049"/>
              <a:ext cx="115171" cy="382365"/>
            </a:xfrm>
            <a:custGeom>
              <a:avLst/>
              <a:gdLst>
                <a:gd name="T0" fmla="*/ 0 w 40"/>
                <a:gd name="T1" fmla="*/ 14 h 133"/>
                <a:gd name="T2" fmla="*/ 8 w 40"/>
                <a:gd name="T3" fmla="*/ 121 h 133"/>
                <a:gd name="T4" fmla="*/ 40 w 40"/>
                <a:gd name="T5" fmla="*/ 112 h 133"/>
                <a:gd name="T6" fmla="*/ 36 w 40"/>
                <a:gd name="T7" fmla="*/ 0 h 133"/>
                <a:gd name="T8" fmla="*/ 0 w 40"/>
                <a:gd name="T9" fmla="*/ 1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3">
                  <a:moveTo>
                    <a:pt x="0" y="14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18" y="133"/>
                    <a:pt x="40" y="11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1" name="Freeform 30">
              <a:extLst>
                <a:ext uri="{FF2B5EF4-FFF2-40B4-BE49-F238E27FC236}">
                  <a16:creationId xmlns:a16="http://schemas.microsoft.com/office/drawing/2014/main" id="{216E0155-1B16-487A-81CD-81898EFCC3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9356" y="5450494"/>
              <a:ext cx="128991" cy="162774"/>
            </a:xfrm>
            <a:custGeom>
              <a:avLst/>
              <a:gdLst>
                <a:gd name="T0" fmla="*/ 3 w 45"/>
                <a:gd name="T1" fmla="*/ 0 h 57"/>
                <a:gd name="T2" fmla="*/ 45 w 45"/>
                <a:gd name="T3" fmla="*/ 7 h 57"/>
                <a:gd name="T4" fmla="*/ 38 w 45"/>
                <a:gd name="T5" fmla="*/ 57 h 57"/>
                <a:gd name="T6" fmla="*/ 0 w 45"/>
                <a:gd name="T7" fmla="*/ 42 h 57"/>
                <a:gd name="T8" fmla="*/ 3 w 4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3" y="0"/>
                  </a:moveTo>
                  <a:cubicBezTo>
                    <a:pt x="3" y="0"/>
                    <a:pt x="29" y="9"/>
                    <a:pt x="45" y="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8" y="57"/>
                    <a:pt x="0" y="42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2" name="Freeform 31">
              <a:extLst>
                <a:ext uri="{FF2B5EF4-FFF2-40B4-BE49-F238E27FC236}">
                  <a16:creationId xmlns:a16="http://schemas.microsoft.com/office/drawing/2014/main" id="{A57C6105-E762-4B64-831B-7203C77818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0038" y="5372179"/>
              <a:ext cx="99814" cy="190414"/>
            </a:xfrm>
            <a:custGeom>
              <a:avLst/>
              <a:gdLst>
                <a:gd name="T0" fmla="*/ 0 w 35"/>
                <a:gd name="T1" fmla="*/ 15 h 66"/>
                <a:gd name="T2" fmla="*/ 33 w 35"/>
                <a:gd name="T3" fmla="*/ 0 h 66"/>
                <a:gd name="T4" fmla="*/ 35 w 35"/>
                <a:gd name="T5" fmla="*/ 50 h 66"/>
                <a:gd name="T6" fmla="*/ 3 w 35"/>
                <a:gd name="T7" fmla="*/ 59 h 66"/>
                <a:gd name="T8" fmla="*/ 0 w 35"/>
                <a:gd name="T9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6">
                  <a:moveTo>
                    <a:pt x="0" y="15"/>
                  </a:moveTo>
                  <a:cubicBezTo>
                    <a:pt x="0" y="15"/>
                    <a:pt x="19" y="13"/>
                    <a:pt x="33" y="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19" y="66"/>
                    <a:pt x="3" y="59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3" name="Freeform 32">
              <a:extLst>
                <a:ext uri="{FF2B5EF4-FFF2-40B4-BE49-F238E27FC236}">
                  <a16:creationId xmlns:a16="http://schemas.microsoft.com/office/drawing/2014/main" id="{54091E99-47D5-4AED-A178-E87B82DF0E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9721" y="2296365"/>
              <a:ext cx="2260408" cy="3111133"/>
            </a:xfrm>
            <a:custGeom>
              <a:avLst/>
              <a:gdLst>
                <a:gd name="T0" fmla="*/ 390 w 786"/>
                <a:gd name="T1" fmla="*/ 146 h 1083"/>
                <a:gd name="T2" fmla="*/ 521 w 786"/>
                <a:gd name="T3" fmla="*/ 192 h 1083"/>
                <a:gd name="T4" fmla="*/ 639 w 786"/>
                <a:gd name="T5" fmla="*/ 0 h 1083"/>
                <a:gd name="T6" fmla="*/ 786 w 786"/>
                <a:gd name="T7" fmla="*/ 213 h 1083"/>
                <a:gd name="T8" fmla="*/ 568 w 786"/>
                <a:gd name="T9" fmla="*/ 381 h 1083"/>
                <a:gd name="T10" fmla="*/ 424 w 786"/>
                <a:gd name="T11" fmla="*/ 345 h 1083"/>
                <a:gd name="T12" fmla="*/ 468 w 786"/>
                <a:gd name="T13" fmla="*/ 970 h 1083"/>
                <a:gd name="T14" fmla="*/ 193 w 786"/>
                <a:gd name="T15" fmla="*/ 1017 h 1083"/>
                <a:gd name="T16" fmla="*/ 68 w 786"/>
                <a:gd name="T17" fmla="*/ 941 h 1083"/>
                <a:gd name="T18" fmla="*/ 162 w 786"/>
                <a:gd name="T19" fmla="*/ 339 h 1083"/>
                <a:gd name="T20" fmla="*/ 0 w 786"/>
                <a:gd name="T21" fmla="*/ 540 h 1083"/>
                <a:gd name="T22" fmla="*/ 9 w 786"/>
                <a:gd name="T23" fmla="*/ 236 h 1083"/>
                <a:gd name="T24" fmla="*/ 162 w 786"/>
                <a:gd name="T25" fmla="*/ 141 h 1083"/>
                <a:gd name="T26" fmla="*/ 292 w 786"/>
                <a:gd name="T27" fmla="*/ 119 h 1083"/>
                <a:gd name="T28" fmla="*/ 390 w 786"/>
                <a:gd name="T29" fmla="*/ 146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083">
                  <a:moveTo>
                    <a:pt x="390" y="146"/>
                  </a:moveTo>
                  <a:cubicBezTo>
                    <a:pt x="521" y="192"/>
                    <a:pt x="521" y="192"/>
                    <a:pt x="521" y="192"/>
                  </a:cubicBezTo>
                  <a:cubicBezTo>
                    <a:pt x="639" y="0"/>
                    <a:pt x="639" y="0"/>
                    <a:pt x="639" y="0"/>
                  </a:cubicBezTo>
                  <a:cubicBezTo>
                    <a:pt x="786" y="213"/>
                    <a:pt x="786" y="213"/>
                    <a:pt x="786" y="213"/>
                  </a:cubicBezTo>
                  <a:cubicBezTo>
                    <a:pt x="786" y="213"/>
                    <a:pt x="699" y="404"/>
                    <a:pt x="568" y="381"/>
                  </a:cubicBezTo>
                  <a:cubicBezTo>
                    <a:pt x="437" y="357"/>
                    <a:pt x="424" y="345"/>
                    <a:pt x="424" y="345"/>
                  </a:cubicBezTo>
                  <a:cubicBezTo>
                    <a:pt x="468" y="970"/>
                    <a:pt x="468" y="970"/>
                    <a:pt x="468" y="970"/>
                  </a:cubicBezTo>
                  <a:cubicBezTo>
                    <a:pt x="468" y="970"/>
                    <a:pt x="327" y="1083"/>
                    <a:pt x="193" y="1017"/>
                  </a:cubicBezTo>
                  <a:cubicBezTo>
                    <a:pt x="60" y="952"/>
                    <a:pt x="68" y="941"/>
                    <a:pt x="68" y="941"/>
                  </a:cubicBezTo>
                  <a:cubicBezTo>
                    <a:pt x="162" y="339"/>
                    <a:pt x="162" y="339"/>
                    <a:pt x="162" y="339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6"/>
                    <a:pt x="81" y="171"/>
                    <a:pt x="162" y="141"/>
                  </a:cubicBezTo>
                  <a:cubicBezTo>
                    <a:pt x="243" y="110"/>
                    <a:pt x="267" y="118"/>
                    <a:pt x="292" y="119"/>
                  </a:cubicBezTo>
                  <a:cubicBezTo>
                    <a:pt x="316" y="120"/>
                    <a:pt x="390" y="146"/>
                    <a:pt x="390" y="146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4" name="Freeform 33">
              <a:extLst>
                <a:ext uri="{FF2B5EF4-FFF2-40B4-BE49-F238E27FC236}">
                  <a16:creationId xmlns:a16="http://schemas.microsoft.com/office/drawing/2014/main" id="{12E9D228-30D4-4C2A-B953-E1D7EA349A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14780" y="2173518"/>
              <a:ext cx="836905" cy="580458"/>
            </a:xfrm>
            <a:custGeom>
              <a:avLst/>
              <a:gdLst>
                <a:gd name="T0" fmla="*/ 205 w 291"/>
                <a:gd name="T1" fmla="*/ 18 h 202"/>
                <a:gd name="T2" fmla="*/ 119 w 291"/>
                <a:gd name="T3" fmla="*/ 41 h 202"/>
                <a:gd name="T4" fmla="*/ 68 w 291"/>
                <a:gd name="T5" fmla="*/ 202 h 202"/>
                <a:gd name="T6" fmla="*/ 211 w 291"/>
                <a:gd name="T7" fmla="*/ 163 h 202"/>
                <a:gd name="T8" fmla="*/ 272 w 291"/>
                <a:gd name="T9" fmla="*/ 167 h 202"/>
                <a:gd name="T10" fmla="*/ 287 w 291"/>
                <a:gd name="T11" fmla="*/ 69 h 202"/>
                <a:gd name="T12" fmla="*/ 238 w 291"/>
                <a:gd name="T13" fmla="*/ 0 h 202"/>
                <a:gd name="T14" fmla="*/ 212 w 291"/>
                <a:gd name="T15" fmla="*/ 7 h 202"/>
                <a:gd name="T16" fmla="*/ 205 w 291"/>
                <a:gd name="T17" fmla="*/ 1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02">
                  <a:moveTo>
                    <a:pt x="205" y="18"/>
                  </a:moveTo>
                  <a:cubicBezTo>
                    <a:pt x="205" y="18"/>
                    <a:pt x="166" y="36"/>
                    <a:pt x="119" y="41"/>
                  </a:cubicBezTo>
                  <a:cubicBezTo>
                    <a:pt x="72" y="46"/>
                    <a:pt x="0" y="100"/>
                    <a:pt x="68" y="202"/>
                  </a:cubicBezTo>
                  <a:cubicBezTo>
                    <a:pt x="68" y="202"/>
                    <a:pt x="132" y="156"/>
                    <a:pt x="211" y="163"/>
                  </a:cubicBezTo>
                  <a:cubicBezTo>
                    <a:pt x="291" y="171"/>
                    <a:pt x="272" y="167"/>
                    <a:pt x="272" y="167"/>
                  </a:cubicBezTo>
                  <a:cubicBezTo>
                    <a:pt x="287" y="69"/>
                    <a:pt x="287" y="69"/>
                    <a:pt x="287" y="69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05" y="18"/>
                    <a:pt x="205" y="18"/>
                    <a:pt x="205" y="18"/>
                  </a:cubicBezTo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5" name="Freeform 34">
              <a:extLst>
                <a:ext uri="{FF2B5EF4-FFF2-40B4-BE49-F238E27FC236}">
                  <a16:creationId xmlns:a16="http://schemas.microsoft.com/office/drawing/2014/main" id="{BF7363F1-2D9A-46A9-B025-9EEA187EC7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9697" y="2107487"/>
              <a:ext cx="319405" cy="376223"/>
            </a:xfrm>
            <a:custGeom>
              <a:avLst/>
              <a:gdLst>
                <a:gd name="T0" fmla="*/ 0 w 111"/>
                <a:gd name="T1" fmla="*/ 0 h 131"/>
                <a:gd name="T2" fmla="*/ 5 w 111"/>
                <a:gd name="T3" fmla="*/ 82 h 131"/>
                <a:gd name="T4" fmla="*/ 43 w 111"/>
                <a:gd name="T5" fmla="*/ 122 h 131"/>
                <a:gd name="T6" fmla="*/ 105 w 111"/>
                <a:gd name="T7" fmla="*/ 95 h 131"/>
                <a:gd name="T8" fmla="*/ 109 w 111"/>
                <a:gd name="T9" fmla="*/ 0 h 131"/>
                <a:gd name="T10" fmla="*/ 0 w 11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31">
                  <a:moveTo>
                    <a:pt x="0" y="0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113"/>
                    <a:pt x="43" y="122"/>
                  </a:cubicBezTo>
                  <a:cubicBezTo>
                    <a:pt x="80" y="131"/>
                    <a:pt x="99" y="114"/>
                    <a:pt x="105" y="95"/>
                  </a:cubicBezTo>
                  <a:cubicBezTo>
                    <a:pt x="111" y="76"/>
                    <a:pt x="109" y="0"/>
                    <a:pt x="10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6" name="Freeform 35">
              <a:extLst>
                <a:ext uri="{FF2B5EF4-FFF2-40B4-BE49-F238E27FC236}">
                  <a16:creationId xmlns:a16="http://schemas.microsoft.com/office/drawing/2014/main" id="{D6361D17-3134-400E-8745-0DFE8A6D4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35" y="2225727"/>
              <a:ext cx="29177" cy="36854"/>
            </a:xfrm>
            <a:custGeom>
              <a:avLst/>
              <a:gdLst>
                <a:gd name="T0" fmla="*/ 5 w 10"/>
                <a:gd name="T1" fmla="*/ 0 h 13"/>
                <a:gd name="T2" fmla="*/ 0 w 10"/>
                <a:gd name="T3" fmla="*/ 11 h 13"/>
                <a:gd name="T4" fmla="*/ 8 w 10"/>
                <a:gd name="T5" fmla="*/ 9 h 13"/>
                <a:gd name="T6" fmla="*/ 5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5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6" y="13"/>
                    <a:pt x="8" y="9"/>
                  </a:cubicBezTo>
                  <a:cubicBezTo>
                    <a:pt x="10" y="5"/>
                    <a:pt x="6" y="1"/>
                    <a:pt x="5" y="0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7" name="Freeform 36">
              <a:extLst>
                <a:ext uri="{FF2B5EF4-FFF2-40B4-BE49-F238E27FC236}">
                  <a16:creationId xmlns:a16="http://schemas.microsoft.com/office/drawing/2014/main" id="{7531F9C0-1134-427A-A88C-7CFE916F22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1722" y="2219585"/>
              <a:ext cx="38391" cy="39926"/>
            </a:xfrm>
            <a:custGeom>
              <a:avLst/>
              <a:gdLst>
                <a:gd name="T0" fmla="*/ 6 w 13"/>
                <a:gd name="T1" fmla="*/ 2 h 14"/>
                <a:gd name="T2" fmla="*/ 6 w 13"/>
                <a:gd name="T3" fmla="*/ 2 h 14"/>
                <a:gd name="T4" fmla="*/ 9 w 13"/>
                <a:gd name="T5" fmla="*/ 4 h 14"/>
                <a:gd name="T6" fmla="*/ 11 w 13"/>
                <a:gd name="T7" fmla="*/ 8 h 14"/>
                <a:gd name="T8" fmla="*/ 11 w 13"/>
                <a:gd name="T9" fmla="*/ 9 h 14"/>
                <a:gd name="T10" fmla="*/ 9 w 13"/>
                <a:gd name="T11" fmla="*/ 12 h 14"/>
                <a:gd name="T12" fmla="*/ 6 w 13"/>
                <a:gd name="T13" fmla="*/ 12 h 14"/>
                <a:gd name="T14" fmla="*/ 3 w 13"/>
                <a:gd name="T15" fmla="*/ 12 h 14"/>
                <a:gd name="T16" fmla="*/ 2 w 13"/>
                <a:gd name="T17" fmla="*/ 11 h 14"/>
                <a:gd name="T18" fmla="*/ 2 w 13"/>
                <a:gd name="T19" fmla="*/ 11 h 14"/>
                <a:gd name="T20" fmla="*/ 1 w 13"/>
                <a:gd name="T21" fmla="*/ 12 h 14"/>
                <a:gd name="T22" fmla="*/ 1 w 13"/>
                <a:gd name="T23" fmla="*/ 13 h 14"/>
                <a:gd name="T24" fmla="*/ 6 w 13"/>
                <a:gd name="T25" fmla="*/ 14 h 14"/>
                <a:gd name="T26" fmla="*/ 10 w 13"/>
                <a:gd name="T27" fmla="*/ 13 h 14"/>
                <a:gd name="T28" fmla="*/ 13 w 13"/>
                <a:gd name="T29" fmla="*/ 10 h 14"/>
                <a:gd name="T30" fmla="*/ 13 w 13"/>
                <a:gd name="T31" fmla="*/ 8 h 14"/>
                <a:gd name="T32" fmla="*/ 10 w 13"/>
                <a:gd name="T33" fmla="*/ 2 h 14"/>
                <a:gd name="T34" fmla="*/ 6 w 13"/>
                <a:gd name="T35" fmla="*/ 0 h 14"/>
                <a:gd name="T36" fmla="*/ 5 w 13"/>
                <a:gd name="T37" fmla="*/ 1 h 14"/>
                <a:gd name="T38" fmla="*/ 6 w 13"/>
                <a:gd name="T3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4"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8" y="3"/>
                    <a:pt x="9" y="4"/>
                  </a:cubicBezTo>
                  <a:cubicBezTo>
                    <a:pt x="10" y="5"/>
                    <a:pt x="11" y="6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0" y="10"/>
                    <a:pt x="10" y="11"/>
                    <a:pt x="9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3"/>
                    <a:pt x="3" y="14"/>
                    <a:pt x="6" y="14"/>
                  </a:cubicBezTo>
                  <a:cubicBezTo>
                    <a:pt x="7" y="14"/>
                    <a:pt x="9" y="14"/>
                    <a:pt x="10" y="13"/>
                  </a:cubicBezTo>
                  <a:cubicBezTo>
                    <a:pt x="11" y="13"/>
                    <a:pt x="12" y="12"/>
                    <a:pt x="13" y="10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5"/>
                    <a:pt x="11" y="3"/>
                    <a:pt x="10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2"/>
                    <a:pt x="5" y="2"/>
                    <a:pt x="6" y="2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8" name="Oval 37">
              <a:extLst>
                <a:ext uri="{FF2B5EF4-FFF2-40B4-BE49-F238E27FC236}">
                  <a16:creationId xmlns:a16="http://schemas.microsoft.com/office/drawing/2014/main" id="{C638A119-08BC-4561-A56D-461B11361F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68763" y="2193480"/>
              <a:ext cx="19964" cy="23034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39" name="Oval 38">
              <a:extLst>
                <a:ext uri="{FF2B5EF4-FFF2-40B4-BE49-F238E27FC236}">
                  <a16:creationId xmlns:a16="http://schemas.microsoft.com/office/drawing/2014/main" id="{FDEC5425-71DF-494A-80F3-C8A658C63A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97753" y="2204229"/>
              <a:ext cx="19964" cy="21499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0" name="Freeform 39">
              <a:extLst>
                <a:ext uri="{FF2B5EF4-FFF2-40B4-BE49-F238E27FC236}">
                  <a16:creationId xmlns:a16="http://schemas.microsoft.com/office/drawing/2014/main" id="{C6947511-56DC-48BB-B80A-090AE3226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08873" y="2256440"/>
              <a:ext cx="238019" cy="175059"/>
            </a:xfrm>
            <a:custGeom>
              <a:avLst/>
              <a:gdLst>
                <a:gd name="T0" fmla="*/ 5 w 83"/>
                <a:gd name="T1" fmla="*/ 0 h 61"/>
                <a:gd name="T2" fmla="*/ 83 w 83"/>
                <a:gd name="T3" fmla="*/ 27 h 61"/>
                <a:gd name="T4" fmla="*/ 30 w 83"/>
                <a:gd name="T5" fmla="*/ 46 h 61"/>
                <a:gd name="T6" fmla="*/ 5 w 83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61">
                  <a:moveTo>
                    <a:pt x="5" y="0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61" y="61"/>
                    <a:pt x="30" y="46"/>
                  </a:cubicBezTo>
                  <a:cubicBezTo>
                    <a:pt x="0" y="32"/>
                    <a:pt x="5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1" name="Freeform 40">
              <a:extLst>
                <a:ext uri="{FF2B5EF4-FFF2-40B4-BE49-F238E27FC236}">
                  <a16:creationId xmlns:a16="http://schemas.microsoft.com/office/drawing/2014/main" id="{EF71CC4F-C385-4107-8906-B346FB8D4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224198" cy="78317"/>
            </a:xfrm>
            <a:custGeom>
              <a:avLst/>
              <a:gdLst>
                <a:gd name="T0" fmla="*/ 0 w 78"/>
                <a:gd name="T1" fmla="*/ 0 h 27"/>
                <a:gd name="T2" fmla="*/ 78 w 78"/>
                <a:gd name="T3" fmla="*/ 27 h 27"/>
                <a:gd name="T4" fmla="*/ 0 w 7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27">
                  <a:moveTo>
                    <a:pt x="0" y="0"/>
                  </a:moveTo>
                  <a:cubicBezTo>
                    <a:pt x="0" y="0"/>
                    <a:pt x="53" y="11"/>
                    <a:pt x="78" y="2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2" name="Freeform 41">
              <a:extLst>
                <a:ext uri="{FF2B5EF4-FFF2-40B4-BE49-F238E27FC236}">
                  <a16:creationId xmlns:a16="http://schemas.microsoft.com/office/drawing/2014/main" id="{B395A65B-FB42-47BA-B7EC-A8D42C758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13480" y="2256440"/>
              <a:ext cx="233412" cy="161239"/>
            </a:xfrm>
            <a:custGeom>
              <a:avLst/>
              <a:gdLst>
                <a:gd name="T0" fmla="*/ 81 w 81"/>
                <a:gd name="T1" fmla="*/ 27 h 56"/>
                <a:gd name="T2" fmla="*/ 38 w 81"/>
                <a:gd name="T3" fmla="*/ 53 h 56"/>
                <a:gd name="T4" fmla="*/ 3 w 81"/>
                <a:gd name="T5" fmla="*/ 0 h 56"/>
                <a:gd name="T6" fmla="*/ 42 w 81"/>
                <a:gd name="T7" fmla="*/ 49 h 56"/>
                <a:gd name="T8" fmla="*/ 81 w 81"/>
                <a:gd name="T9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6">
                  <a:moveTo>
                    <a:pt x="81" y="27"/>
                  </a:moveTo>
                  <a:cubicBezTo>
                    <a:pt x="81" y="27"/>
                    <a:pt x="64" y="56"/>
                    <a:pt x="38" y="53"/>
                  </a:cubicBezTo>
                  <a:cubicBezTo>
                    <a:pt x="12" y="49"/>
                    <a:pt x="0" y="18"/>
                    <a:pt x="3" y="0"/>
                  </a:cubicBezTo>
                  <a:cubicBezTo>
                    <a:pt x="3" y="0"/>
                    <a:pt x="2" y="44"/>
                    <a:pt x="42" y="49"/>
                  </a:cubicBezTo>
                  <a:cubicBezTo>
                    <a:pt x="42" y="49"/>
                    <a:pt x="55" y="56"/>
                    <a:pt x="81" y="2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3" name="Freeform 42">
              <a:extLst>
                <a:ext uri="{FF2B5EF4-FFF2-40B4-BE49-F238E27FC236}">
                  <a16:creationId xmlns:a16="http://schemas.microsoft.com/office/drawing/2014/main" id="{E906E94F-1E70-4403-8D10-99457FA3A2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071" y="2328613"/>
              <a:ext cx="13821" cy="13821"/>
            </a:xfrm>
            <a:custGeom>
              <a:avLst/>
              <a:gdLst>
                <a:gd name="T0" fmla="*/ 0 w 9"/>
                <a:gd name="T1" fmla="*/ 0 h 9"/>
                <a:gd name="T2" fmla="*/ 3 w 9"/>
                <a:gd name="T3" fmla="*/ 9 h 9"/>
                <a:gd name="T4" fmla="*/ 9 w 9"/>
                <a:gd name="T5" fmla="*/ 4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3" y="9"/>
                  </a:lnTo>
                  <a:lnTo>
                    <a:pt x="9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4" name="Freeform 43">
              <a:extLst>
                <a:ext uri="{FF2B5EF4-FFF2-40B4-BE49-F238E27FC236}">
                  <a16:creationId xmlns:a16="http://schemas.microsoft.com/office/drawing/2014/main" id="{8033931B-3D54-4322-BB1D-7E4E7E6421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10749" cy="9214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5" name="Freeform 44">
              <a:extLst>
                <a:ext uri="{FF2B5EF4-FFF2-40B4-BE49-F238E27FC236}">
                  <a16:creationId xmlns:a16="http://schemas.microsoft.com/office/drawing/2014/main" id="{5FE4556B-F60B-4DFE-A239-AFD6F479A4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10749" cy="9214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6" name="Freeform 45">
              <a:extLst>
                <a:ext uri="{FF2B5EF4-FFF2-40B4-BE49-F238E27FC236}">
                  <a16:creationId xmlns:a16="http://schemas.microsoft.com/office/drawing/2014/main" id="{7E1A088A-8070-469C-A47F-6DCA7B4519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3666" y="2457604"/>
              <a:ext cx="347046" cy="408470"/>
            </a:xfrm>
            <a:custGeom>
              <a:avLst/>
              <a:gdLst>
                <a:gd name="T0" fmla="*/ 88 w 121"/>
                <a:gd name="T1" fmla="*/ 3 h 142"/>
                <a:gd name="T2" fmla="*/ 84 w 121"/>
                <a:gd name="T3" fmla="*/ 59 h 142"/>
                <a:gd name="T4" fmla="*/ 94 w 121"/>
                <a:gd name="T5" fmla="*/ 77 h 142"/>
                <a:gd name="T6" fmla="*/ 121 w 121"/>
                <a:gd name="T7" fmla="*/ 90 h 142"/>
                <a:gd name="T8" fmla="*/ 49 w 121"/>
                <a:gd name="T9" fmla="*/ 121 h 142"/>
                <a:gd name="T10" fmla="*/ 0 w 121"/>
                <a:gd name="T11" fmla="*/ 64 h 142"/>
                <a:gd name="T12" fmla="*/ 38 w 121"/>
                <a:gd name="T13" fmla="*/ 66 h 142"/>
                <a:gd name="T14" fmla="*/ 57 w 121"/>
                <a:gd name="T15" fmla="*/ 51 h 142"/>
                <a:gd name="T16" fmla="*/ 66 w 121"/>
                <a:gd name="T17" fmla="*/ 0 h 142"/>
                <a:gd name="T18" fmla="*/ 88 w 121"/>
                <a:gd name="T19" fmla="*/ 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42">
                  <a:moveTo>
                    <a:pt x="88" y="3"/>
                  </a:moveTo>
                  <a:cubicBezTo>
                    <a:pt x="84" y="59"/>
                    <a:pt x="84" y="59"/>
                    <a:pt x="84" y="59"/>
                  </a:cubicBezTo>
                  <a:cubicBezTo>
                    <a:pt x="83" y="67"/>
                    <a:pt x="87" y="74"/>
                    <a:pt x="94" y="77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1" y="90"/>
                    <a:pt x="89" y="142"/>
                    <a:pt x="49" y="121"/>
                  </a:cubicBezTo>
                  <a:cubicBezTo>
                    <a:pt x="8" y="101"/>
                    <a:pt x="4" y="87"/>
                    <a:pt x="0" y="64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7" y="67"/>
                    <a:pt x="55" y="60"/>
                    <a:pt x="57" y="5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8" y="3"/>
                    <a:pt x="88" y="3"/>
                    <a:pt x="88" y="3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7" name="Freeform 46">
              <a:extLst>
                <a:ext uri="{FF2B5EF4-FFF2-40B4-BE49-F238E27FC236}">
                  <a16:creationId xmlns:a16="http://schemas.microsoft.com/office/drawing/2014/main" id="{A1F9C234-9E07-454F-88EA-4AF44438DD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309" y="2098273"/>
              <a:ext cx="339369" cy="127455"/>
            </a:xfrm>
            <a:custGeom>
              <a:avLst/>
              <a:gdLst>
                <a:gd name="T0" fmla="*/ 2 w 118"/>
                <a:gd name="T1" fmla="*/ 44 h 44"/>
                <a:gd name="T2" fmla="*/ 25 w 118"/>
                <a:gd name="T3" fmla="*/ 33 h 44"/>
                <a:gd name="T4" fmla="*/ 95 w 118"/>
                <a:gd name="T5" fmla="*/ 24 h 44"/>
                <a:gd name="T6" fmla="*/ 118 w 118"/>
                <a:gd name="T7" fmla="*/ 3 h 44"/>
                <a:gd name="T8" fmla="*/ 28 w 118"/>
                <a:gd name="T9" fmla="*/ 3 h 44"/>
                <a:gd name="T10" fmla="*/ 2 w 118"/>
                <a:gd name="T1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4">
                  <a:moveTo>
                    <a:pt x="2" y="44"/>
                  </a:moveTo>
                  <a:cubicBezTo>
                    <a:pt x="2" y="44"/>
                    <a:pt x="7" y="29"/>
                    <a:pt x="25" y="33"/>
                  </a:cubicBezTo>
                  <a:cubicBezTo>
                    <a:pt x="43" y="38"/>
                    <a:pt x="75" y="39"/>
                    <a:pt x="95" y="24"/>
                  </a:cubicBezTo>
                  <a:cubicBezTo>
                    <a:pt x="115" y="9"/>
                    <a:pt x="118" y="3"/>
                    <a:pt x="118" y="3"/>
                  </a:cubicBezTo>
                  <a:cubicBezTo>
                    <a:pt x="118" y="3"/>
                    <a:pt x="46" y="0"/>
                    <a:pt x="28" y="3"/>
                  </a:cubicBezTo>
                  <a:cubicBezTo>
                    <a:pt x="9" y="6"/>
                    <a:pt x="0" y="26"/>
                    <a:pt x="2" y="44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8" name="Freeform 47">
              <a:extLst>
                <a:ext uri="{FF2B5EF4-FFF2-40B4-BE49-F238E27FC236}">
                  <a16:creationId xmlns:a16="http://schemas.microsoft.com/office/drawing/2014/main" id="{5CCDE16E-C3FB-4931-9ED8-2891F3ED3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7678" y="2107487"/>
              <a:ext cx="121313" cy="158167"/>
            </a:xfrm>
            <a:custGeom>
              <a:avLst/>
              <a:gdLst>
                <a:gd name="T0" fmla="*/ 0 w 42"/>
                <a:gd name="T1" fmla="*/ 0 h 55"/>
                <a:gd name="T2" fmla="*/ 42 w 42"/>
                <a:gd name="T3" fmla="*/ 55 h 55"/>
                <a:gd name="T4" fmla="*/ 27 w 42"/>
                <a:gd name="T5" fmla="*/ 16 h 55"/>
                <a:gd name="T6" fmla="*/ 19 w 42"/>
                <a:gd name="T7" fmla="*/ 0 h 55"/>
                <a:gd name="T8" fmla="*/ 0 w 42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5">
                  <a:moveTo>
                    <a:pt x="0" y="0"/>
                  </a:moveTo>
                  <a:cubicBezTo>
                    <a:pt x="0" y="0"/>
                    <a:pt x="6" y="52"/>
                    <a:pt x="42" y="55"/>
                  </a:cubicBezTo>
                  <a:cubicBezTo>
                    <a:pt x="42" y="55"/>
                    <a:pt x="28" y="31"/>
                    <a:pt x="27" y="16"/>
                  </a:cubicBezTo>
                  <a:cubicBezTo>
                    <a:pt x="26" y="1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49" name="Freeform 48">
              <a:extLst>
                <a:ext uri="{FF2B5EF4-FFF2-40B4-BE49-F238E27FC236}">
                  <a16:creationId xmlns:a16="http://schemas.microsoft.com/office/drawing/2014/main" id="{4D28516E-C55F-4D5A-AD18-DA346EC2C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5276" y="2638805"/>
              <a:ext cx="417684" cy="221127"/>
            </a:xfrm>
            <a:custGeom>
              <a:avLst/>
              <a:gdLst>
                <a:gd name="T0" fmla="*/ 13 w 145"/>
                <a:gd name="T1" fmla="*/ 1 h 77"/>
                <a:gd name="T2" fmla="*/ 74 w 145"/>
                <a:gd name="T3" fmla="*/ 56 h 77"/>
                <a:gd name="T4" fmla="*/ 134 w 145"/>
                <a:gd name="T5" fmla="*/ 27 h 77"/>
                <a:gd name="T6" fmla="*/ 145 w 145"/>
                <a:gd name="T7" fmla="*/ 31 h 77"/>
                <a:gd name="T8" fmla="*/ 69 w 145"/>
                <a:gd name="T9" fmla="*/ 69 h 77"/>
                <a:gd name="T10" fmla="*/ 0 w 145"/>
                <a:gd name="T11" fmla="*/ 0 h 77"/>
                <a:gd name="T12" fmla="*/ 16 w 145"/>
                <a:gd name="T13" fmla="*/ 1 h 77"/>
                <a:gd name="T14" fmla="*/ 13 w 145"/>
                <a:gd name="T1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77">
                  <a:moveTo>
                    <a:pt x="13" y="1"/>
                  </a:moveTo>
                  <a:cubicBezTo>
                    <a:pt x="13" y="1"/>
                    <a:pt x="27" y="52"/>
                    <a:pt x="74" y="56"/>
                  </a:cubicBezTo>
                  <a:cubicBezTo>
                    <a:pt x="120" y="60"/>
                    <a:pt x="134" y="27"/>
                    <a:pt x="134" y="27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19" y="77"/>
                    <a:pt x="69" y="69"/>
                  </a:cubicBezTo>
                  <a:cubicBezTo>
                    <a:pt x="19" y="61"/>
                    <a:pt x="0" y="23"/>
                    <a:pt x="0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0" name="Freeform 49">
              <a:extLst>
                <a:ext uri="{FF2B5EF4-FFF2-40B4-BE49-F238E27FC236}">
                  <a16:creationId xmlns:a16="http://schemas.microsoft.com/office/drawing/2014/main" id="{3E232A05-630B-4106-97C1-6E18EC2A5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00873" y="2130520"/>
              <a:ext cx="213450" cy="360868"/>
            </a:xfrm>
            <a:custGeom>
              <a:avLst/>
              <a:gdLst>
                <a:gd name="T0" fmla="*/ 0 w 74"/>
                <a:gd name="T1" fmla="*/ 69 h 126"/>
                <a:gd name="T2" fmla="*/ 17 w 74"/>
                <a:gd name="T3" fmla="*/ 21 h 126"/>
                <a:gd name="T4" fmla="*/ 73 w 74"/>
                <a:gd name="T5" fmla="*/ 8 h 126"/>
                <a:gd name="T6" fmla="*/ 44 w 74"/>
                <a:gd name="T7" fmla="*/ 30 h 126"/>
                <a:gd name="T8" fmla="*/ 40 w 74"/>
                <a:gd name="T9" fmla="*/ 41 h 126"/>
                <a:gd name="T10" fmla="*/ 39 w 74"/>
                <a:gd name="T11" fmla="*/ 126 h 126"/>
                <a:gd name="T12" fmla="*/ 0 w 74"/>
                <a:gd name="T13" fmla="*/ 6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6">
                  <a:moveTo>
                    <a:pt x="0" y="69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74" y="0"/>
                    <a:pt x="73" y="8"/>
                  </a:cubicBezTo>
                  <a:cubicBezTo>
                    <a:pt x="71" y="17"/>
                    <a:pt x="55" y="33"/>
                    <a:pt x="44" y="30"/>
                  </a:cubicBezTo>
                  <a:cubicBezTo>
                    <a:pt x="33" y="26"/>
                    <a:pt x="36" y="35"/>
                    <a:pt x="40" y="41"/>
                  </a:cubicBezTo>
                  <a:cubicBezTo>
                    <a:pt x="45" y="47"/>
                    <a:pt x="60" y="101"/>
                    <a:pt x="39" y="126"/>
                  </a:cubicBezTo>
                  <a:lnTo>
                    <a:pt x="0" y="69"/>
                  </a:lnTo>
                  <a:close/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1" name="Freeform 50">
              <a:extLst>
                <a:ext uri="{FF2B5EF4-FFF2-40B4-BE49-F238E27FC236}">
                  <a16:creationId xmlns:a16="http://schemas.microsoft.com/office/drawing/2014/main" id="{0A05E119-004E-46D5-8DEF-5E9B141F2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50520" y="1863325"/>
              <a:ext cx="342440" cy="244162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2" name="Freeform 51">
              <a:extLst>
                <a:ext uri="{FF2B5EF4-FFF2-40B4-BE49-F238E27FC236}">
                  <a16:creationId xmlns:a16="http://schemas.microsoft.com/office/drawing/2014/main" id="{E79CA3C9-A922-433E-AE49-02B8635614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50520" y="1863325"/>
              <a:ext cx="342440" cy="244162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3" name="Freeform 52">
              <a:extLst>
                <a:ext uri="{FF2B5EF4-FFF2-40B4-BE49-F238E27FC236}">
                  <a16:creationId xmlns:a16="http://schemas.microsoft.com/office/drawing/2014/main" id="{4DCEA94E-31CB-4B63-B4D9-CF2EBF561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37257" y="1814186"/>
              <a:ext cx="929040" cy="155097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4" name="Freeform 53">
              <a:extLst>
                <a:ext uri="{FF2B5EF4-FFF2-40B4-BE49-F238E27FC236}">
                  <a16:creationId xmlns:a16="http://schemas.microsoft.com/office/drawing/2014/main" id="{8CAF9A47-5F7A-4F00-85E1-CC2E17100E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37257" y="1814186"/>
              <a:ext cx="929040" cy="155097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5" name="Freeform 54">
              <a:extLst>
                <a:ext uri="{FF2B5EF4-FFF2-40B4-BE49-F238E27FC236}">
                  <a16:creationId xmlns:a16="http://schemas.microsoft.com/office/drawing/2014/main" id="{A5E29B16-E161-4B5A-816A-3FE6557026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4149" y="1963140"/>
              <a:ext cx="92137" cy="293300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6" name="Freeform 55">
              <a:extLst>
                <a:ext uri="{FF2B5EF4-FFF2-40B4-BE49-F238E27FC236}">
                  <a16:creationId xmlns:a16="http://schemas.microsoft.com/office/drawing/2014/main" id="{E14AEFC7-2C4A-4117-B865-0E7E4F575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4149" y="1963140"/>
              <a:ext cx="92137" cy="293300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7" name="Freeform 56">
              <a:extLst>
                <a:ext uri="{FF2B5EF4-FFF2-40B4-BE49-F238E27FC236}">
                  <a16:creationId xmlns:a16="http://schemas.microsoft.com/office/drawing/2014/main" id="{0D701EB0-7321-4646-9425-249C6714C9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7715" y="5516526"/>
              <a:ext cx="426898" cy="162774"/>
            </a:xfrm>
            <a:custGeom>
              <a:avLst/>
              <a:gdLst>
                <a:gd name="T0" fmla="*/ 0 w 148"/>
                <a:gd name="T1" fmla="*/ 9 h 57"/>
                <a:gd name="T2" fmla="*/ 0 w 148"/>
                <a:gd name="T3" fmla="*/ 57 h 57"/>
                <a:gd name="T4" fmla="*/ 148 w 148"/>
                <a:gd name="T5" fmla="*/ 57 h 57"/>
                <a:gd name="T6" fmla="*/ 32 w 148"/>
                <a:gd name="T7" fmla="*/ 0 h 57"/>
                <a:gd name="T8" fmla="*/ 0 w 148"/>
                <a:gd name="T9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7">
                  <a:moveTo>
                    <a:pt x="0" y="9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7"/>
                    <a:pt x="129" y="36"/>
                    <a:pt x="32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8" name="Rectangle 57">
              <a:extLst>
                <a:ext uri="{FF2B5EF4-FFF2-40B4-BE49-F238E27FC236}">
                  <a16:creationId xmlns:a16="http://schemas.microsoft.com/office/drawing/2014/main" id="{6D416CB3-8803-40A9-92DA-339512CDCC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17715" y="5679300"/>
              <a:ext cx="426898" cy="4913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59" name="Freeform 58">
              <a:extLst>
                <a:ext uri="{FF2B5EF4-FFF2-40B4-BE49-F238E27FC236}">
                  <a16:creationId xmlns:a16="http://schemas.microsoft.com/office/drawing/2014/main" id="{8DFA461D-2FCF-4C2B-8266-3C2B2111F8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45121" y="5579485"/>
              <a:ext cx="313263" cy="261052"/>
            </a:xfrm>
            <a:custGeom>
              <a:avLst/>
              <a:gdLst>
                <a:gd name="T0" fmla="*/ 109 w 109"/>
                <a:gd name="T1" fmla="*/ 12 h 91"/>
                <a:gd name="T2" fmla="*/ 106 w 109"/>
                <a:gd name="T3" fmla="*/ 35 h 91"/>
                <a:gd name="T4" fmla="*/ 0 w 109"/>
                <a:gd name="T5" fmla="*/ 91 h 91"/>
                <a:gd name="T6" fmla="*/ 72 w 109"/>
                <a:gd name="T7" fmla="*/ 0 h 91"/>
                <a:gd name="T8" fmla="*/ 109 w 109"/>
                <a:gd name="T9" fmla="*/ 1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91">
                  <a:moveTo>
                    <a:pt x="109" y="12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33" y="88"/>
                    <a:pt x="0" y="91"/>
                  </a:cubicBezTo>
                  <a:cubicBezTo>
                    <a:pt x="0" y="91"/>
                    <a:pt x="11" y="32"/>
                    <a:pt x="72" y="0"/>
                  </a:cubicBezTo>
                  <a:cubicBezTo>
                    <a:pt x="109" y="12"/>
                    <a:pt x="109" y="12"/>
                    <a:pt x="109" y="12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0" name="Freeform 59">
              <a:extLst>
                <a:ext uri="{FF2B5EF4-FFF2-40B4-BE49-F238E27FC236}">
                  <a16:creationId xmlns:a16="http://schemas.microsoft.com/office/drawing/2014/main" id="{7B79DE0B-661F-4B03-BFBE-D05B83AEFF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908" y="5679300"/>
              <a:ext cx="322477" cy="193486"/>
            </a:xfrm>
            <a:custGeom>
              <a:avLst/>
              <a:gdLst>
                <a:gd name="T0" fmla="*/ 3 w 112"/>
                <a:gd name="T1" fmla="*/ 56 h 67"/>
                <a:gd name="T2" fmla="*/ 3 w 112"/>
                <a:gd name="T3" fmla="*/ 67 h 67"/>
                <a:gd name="T4" fmla="*/ 112 w 112"/>
                <a:gd name="T5" fmla="*/ 9 h 67"/>
                <a:gd name="T6" fmla="*/ 109 w 112"/>
                <a:gd name="T7" fmla="*/ 0 h 67"/>
                <a:gd name="T8" fmla="*/ 19 w 112"/>
                <a:gd name="T9" fmla="*/ 52 h 67"/>
                <a:gd name="T10" fmla="*/ 3 w 112"/>
                <a:gd name="T11" fmla="*/ 5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67">
                  <a:moveTo>
                    <a:pt x="3" y="56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80" y="44"/>
                    <a:pt x="112" y="9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38" y="46"/>
                    <a:pt x="19" y="52"/>
                  </a:cubicBezTo>
                  <a:cubicBezTo>
                    <a:pt x="0" y="58"/>
                    <a:pt x="3" y="56"/>
                    <a:pt x="3" y="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1" name="Freeform 60">
              <a:extLst>
                <a:ext uri="{FF2B5EF4-FFF2-40B4-BE49-F238E27FC236}">
                  <a16:creationId xmlns:a16="http://schemas.microsoft.com/office/drawing/2014/main" id="{5D839198-21C8-4D3E-A756-3F7E8C330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5010" y="5697728"/>
              <a:ext cx="75245" cy="42997"/>
            </a:xfrm>
            <a:custGeom>
              <a:avLst/>
              <a:gdLst>
                <a:gd name="T0" fmla="*/ 3 w 26"/>
                <a:gd name="T1" fmla="*/ 5 h 15"/>
                <a:gd name="T2" fmla="*/ 3 w 26"/>
                <a:gd name="T3" fmla="*/ 5 h 15"/>
                <a:gd name="T4" fmla="*/ 3 w 26"/>
                <a:gd name="T5" fmla="*/ 5 h 15"/>
                <a:gd name="T6" fmla="*/ 22 w 26"/>
                <a:gd name="T7" fmla="*/ 14 h 15"/>
                <a:gd name="T8" fmla="*/ 25 w 26"/>
                <a:gd name="T9" fmla="*/ 15 h 15"/>
                <a:gd name="T10" fmla="*/ 25 w 26"/>
                <a:gd name="T11" fmla="*/ 12 h 15"/>
                <a:gd name="T12" fmla="*/ 3 w 26"/>
                <a:gd name="T13" fmla="*/ 1 h 15"/>
                <a:gd name="T14" fmla="*/ 2 w 26"/>
                <a:gd name="T15" fmla="*/ 1 h 15"/>
                <a:gd name="T16" fmla="*/ 0 w 26"/>
                <a:gd name="T17" fmla="*/ 3 h 15"/>
                <a:gd name="T18" fmla="*/ 3 w 26"/>
                <a:gd name="T1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5"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5"/>
                    <a:pt x="13" y="5"/>
                    <a:pt x="22" y="14"/>
                  </a:cubicBezTo>
                  <a:cubicBezTo>
                    <a:pt x="23" y="15"/>
                    <a:pt x="24" y="15"/>
                    <a:pt x="25" y="15"/>
                  </a:cubicBezTo>
                  <a:cubicBezTo>
                    <a:pt x="26" y="14"/>
                    <a:pt x="26" y="13"/>
                    <a:pt x="25" y="12"/>
                  </a:cubicBezTo>
                  <a:cubicBezTo>
                    <a:pt x="15" y="2"/>
                    <a:pt x="7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2" name="Freeform 61">
              <a:extLst>
                <a:ext uri="{FF2B5EF4-FFF2-40B4-BE49-F238E27FC236}">
                  <a16:creationId xmlns:a16="http://schemas.microsoft.com/office/drawing/2014/main" id="{B38CC96E-F247-40CF-B5A3-4E3502D9CF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007" y="5645517"/>
              <a:ext cx="92137" cy="53747"/>
            </a:xfrm>
            <a:custGeom>
              <a:avLst/>
              <a:gdLst>
                <a:gd name="T0" fmla="*/ 2 w 32"/>
                <a:gd name="T1" fmla="*/ 4 h 19"/>
                <a:gd name="T2" fmla="*/ 3 w 32"/>
                <a:gd name="T3" fmla="*/ 4 h 19"/>
                <a:gd name="T4" fmla="*/ 15 w 32"/>
                <a:gd name="T5" fmla="*/ 8 h 19"/>
                <a:gd name="T6" fmla="*/ 28 w 32"/>
                <a:gd name="T7" fmla="*/ 17 h 19"/>
                <a:gd name="T8" fmla="*/ 31 w 32"/>
                <a:gd name="T9" fmla="*/ 18 h 19"/>
                <a:gd name="T10" fmla="*/ 31 w 32"/>
                <a:gd name="T11" fmla="*/ 15 h 19"/>
                <a:gd name="T12" fmla="*/ 14 w 32"/>
                <a:gd name="T13" fmla="*/ 3 h 19"/>
                <a:gd name="T14" fmla="*/ 2 w 32"/>
                <a:gd name="T15" fmla="*/ 0 h 19"/>
                <a:gd name="T16" fmla="*/ 0 w 32"/>
                <a:gd name="T17" fmla="*/ 2 h 19"/>
                <a:gd name="T18" fmla="*/ 2 w 32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">
                  <a:moveTo>
                    <a:pt x="2" y="4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5" y="5"/>
                    <a:pt x="10" y="6"/>
                    <a:pt x="15" y="8"/>
                  </a:cubicBezTo>
                  <a:cubicBezTo>
                    <a:pt x="20" y="10"/>
                    <a:pt x="25" y="13"/>
                    <a:pt x="28" y="17"/>
                  </a:cubicBezTo>
                  <a:cubicBezTo>
                    <a:pt x="28" y="18"/>
                    <a:pt x="30" y="19"/>
                    <a:pt x="31" y="18"/>
                  </a:cubicBezTo>
                  <a:cubicBezTo>
                    <a:pt x="32" y="18"/>
                    <a:pt x="32" y="16"/>
                    <a:pt x="31" y="15"/>
                  </a:cubicBezTo>
                  <a:cubicBezTo>
                    <a:pt x="28" y="9"/>
                    <a:pt x="20" y="5"/>
                    <a:pt x="14" y="3"/>
                  </a:cubicBezTo>
                  <a:cubicBezTo>
                    <a:pt x="8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3" name="Freeform 62">
              <a:extLst>
                <a:ext uri="{FF2B5EF4-FFF2-40B4-BE49-F238E27FC236}">
                  <a16:creationId xmlns:a16="http://schemas.microsoft.com/office/drawing/2014/main" id="{05AAF25F-6342-4889-9D47-418C32AA3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8130" y="5576414"/>
              <a:ext cx="72174" cy="56818"/>
            </a:xfrm>
            <a:custGeom>
              <a:avLst/>
              <a:gdLst>
                <a:gd name="T0" fmla="*/ 22 w 25"/>
                <a:gd name="T1" fmla="*/ 1 h 20"/>
                <a:gd name="T2" fmla="*/ 13 w 25"/>
                <a:gd name="T3" fmla="*/ 6 h 20"/>
                <a:gd name="T4" fmla="*/ 1 w 25"/>
                <a:gd name="T5" fmla="*/ 17 h 20"/>
                <a:gd name="T6" fmla="*/ 1 w 25"/>
                <a:gd name="T7" fmla="*/ 20 h 20"/>
                <a:gd name="T8" fmla="*/ 4 w 25"/>
                <a:gd name="T9" fmla="*/ 19 h 20"/>
                <a:gd name="T10" fmla="*/ 16 w 25"/>
                <a:gd name="T11" fmla="*/ 9 h 20"/>
                <a:gd name="T12" fmla="*/ 21 w 25"/>
                <a:gd name="T13" fmla="*/ 6 h 20"/>
                <a:gd name="T14" fmla="*/ 23 w 25"/>
                <a:gd name="T15" fmla="*/ 5 h 20"/>
                <a:gd name="T16" fmla="*/ 24 w 25"/>
                <a:gd name="T17" fmla="*/ 4 h 20"/>
                <a:gd name="T18" fmla="*/ 25 w 25"/>
                <a:gd name="T19" fmla="*/ 1 h 20"/>
                <a:gd name="T20" fmla="*/ 22 w 25"/>
                <a:gd name="T2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0">
                  <a:moveTo>
                    <a:pt x="22" y="1"/>
                  </a:moveTo>
                  <a:cubicBezTo>
                    <a:pt x="22" y="1"/>
                    <a:pt x="18" y="3"/>
                    <a:pt x="13" y="6"/>
                  </a:cubicBezTo>
                  <a:cubicBezTo>
                    <a:pt x="9" y="9"/>
                    <a:pt x="3" y="13"/>
                    <a:pt x="1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2" y="20"/>
                    <a:pt x="3" y="20"/>
                    <a:pt x="4" y="19"/>
                  </a:cubicBezTo>
                  <a:cubicBezTo>
                    <a:pt x="6" y="16"/>
                    <a:pt x="11" y="12"/>
                    <a:pt x="16" y="9"/>
                  </a:cubicBezTo>
                  <a:cubicBezTo>
                    <a:pt x="18" y="8"/>
                    <a:pt x="20" y="6"/>
                    <a:pt x="21" y="6"/>
                  </a:cubicBezTo>
                  <a:cubicBezTo>
                    <a:pt x="22" y="5"/>
                    <a:pt x="23" y="5"/>
                    <a:pt x="23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5" y="2"/>
                    <a:pt x="25" y="1"/>
                  </a:cubicBezTo>
                  <a:cubicBezTo>
                    <a:pt x="24" y="1"/>
                    <a:pt x="23" y="0"/>
                    <a:pt x="2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4" name="Freeform 63">
              <a:extLst>
                <a:ext uri="{FF2B5EF4-FFF2-40B4-BE49-F238E27FC236}">
                  <a16:creationId xmlns:a16="http://schemas.microsoft.com/office/drawing/2014/main" id="{29A69813-9A55-4B17-BE66-CC47533BB2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9029" y="5550310"/>
              <a:ext cx="82922" cy="62960"/>
            </a:xfrm>
            <a:custGeom>
              <a:avLst/>
              <a:gdLst>
                <a:gd name="T0" fmla="*/ 25 w 29"/>
                <a:gd name="T1" fmla="*/ 1 h 22"/>
                <a:gd name="T2" fmla="*/ 15 w 29"/>
                <a:gd name="T3" fmla="*/ 7 h 22"/>
                <a:gd name="T4" fmla="*/ 7 w 29"/>
                <a:gd name="T5" fmla="*/ 12 h 22"/>
                <a:gd name="T6" fmla="*/ 0 w 29"/>
                <a:gd name="T7" fmla="*/ 18 h 22"/>
                <a:gd name="T8" fmla="*/ 1 w 29"/>
                <a:gd name="T9" fmla="*/ 21 h 22"/>
                <a:gd name="T10" fmla="*/ 4 w 29"/>
                <a:gd name="T11" fmla="*/ 20 h 22"/>
                <a:gd name="T12" fmla="*/ 9 w 29"/>
                <a:gd name="T13" fmla="*/ 15 h 22"/>
                <a:gd name="T14" fmla="*/ 21 w 29"/>
                <a:gd name="T15" fmla="*/ 8 h 22"/>
                <a:gd name="T16" fmla="*/ 25 w 29"/>
                <a:gd name="T17" fmla="*/ 5 h 22"/>
                <a:gd name="T18" fmla="*/ 27 w 29"/>
                <a:gd name="T19" fmla="*/ 4 h 22"/>
                <a:gd name="T20" fmla="*/ 28 w 29"/>
                <a:gd name="T21" fmla="*/ 1 h 22"/>
                <a:gd name="T22" fmla="*/ 25 w 29"/>
                <a:gd name="T2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2">
                  <a:moveTo>
                    <a:pt x="25" y="1"/>
                  </a:moveTo>
                  <a:cubicBezTo>
                    <a:pt x="25" y="1"/>
                    <a:pt x="20" y="3"/>
                    <a:pt x="15" y="7"/>
                  </a:cubicBezTo>
                  <a:cubicBezTo>
                    <a:pt x="12" y="8"/>
                    <a:pt x="9" y="10"/>
                    <a:pt x="7" y="12"/>
                  </a:cubicBezTo>
                  <a:cubicBezTo>
                    <a:pt x="4" y="14"/>
                    <a:pt x="2" y="16"/>
                    <a:pt x="0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2"/>
                    <a:pt x="3" y="21"/>
                    <a:pt x="4" y="20"/>
                  </a:cubicBezTo>
                  <a:cubicBezTo>
                    <a:pt x="5" y="19"/>
                    <a:pt x="7" y="17"/>
                    <a:pt x="9" y="15"/>
                  </a:cubicBezTo>
                  <a:cubicBezTo>
                    <a:pt x="13" y="13"/>
                    <a:pt x="17" y="10"/>
                    <a:pt x="21" y="8"/>
                  </a:cubicBezTo>
                  <a:cubicBezTo>
                    <a:pt x="23" y="7"/>
                    <a:pt x="24" y="6"/>
                    <a:pt x="25" y="5"/>
                  </a:cubicBezTo>
                  <a:cubicBezTo>
                    <a:pt x="27" y="5"/>
                    <a:pt x="27" y="4"/>
                    <a:pt x="27" y="4"/>
                  </a:cubicBezTo>
                  <a:cubicBezTo>
                    <a:pt x="28" y="4"/>
                    <a:pt x="29" y="2"/>
                    <a:pt x="28" y="1"/>
                  </a:cubicBezTo>
                  <a:cubicBezTo>
                    <a:pt x="28" y="1"/>
                    <a:pt x="26" y="0"/>
                    <a:pt x="2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5" name="Freeform 64">
              <a:extLst>
                <a:ext uri="{FF2B5EF4-FFF2-40B4-BE49-F238E27FC236}">
                  <a16:creationId xmlns:a16="http://schemas.microsoft.com/office/drawing/2014/main" id="{C28F6475-B06B-4491-87DB-492F548175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9889" y="5524204"/>
              <a:ext cx="66032" cy="61424"/>
            </a:xfrm>
            <a:custGeom>
              <a:avLst/>
              <a:gdLst>
                <a:gd name="T0" fmla="*/ 20 w 23"/>
                <a:gd name="T1" fmla="*/ 1 h 21"/>
                <a:gd name="T2" fmla="*/ 1 w 23"/>
                <a:gd name="T3" fmla="*/ 18 h 21"/>
                <a:gd name="T4" fmla="*/ 1 w 23"/>
                <a:gd name="T5" fmla="*/ 21 h 21"/>
                <a:gd name="T6" fmla="*/ 4 w 23"/>
                <a:gd name="T7" fmla="*/ 20 h 21"/>
                <a:gd name="T8" fmla="*/ 15 w 23"/>
                <a:gd name="T9" fmla="*/ 8 h 21"/>
                <a:gd name="T10" fmla="*/ 20 w 23"/>
                <a:gd name="T11" fmla="*/ 5 h 21"/>
                <a:gd name="T12" fmla="*/ 21 w 23"/>
                <a:gd name="T13" fmla="*/ 4 h 21"/>
                <a:gd name="T14" fmla="*/ 22 w 23"/>
                <a:gd name="T15" fmla="*/ 4 h 21"/>
                <a:gd name="T16" fmla="*/ 22 w 23"/>
                <a:gd name="T17" fmla="*/ 4 h 21"/>
                <a:gd name="T18" fmla="*/ 23 w 23"/>
                <a:gd name="T19" fmla="*/ 2 h 21"/>
                <a:gd name="T20" fmla="*/ 20 w 23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1">
                  <a:moveTo>
                    <a:pt x="20" y="1"/>
                  </a:moveTo>
                  <a:cubicBezTo>
                    <a:pt x="20" y="1"/>
                    <a:pt x="8" y="6"/>
                    <a:pt x="1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1"/>
                    <a:pt x="3" y="21"/>
                    <a:pt x="4" y="20"/>
                  </a:cubicBezTo>
                  <a:cubicBezTo>
                    <a:pt x="7" y="15"/>
                    <a:pt x="12" y="11"/>
                    <a:pt x="15" y="8"/>
                  </a:cubicBezTo>
                  <a:cubicBezTo>
                    <a:pt x="17" y="7"/>
                    <a:pt x="19" y="6"/>
                    <a:pt x="20" y="5"/>
                  </a:cubicBezTo>
                  <a:cubicBezTo>
                    <a:pt x="21" y="5"/>
                    <a:pt x="21" y="5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3"/>
                    <a:pt x="23" y="2"/>
                  </a:cubicBezTo>
                  <a:cubicBezTo>
                    <a:pt x="22" y="1"/>
                    <a:pt x="21" y="0"/>
                    <a:pt x="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6" name="Freeform 65">
              <a:extLst>
                <a:ext uri="{FF2B5EF4-FFF2-40B4-BE49-F238E27FC236}">
                  <a16:creationId xmlns:a16="http://schemas.microsoft.com/office/drawing/2014/main" id="{9D349419-55F6-4CFD-BEB6-F3DDD2E3B6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3189" y="2847648"/>
              <a:ext cx="109028" cy="256446"/>
            </a:xfrm>
            <a:custGeom>
              <a:avLst/>
              <a:gdLst>
                <a:gd name="T0" fmla="*/ 19 w 38"/>
                <a:gd name="T1" fmla="*/ 0 h 89"/>
                <a:gd name="T2" fmla="*/ 38 w 38"/>
                <a:gd name="T3" fmla="*/ 89 h 89"/>
                <a:gd name="T4" fmla="*/ 19 w 38"/>
                <a:gd name="T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89">
                  <a:moveTo>
                    <a:pt x="19" y="0"/>
                  </a:moveTo>
                  <a:cubicBezTo>
                    <a:pt x="38" y="89"/>
                    <a:pt x="38" y="89"/>
                    <a:pt x="38" y="89"/>
                  </a:cubicBezTo>
                  <a:cubicBezTo>
                    <a:pt x="38" y="89"/>
                    <a:pt x="0" y="38"/>
                    <a:pt x="19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7" name="Freeform 66">
              <a:extLst>
                <a:ext uri="{FF2B5EF4-FFF2-40B4-BE49-F238E27FC236}">
                  <a16:creationId xmlns:a16="http://schemas.microsoft.com/office/drawing/2014/main" id="{5E0BE37D-AD6B-4DE3-8DCC-7A94B32BE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0707" y="3302186"/>
              <a:ext cx="442254" cy="287158"/>
            </a:xfrm>
            <a:custGeom>
              <a:avLst/>
              <a:gdLst>
                <a:gd name="T0" fmla="*/ 154 w 154"/>
                <a:gd name="T1" fmla="*/ 0 h 100"/>
                <a:gd name="T2" fmla="*/ 0 w 154"/>
                <a:gd name="T3" fmla="*/ 100 h 100"/>
                <a:gd name="T4" fmla="*/ 154 w 154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" h="100">
                  <a:moveTo>
                    <a:pt x="154" y="0"/>
                  </a:moveTo>
                  <a:cubicBezTo>
                    <a:pt x="154" y="0"/>
                    <a:pt x="128" y="93"/>
                    <a:pt x="0" y="100"/>
                  </a:cubicBezTo>
                  <a:cubicBezTo>
                    <a:pt x="0" y="100"/>
                    <a:pt x="95" y="82"/>
                    <a:pt x="154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8" name="Freeform 67">
              <a:extLst>
                <a:ext uri="{FF2B5EF4-FFF2-40B4-BE49-F238E27FC236}">
                  <a16:creationId xmlns:a16="http://schemas.microsoft.com/office/drawing/2014/main" id="{43147B9E-FE3E-4E95-9FC1-16D84B5C72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8885" y="2279474"/>
              <a:ext cx="586601" cy="841511"/>
            </a:xfrm>
            <a:custGeom>
              <a:avLst/>
              <a:gdLst>
                <a:gd name="T0" fmla="*/ 0 w 382"/>
                <a:gd name="T1" fmla="*/ 170 h 548"/>
                <a:gd name="T2" fmla="*/ 288 w 382"/>
                <a:gd name="T3" fmla="*/ 548 h 548"/>
                <a:gd name="T4" fmla="*/ 382 w 382"/>
                <a:gd name="T5" fmla="*/ 406 h 548"/>
                <a:gd name="T6" fmla="*/ 101 w 382"/>
                <a:gd name="T7" fmla="*/ 0 h 548"/>
                <a:gd name="T8" fmla="*/ 0 w 382"/>
                <a:gd name="T9" fmla="*/ 17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" h="548">
                  <a:moveTo>
                    <a:pt x="0" y="170"/>
                  </a:moveTo>
                  <a:lnTo>
                    <a:pt x="288" y="548"/>
                  </a:lnTo>
                  <a:lnTo>
                    <a:pt x="382" y="406"/>
                  </a:lnTo>
                  <a:lnTo>
                    <a:pt x="101" y="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69" name="Oval 68">
              <a:extLst>
                <a:ext uri="{FF2B5EF4-FFF2-40B4-BE49-F238E27FC236}">
                  <a16:creationId xmlns:a16="http://schemas.microsoft.com/office/drawing/2014/main" id="{14C79C86-BE46-4158-AE3D-ADAE02F878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517207" y="2006137"/>
              <a:ext cx="98279" cy="101350"/>
            </a:xfrm>
            <a:prstGeom prst="ellipse">
              <a:avLst/>
            </a:prstGeom>
            <a:solidFill>
              <a:srgbClr val="E66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0" name="Freeform 69">
              <a:extLst>
                <a:ext uri="{FF2B5EF4-FFF2-40B4-BE49-F238E27FC236}">
                  <a16:creationId xmlns:a16="http://schemas.microsoft.com/office/drawing/2014/main" id="{15554FB5-1B5F-4445-BF80-4FF153ADF4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6347" y="2302507"/>
              <a:ext cx="99814" cy="122848"/>
            </a:xfrm>
            <a:custGeom>
              <a:avLst/>
              <a:gdLst>
                <a:gd name="T0" fmla="*/ 23 w 35"/>
                <a:gd name="T1" fmla="*/ 0 h 43"/>
                <a:gd name="T2" fmla="*/ 0 w 35"/>
                <a:gd name="T3" fmla="*/ 30 h 43"/>
                <a:gd name="T4" fmla="*/ 14 w 35"/>
                <a:gd name="T5" fmla="*/ 26 h 43"/>
                <a:gd name="T6" fmla="*/ 14 w 35"/>
                <a:gd name="T7" fmla="*/ 43 h 43"/>
                <a:gd name="T8" fmla="*/ 35 w 35"/>
                <a:gd name="T9" fmla="*/ 10 h 43"/>
                <a:gd name="T10" fmla="*/ 23 w 35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43">
                  <a:moveTo>
                    <a:pt x="23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25" y="6"/>
                    <a:pt x="23" y="0"/>
                  </a:cubicBezTo>
                  <a:close/>
                </a:path>
              </a:pathLst>
            </a:custGeom>
            <a:solidFill>
              <a:srgbClr val="E6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1" name="Oval 70">
              <a:extLst>
                <a:ext uri="{FF2B5EF4-FFF2-40B4-BE49-F238E27FC236}">
                  <a16:creationId xmlns:a16="http://schemas.microsoft.com/office/drawing/2014/main" id="{3291C995-9BE5-4570-859A-8A43D54576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2378" y="2259511"/>
              <a:ext cx="72174" cy="72174"/>
            </a:xfrm>
            <a:prstGeom prst="ellipse">
              <a:avLst/>
            </a:prstGeom>
            <a:solidFill>
              <a:srgbClr val="E6B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2" name="Oval 71">
              <a:extLst>
                <a:ext uri="{FF2B5EF4-FFF2-40B4-BE49-F238E27FC236}">
                  <a16:creationId xmlns:a16="http://schemas.microsoft.com/office/drawing/2014/main" id="{E3AA9861-6B0F-417B-A64F-41E2086C21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43127" y="2270260"/>
              <a:ext cx="49139" cy="49139"/>
            </a:xfrm>
            <a:prstGeom prst="ellipse">
              <a:avLst/>
            </a:prstGeom>
            <a:solidFill>
              <a:srgbClr val="E6C4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3" name="Freeform 72">
              <a:extLst>
                <a:ext uri="{FF2B5EF4-FFF2-40B4-BE49-F238E27FC236}">
                  <a16:creationId xmlns:a16="http://schemas.microsoft.com/office/drawing/2014/main" id="{6ADC4E46-5EEF-4C65-85CC-1D096C9E7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4149" y="1963140"/>
              <a:ext cx="92137" cy="293300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4" name="Freeform 73">
              <a:extLst>
                <a:ext uri="{FF2B5EF4-FFF2-40B4-BE49-F238E27FC236}">
                  <a16:creationId xmlns:a16="http://schemas.microsoft.com/office/drawing/2014/main" id="{954FADB1-E139-4DFE-AABE-A568E33241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4149" y="1963140"/>
              <a:ext cx="92137" cy="293300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5" name="Freeform 74">
              <a:extLst>
                <a:ext uri="{FF2B5EF4-FFF2-40B4-BE49-F238E27FC236}">
                  <a16:creationId xmlns:a16="http://schemas.microsoft.com/office/drawing/2014/main" id="{A1ECFB9B-4988-4047-9359-C8C4A9BDCB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08267" y="1883289"/>
              <a:ext cx="843047" cy="3396754"/>
            </a:xfrm>
            <a:custGeom>
              <a:avLst/>
              <a:gdLst>
                <a:gd name="T0" fmla="*/ 155 w 293"/>
                <a:gd name="T1" fmla="*/ 1182 h 1183"/>
                <a:gd name="T2" fmla="*/ 139 w 293"/>
                <a:gd name="T3" fmla="*/ 1182 h 1183"/>
                <a:gd name="T4" fmla="*/ 239 w 293"/>
                <a:gd name="T5" fmla="*/ 1169 h 1183"/>
                <a:gd name="T6" fmla="*/ 293 w 293"/>
                <a:gd name="T7" fmla="*/ 1144 h 1183"/>
                <a:gd name="T8" fmla="*/ 275 w 293"/>
                <a:gd name="T9" fmla="*/ 1154 h 1183"/>
                <a:gd name="T10" fmla="*/ 0 w 293"/>
                <a:gd name="T11" fmla="*/ 1127 h 1183"/>
                <a:gd name="T12" fmla="*/ 91 w 293"/>
                <a:gd name="T13" fmla="*/ 1172 h 1183"/>
                <a:gd name="T14" fmla="*/ 0 w 293"/>
                <a:gd name="T15" fmla="*/ 1127 h 1183"/>
                <a:gd name="T16" fmla="*/ 34 w 293"/>
                <a:gd name="T17" fmla="*/ 285 h 1183"/>
                <a:gd name="T18" fmla="*/ 49 w 293"/>
                <a:gd name="T19" fmla="*/ 279 h 1183"/>
                <a:gd name="T20" fmla="*/ 89 w 293"/>
                <a:gd name="T21" fmla="*/ 267 h 1183"/>
                <a:gd name="T22" fmla="*/ 51 w 293"/>
                <a:gd name="T23" fmla="*/ 142 h 1183"/>
                <a:gd name="T24" fmla="*/ 51 w 293"/>
                <a:gd name="T25" fmla="*/ 142 h 1183"/>
                <a:gd name="T26" fmla="*/ 51 w 293"/>
                <a:gd name="T27" fmla="*/ 142 h 1183"/>
                <a:gd name="T28" fmla="*/ 51 w 293"/>
                <a:gd name="T29" fmla="*/ 142 h 1183"/>
                <a:gd name="T30" fmla="*/ 51 w 293"/>
                <a:gd name="T31" fmla="*/ 142 h 1183"/>
                <a:gd name="T32" fmla="*/ 52 w 293"/>
                <a:gd name="T33" fmla="*/ 142 h 1183"/>
                <a:gd name="T34" fmla="*/ 52 w 293"/>
                <a:gd name="T35" fmla="*/ 142 h 1183"/>
                <a:gd name="T36" fmla="*/ 52 w 293"/>
                <a:gd name="T37" fmla="*/ 142 h 1183"/>
                <a:gd name="T38" fmla="*/ 52 w 293"/>
                <a:gd name="T39" fmla="*/ 142 h 1183"/>
                <a:gd name="T40" fmla="*/ 143 w 293"/>
                <a:gd name="T41" fmla="*/ 112 h 1183"/>
                <a:gd name="T42" fmla="*/ 138 w 293"/>
                <a:gd name="T43" fmla="*/ 119 h 1183"/>
                <a:gd name="T44" fmla="*/ 52 w 293"/>
                <a:gd name="T45" fmla="*/ 142 h 1183"/>
                <a:gd name="T46" fmla="*/ 138 w 293"/>
                <a:gd name="T47" fmla="*/ 119 h 1183"/>
                <a:gd name="T48" fmla="*/ 143 w 293"/>
                <a:gd name="T49" fmla="*/ 112 h 1183"/>
                <a:gd name="T50" fmla="*/ 155 w 293"/>
                <a:gd name="T51" fmla="*/ 15 h 1183"/>
                <a:gd name="T52" fmla="*/ 64 w 293"/>
                <a:gd name="T53" fmla="*/ 28 h 1183"/>
                <a:gd name="T54" fmla="*/ 155 w 293"/>
                <a:gd name="T55" fmla="*/ 15 h 1183"/>
                <a:gd name="T56" fmla="*/ 45 w 293"/>
                <a:gd name="T57" fmla="*/ 22 h 1183"/>
                <a:gd name="T58" fmla="*/ 154 w 293"/>
                <a:gd name="T59" fmla="*/ 6 h 1183"/>
                <a:gd name="T60" fmla="*/ 198 w 293"/>
                <a:gd name="T61" fmla="*/ 0 h 1183"/>
                <a:gd name="T62" fmla="*/ 154 w 293"/>
                <a:gd name="T63" fmla="*/ 5 h 1183"/>
                <a:gd name="T64" fmla="*/ 198 w 293"/>
                <a:gd name="T65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3" h="1183">
                  <a:moveTo>
                    <a:pt x="239" y="1167"/>
                  </a:moveTo>
                  <a:cubicBezTo>
                    <a:pt x="214" y="1176"/>
                    <a:pt x="185" y="1182"/>
                    <a:pt x="155" y="1182"/>
                  </a:cubicBezTo>
                  <a:cubicBezTo>
                    <a:pt x="150" y="1182"/>
                    <a:pt x="144" y="1181"/>
                    <a:pt x="139" y="1181"/>
                  </a:cubicBezTo>
                  <a:cubicBezTo>
                    <a:pt x="139" y="1182"/>
                    <a:pt x="139" y="1182"/>
                    <a:pt x="139" y="1182"/>
                  </a:cubicBezTo>
                  <a:cubicBezTo>
                    <a:pt x="146" y="1183"/>
                    <a:pt x="154" y="1183"/>
                    <a:pt x="162" y="1183"/>
                  </a:cubicBezTo>
                  <a:cubicBezTo>
                    <a:pt x="187" y="1183"/>
                    <a:pt x="213" y="1179"/>
                    <a:pt x="239" y="1169"/>
                  </a:cubicBezTo>
                  <a:cubicBezTo>
                    <a:pt x="239" y="1167"/>
                    <a:pt x="239" y="1167"/>
                    <a:pt x="239" y="1167"/>
                  </a:cubicBezTo>
                  <a:moveTo>
                    <a:pt x="293" y="1144"/>
                  </a:moveTo>
                  <a:cubicBezTo>
                    <a:pt x="287" y="1147"/>
                    <a:pt x="281" y="1150"/>
                    <a:pt x="275" y="1153"/>
                  </a:cubicBezTo>
                  <a:cubicBezTo>
                    <a:pt x="275" y="1154"/>
                    <a:pt x="275" y="1154"/>
                    <a:pt x="275" y="1154"/>
                  </a:cubicBezTo>
                  <a:cubicBezTo>
                    <a:pt x="281" y="1151"/>
                    <a:pt x="287" y="1147"/>
                    <a:pt x="293" y="1144"/>
                  </a:cubicBezTo>
                  <a:moveTo>
                    <a:pt x="0" y="1127"/>
                  </a:moveTo>
                  <a:cubicBezTo>
                    <a:pt x="30" y="1147"/>
                    <a:pt x="60" y="1163"/>
                    <a:pt x="91" y="1172"/>
                  </a:cubicBezTo>
                  <a:cubicBezTo>
                    <a:pt x="91" y="1172"/>
                    <a:pt x="91" y="1172"/>
                    <a:pt x="91" y="1172"/>
                  </a:cubicBezTo>
                  <a:cubicBezTo>
                    <a:pt x="83" y="1169"/>
                    <a:pt x="74" y="1165"/>
                    <a:pt x="65" y="1161"/>
                  </a:cubicBezTo>
                  <a:cubicBezTo>
                    <a:pt x="38" y="1148"/>
                    <a:pt x="16" y="1137"/>
                    <a:pt x="0" y="1127"/>
                  </a:cubicBezTo>
                  <a:moveTo>
                    <a:pt x="89" y="267"/>
                  </a:moveTo>
                  <a:cubicBezTo>
                    <a:pt x="68" y="271"/>
                    <a:pt x="49" y="278"/>
                    <a:pt x="34" y="285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9" y="283"/>
                    <a:pt x="44" y="281"/>
                    <a:pt x="49" y="279"/>
                  </a:cubicBezTo>
                  <a:cubicBezTo>
                    <a:pt x="44" y="281"/>
                    <a:pt x="39" y="283"/>
                    <a:pt x="34" y="285"/>
                  </a:cubicBezTo>
                  <a:cubicBezTo>
                    <a:pt x="49" y="278"/>
                    <a:pt x="67" y="271"/>
                    <a:pt x="89" y="267"/>
                  </a:cubicBezTo>
                  <a:cubicBezTo>
                    <a:pt x="89" y="267"/>
                    <a:pt x="89" y="267"/>
                    <a:pt x="89" y="267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143" y="112"/>
                  </a:moveTo>
                  <a:cubicBezTo>
                    <a:pt x="139" y="115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99" y="137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99" y="137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9" y="115"/>
                    <a:pt x="143" y="112"/>
                  </a:cubicBezTo>
                  <a:cubicBezTo>
                    <a:pt x="143" y="112"/>
                    <a:pt x="143" y="112"/>
                    <a:pt x="143" y="112"/>
                  </a:cubicBezTo>
                  <a:moveTo>
                    <a:pt x="155" y="15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moveTo>
                    <a:pt x="154" y="6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4" y="6"/>
                    <a:pt x="154" y="6"/>
                    <a:pt x="154" y="6"/>
                  </a:cubicBezTo>
                  <a:moveTo>
                    <a:pt x="198" y="0"/>
                  </a:moveTo>
                  <a:cubicBezTo>
                    <a:pt x="167" y="4"/>
                    <a:pt x="167" y="4"/>
                    <a:pt x="167" y="4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67" y="4"/>
                    <a:pt x="167" y="4"/>
                    <a:pt x="167" y="4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solidFill>
              <a:srgbClr val="5055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6" name="Freeform 75">
              <a:extLst>
                <a:ext uri="{FF2B5EF4-FFF2-40B4-BE49-F238E27FC236}">
                  <a16:creationId xmlns:a16="http://schemas.microsoft.com/office/drawing/2014/main" id="{DFAD4E88-3B89-4935-9A0B-E2D951E5F5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9319" y="5249332"/>
              <a:ext cx="138204" cy="29177"/>
            </a:xfrm>
            <a:custGeom>
              <a:avLst/>
              <a:gdLst>
                <a:gd name="T0" fmla="*/ 0 w 48"/>
                <a:gd name="T1" fmla="*/ 0 h 10"/>
                <a:gd name="T2" fmla="*/ 0 w 48"/>
                <a:gd name="T3" fmla="*/ 0 h 10"/>
                <a:gd name="T4" fmla="*/ 48 w 48"/>
                <a:gd name="T5" fmla="*/ 10 h 10"/>
                <a:gd name="T6" fmla="*/ 48 w 48"/>
                <a:gd name="T7" fmla="*/ 9 h 10"/>
                <a:gd name="T8" fmla="*/ 0 w 4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5"/>
                    <a:pt x="32" y="8"/>
                    <a:pt x="48" y="10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32" y="8"/>
                    <a:pt x="16" y="5"/>
                    <a:pt x="0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7" name="Freeform 76">
              <a:extLst>
                <a:ext uri="{FF2B5EF4-FFF2-40B4-BE49-F238E27FC236}">
                  <a16:creationId xmlns:a16="http://schemas.microsoft.com/office/drawing/2014/main" id="{53B49D9E-ACAC-47C3-B7FB-641DF594F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4682" y="5194049"/>
              <a:ext cx="104421" cy="46068"/>
            </a:xfrm>
            <a:custGeom>
              <a:avLst/>
              <a:gdLst>
                <a:gd name="T0" fmla="*/ 36 w 36"/>
                <a:gd name="T1" fmla="*/ 0 h 16"/>
                <a:gd name="T2" fmla="*/ 0 w 36"/>
                <a:gd name="T3" fmla="*/ 14 h 16"/>
                <a:gd name="T4" fmla="*/ 0 w 36"/>
                <a:gd name="T5" fmla="*/ 16 h 16"/>
                <a:gd name="T6" fmla="*/ 36 w 36"/>
                <a:gd name="T7" fmla="*/ 1 h 16"/>
                <a:gd name="T8" fmla="*/ 36 w 3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6">
                  <a:moveTo>
                    <a:pt x="36" y="0"/>
                  </a:moveTo>
                  <a:cubicBezTo>
                    <a:pt x="25" y="5"/>
                    <a:pt x="13" y="10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2" y="12"/>
                    <a:pt x="24" y="7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8" name="Freeform 77">
              <a:extLst>
                <a:ext uri="{FF2B5EF4-FFF2-40B4-BE49-F238E27FC236}">
                  <a16:creationId xmlns:a16="http://schemas.microsoft.com/office/drawing/2014/main" id="{621CD184-CB73-4095-B393-034D00823A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34744" y="2641877"/>
              <a:ext cx="1067245" cy="2636631"/>
            </a:xfrm>
            <a:custGeom>
              <a:avLst/>
              <a:gdLst>
                <a:gd name="T0" fmla="*/ 204 w 371"/>
                <a:gd name="T1" fmla="*/ 0 h 918"/>
                <a:gd name="T2" fmla="*/ 149 w 371"/>
                <a:gd name="T3" fmla="*/ 3 h 918"/>
                <a:gd name="T4" fmla="*/ 109 w 371"/>
                <a:gd name="T5" fmla="*/ 15 h 918"/>
                <a:gd name="T6" fmla="*/ 61 w 371"/>
                <a:gd name="T7" fmla="*/ 39 h 918"/>
                <a:gd name="T8" fmla="*/ 12 w 371"/>
                <a:gd name="T9" fmla="*/ 74 h 918"/>
                <a:gd name="T10" fmla="*/ 40 w 371"/>
                <a:gd name="T11" fmla="*/ 250 h 918"/>
                <a:gd name="T12" fmla="*/ 94 w 371"/>
                <a:gd name="T13" fmla="*/ 219 h 918"/>
                <a:gd name="T14" fmla="*/ 76 w 371"/>
                <a:gd name="T15" fmla="*/ 802 h 918"/>
                <a:gd name="T16" fmla="*/ 77 w 371"/>
                <a:gd name="T17" fmla="*/ 813 h 918"/>
                <a:gd name="T18" fmla="*/ 78 w 371"/>
                <a:gd name="T19" fmla="*/ 815 h 918"/>
                <a:gd name="T20" fmla="*/ 78 w 371"/>
                <a:gd name="T21" fmla="*/ 816 h 918"/>
                <a:gd name="T22" fmla="*/ 78 w 371"/>
                <a:gd name="T23" fmla="*/ 817 h 918"/>
                <a:gd name="T24" fmla="*/ 78 w 371"/>
                <a:gd name="T25" fmla="*/ 818 h 918"/>
                <a:gd name="T26" fmla="*/ 78 w 371"/>
                <a:gd name="T27" fmla="*/ 818 h 918"/>
                <a:gd name="T28" fmla="*/ 78 w 371"/>
                <a:gd name="T29" fmla="*/ 819 h 918"/>
                <a:gd name="T30" fmla="*/ 79 w 371"/>
                <a:gd name="T31" fmla="*/ 822 h 918"/>
                <a:gd name="T32" fmla="*/ 79 w 371"/>
                <a:gd name="T33" fmla="*/ 823 h 918"/>
                <a:gd name="T34" fmla="*/ 79 w 371"/>
                <a:gd name="T35" fmla="*/ 823 h 918"/>
                <a:gd name="T36" fmla="*/ 79 w 371"/>
                <a:gd name="T37" fmla="*/ 823 h 918"/>
                <a:gd name="T38" fmla="*/ 79 w 371"/>
                <a:gd name="T39" fmla="*/ 823 h 918"/>
                <a:gd name="T40" fmla="*/ 79 w 371"/>
                <a:gd name="T41" fmla="*/ 824 h 918"/>
                <a:gd name="T42" fmla="*/ 79 w 371"/>
                <a:gd name="T43" fmla="*/ 825 h 918"/>
                <a:gd name="T44" fmla="*/ 79 w 371"/>
                <a:gd name="T45" fmla="*/ 825 h 918"/>
                <a:gd name="T46" fmla="*/ 79 w 371"/>
                <a:gd name="T47" fmla="*/ 825 h 918"/>
                <a:gd name="T48" fmla="*/ 79 w 371"/>
                <a:gd name="T49" fmla="*/ 825 h 918"/>
                <a:gd name="T50" fmla="*/ 79 w 371"/>
                <a:gd name="T51" fmla="*/ 825 h 918"/>
                <a:gd name="T52" fmla="*/ 79 w 371"/>
                <a:gd name="T53" fmla="*/ 825 h 918"/>
                <a:gd name="T54" fmla="*/ 79 w 371"/>
                <a:gd name="T55" fmla="*/ 825 h 918"/>
                <a:gd name="T56" fmla="*/ 79 w 371"/>
                <a:gd name="T57" fmla="*/ 825 h 918"/>
                <a:gd name="T58" fmla="*/ 79 w 371"/>
                <a:gd name="T59" fmla="*/ 825 h 918"/>
                <a:gd name="T60" fmla="*/ 79 w 371"/>
                <a:gd name="T61" fmla="*/ 826 h 918"/>
                <a:gd name="T62" fmla="*/ 79 w 371"/>
                <a:gd name="T63" fmla="*/ 826 h 918"/>
                <a:gd name="T64" fmla="*/ 79 w 371"/>
                <a:gd name="T65" fmla="*/ 826 h 918"/>
                <a:gd name="T66" fmla="*/ 79 w 371"/>
                <a:gd name="T67" fmla="*/ 826 h 918"/>
                <a:gd name="T68" fmla="*/ 79 w 371"/>
                <a:gd name="T69" fmla="*/ 826 h 918"/>
                <a:gd name="T70" fmla="*/ 79 w 371"/>
                <a:gd name="T71" fmla="*/ 826 h 918"/>
                <a:gd name="T72" fmla="*/ 79 w 371"/>
                <a:gd name="T73" fmla="*/ 826 h 918"/>
                <a:gd name="T74" fmla="*/ 79 w 371"/>
                <a:gd name="T75" fmla="*/ 826 h 918"/>
                <a:gd name="T76" fmla="*/ 79 w 371"/>
                <a:gd name="T77" fmla="*/ 826 h 918"/>
                <a:gd name="T78" fmla="*/ 79 w 371"/>
                <a:gd name="T79" fmla="*/ 826 h 918"/>
                <a:gd name="T80" fmla="*/ 79 w 371"/>
                <a:gd name="T81" fmla="*/ 826 h 918"/>
                <a:gd name="T82" fmla="*/ 79 w 371"/>
                <a:gd name="T83" fmla="*/ 826 h 918"/>
                <a:gd name="T84" fmla="*/ 79 w 371"/>
                <a:gd name="T85" fmla="*/ 826 h 918"/>
                <a:gd name="T86" fmla="*/ 35 w 371"/>
                <a:gd name="T87" fmla="*/ 850 h 918"/>
                <a:gd name="T88" fmla="*/ 125 w 371"/>
                <a:gd name="T89" fmla="*/ 897 h 918"/>
                <a:gd name="T90" fmla="*/ 215 w 371"/>
                <a:gd name="T91" fmla="*/ 918 h 918"/>
                <a:gd name="T92" fmla="*/ 353 w 371"/>
                <a:gd name="T93" fmla="*/ 880 h 918"/>
                <a:gd name="T94" fmla="*/ 160 w 371"/>
                <a:gd name="T95" fmla="*/ 405 h 918"/>
                <a:gd name="T96" fmla="*/ 188 w 371"/>
                <a:gd name="T97" fmla="*/ 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1" h="918">
                  <a:moveTo>
                    <a:pt x="201" y="0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3" y="0"/>
                    <a:pt x="202" y="0"/>
                    <a:pt x="201" y="0"/>
                  </a:cubicBezTo>
                  <a:moveTo>
                    <a:pt x="187" y="0"/>
                  </a:moveTo>
                  <a:cubicBezTo>
                    <a:pt x="174" y="0"/>
                    <a:pt x="161" y="1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38" y="6"/>
                    <a:pt x="124" y="10"/>
                    <a:pt x="109" y="15"/>
                  </a:cubicBezTo>
                  <a:cubicBezTo>
                    <a:pt x="104" y="17"/>
                    <a:pt x="99" y="19"/>
                    <a:pt x="94" y="21"/>
                  </a:cubicBezTo>
                  <a:cubicBezTo>
                    <a:pt x="94" y="21"/>
                    <a:pt x="94" y="21"/>
                    <a:pt x="94" y="21"/>
                  </a:cubicBezTo>
                  <a:cubicBezTo>
                    <a:pt x="74" y="30"/>
                    <a:pt x="61" y="39"/>
                    <a:pt x="61" y="39"/>
                  </a:cubicBezTo>
                  <a:cubicBezTo>
                    <a:pt x="61" y="38"/>
                    <a:pt x="60" y="37"/>
                    <a:pt x="59" y="36"/>
                  </a:cubicBezTo>
                  <a:cubicBezTo>
                    <a:pt x="41" y="45"/>
                    <a:pt x="24" y="55"/>
                    <a:pt x="9" y="65"/>
                  </a:cubicBezTo>
                  <a:cubicBezTo>
                    <a:pt x="10" y="68"/>
                    <a:pt x="11" y="71"/>
                    <a:pt x="12" y="74"/>
                  </a:cubicBezTo>
                  <a:cubicBezTo>
                    <a:pt x="34" y="141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3" y="282"/>
                    <a:pt x="6" y="303"/>
                    <a:pt x="9" y="324"/>
                  </a:cubicBezTo>
                  <a:cubicBezTo>
                    <a:pt x="94" y="219"/>
                    <a:pt x="94" y="219"/>
                    <a:pt x="94" y="219"/>
                  </a:cubicBezTo>
                  <a:cubicBezTo>
                    <a:pt x="42" y="555"/>
                    <a:pt x="42" y="555"/>
                    <a:pt x="42" y="555"/>
                  </a:cubicBezTo>
                  <a:cubicBezTo>
                    <a:pt x="57" y="664"/>
                    <a:pt x="70" y="759"/>
                    <a:pt x="76" y="801"/>
                  </a:cubicBezTo>
                  <a:cubicBezTo>
                    <a:pt x="76" y="802"/>
                    <a:pt x="76" y="802"/>
                    <a:pt x="76" y="802"/>
                  </a:cubicBezTo>
                  <a:cubicBezTo>
                    <a:pt x="76" y="804"/>
                    <a:pt x="76" y="806"/>
                    <a:pt x="77" y="808"/>
                  </a:cubicBezTo>
                  <a:cubicBezTo>
                    <a:pt x="77" y="808"/>
                    <a:pt x="77" y="808"/>
                    <a:pt x="77" y="808"/>
                  </a:cubicBezTo>
                  <a:cubicBezTo>
                    <a:pt x="77" y="810"/>
                    <a:pt x="77" y="811"/>
                    <a:pt x="77" y="813"/>
                  </a:cubicBezTo>
                  <a:cubicBezTo>
                    <a:pt x="77" y="813"/>
                    <a:pt x="77" y="813"/>
                    <a:pt x="77" y="813"/>
                  </a:cubicBezTo>
                  <a:cubicBezTo>
                    <a:pt x="78" y="814"/>
                    <a:pt x="78" y="814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20"/>
                    <a:pt x="79" y="821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7" y="827"/>
                    <a:pt x="61" y="837"/>
                    <a:pt x="35" y="850"/>
                  </a:cubicBezTo>
                  <a:cubicBezTo>
                    <a:pt x="42" y="854"/>
                    <a:pt x="50" y="858"/>
                    <a:pt x="60" y="863"/>
                  </a:cubicBezTo>
                  <a:cubicBezTo>
                    <a:pt x="60" y="863"/>
                    <a:pt x="60" y="863"/>
                    <a:pt x="60" y="863"/>
                  </a:cubicBezTo>
                  <a:cubicBezTo>
                    <a:pt x="76" y="873"/>
                    <a:pt x="98" y="884"/>
                    <a:pt x="125" y="897"/>
                  </a:cubicBezTo>
                  <a:cubicBezTo>
                    <a:pt x="134" y="901"/>
                    <a:pt x="143" y="905"/>
                    <a:pt x="151" y="908"/>
                  </a:cubicBezTo>
                  <a:cubicBezTo>
                    <a:pt x="167" y="913"/>
                    <a:pt x="183" y="916"/>
                    <a:pt x="199" y="917"/>
                  </a:cubicBezTo>
                  <a:cubicBezTo>
                    <a:pt x="204" y="917"/>
                    <a:pt x="210" y="918"/>
                    <a:pt x="215" y="918"/>
                  </a:cubicBezTo>
                  <a:cubicBezTo>
                    <a:pt x="245" y="918"/>
                    <a:pt x="274" y="912"/>
                    <a:pt x="299" y="903"/>
                  </a:cubicBezTo>
                  <a:cubicBezTo>
                    <a:pt x="312" y="899"/>
                    <a:pt x="324" y="894"/>
                    <a:pt x="335" y="889"/>
                  </a:cubicBezTo>
                  <a:cubicBezTo>
                    <a:pt x="341" y="886"/>
                    <a:pt x="347" y="883"/>
                    <a:pt x="353" y="880"/>
                  </a:cubicBezTo>
                  <a:cubicBezTo>
                    <a:pt x="353" y="880"/>
                    <a:pt x="353" y="880"/>
                    <a:pt x="353" y="880"/>
                  </a:cubicBezTo>
                  <a:cubicBezTo>
                    <a:pt x="356" y="878"/>
                    <a:pt x="368" y="814"/>
                    <a:pt x="371" y="813"/>
                  </a:cubicBezTo>
                  <a:cubicBezTo>
                    <a:pt x="244" y="706"/>
                    <a:pt x="141" y="568"/>
                    <a:pt x="160" y="405"/>
                  </a:cubicBezTo>
                  <a:cubicBezTo>
                    <a:pt x="172" y="311"/>
                    <a:pt x="201" y="221"/>
                    <a:pt x="213" y="122"/>
                  </a:cubicBezTo>
                  <a:cubicBezTo>
                    <a:pt x="216" y="100"/>
                    <a:pt x="221" y="79"/>
                    <a:pt x="227" y="58"/>
                  </a:cubicBezTo>
                  <a:cubicBezTo>
                    <a:pt x="200" y="43"/>
                    <a:pt x="189" y="17"/>
                    <a:pt x="188" y="0"/>
                  </a:cubicBezTo>
                  <a:cubicBezTo>
                    <a:pt x="188" y="0"/>
                    <a:pt x="187" y="0"/>
                    <a:pt x="187" y="0"/>
                  </a:cubicBezTo>
                </a:path>
              </a:pathLst>
            </a:custGeom>
            <a:solidFill>
              <a:srgbClr val="171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79" name="Freeform 78">
              <a:extLst>
                <a:ext uri="{FF2B5EF4-FFF2-40B4-BE49-F238E27FC236}">
                  <a16:creationId xmlns:a16="http://schemas.microsoft.com/office/drawing/2014/main" id="{B88D91D9-B752-4E86-AFB1-52E1C66E9E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0923" y="2190409"/>
              <a:ext cx="764731" cy="563567"/>
            </a:xfrm>
            <a:custGeom>
              <a:avLst/>
              <a:gdLst>
                <a:gd name="T0" fmla="*/ 220 w 266"/>
                <a:gd name="T1" fmla="*/ 0 h 196"/>
                <a:gd name="T2" fmla="*/ 208 w 266"/>
                <a:gd name="T3" fmla="*/ 5 h 196"/>
                <a:gd name="T4" fmla="*/ 208 w 266"/>
                <a:gd name="T5" fmla="*/ 5 h 196"/>
                <a:gd name="T6" fmla="*/ 208 w 266"/>
                <a:gd name="T7" fmla="*/ 5 h 196"/>
                <a:gd name="T8" fmla="*/ 203 w 266"/>
                <a:gd name="T9" fmla="*/ 12 h 196"/>
                <a:gd name="T10" fmla="*/ 117 w 266"/>
                <a:gd name="T11" fmla="*/ 35 h 196"/>
                <a:gd name="T12" fmla="*/ 117 w 266"/>
                <a:gd name="T13" fmla="*/ 35 h 196"/>
                <a:gd name="T14" fmla="*/ 117 w 266"/>
                <a:gd name="T15" fmla="*/ 35 h 196"/>
                <a:gd name="T16" fmla="*/ 117 w 266"/>
                <a:gd name="T17" fmla="*/ 35 h 196"/>
                <a:gd name="T18" fmla="*/ 117 w 266"/>
                <a:gd name="T19" fmla="*/ 35 h 196"/>
                <a:gd name="T20" fmla="*/ 117 w 266"/>
                <a:gd name="T21" fmla="*/ 35 h 196"/>
                <a:gd name="T22" fmla="*/ 117 w 266"/>
                <a:gd name="T23" fmla="*/ 35 h 196"/>
                <a:gd name="T24" fmla="*/ 117 w 266"/>
                <a:gd name="T25" fmla="*/ 35 h 196"/>
                <a:gd name="T26" fmla="*/ 116 w 266"/>
                <a:gd name="T27" fmla="*/ 35 h 196"/>
                <a:gd name="T28" fmla="*/ 116 w 266"/>
                <a:gd name="T29" fmla="*/ 35 h 196"/>
                <a:gd name="T30" fmla="*/ 116 w 266"/>
                <a:gd name="T31" fmla="*/ 35 h 196"/>
                <a:gd name="T32" fmla="*/ 116 w 266"/>
                <a:gd name="T33" fmla="*/ 35 h 196"/>
                <a:gd name="T34" fmla="*/ 116 w 266"/>
                <a:gd name="T35" fmla="*/ 35 h 196"/>
                <a:gd name="T36" fmla="*/ 116 w 266"/>
                <a:gd name="T37" fmla="*/ 35 h 196"/>
                <a:gd name="T38" fmla="*/ 65 w 266"/>
                <a:gd name="T39" fmla="*/ 193 h 196"/>
                <a:gd name="T40" fmla="*/ 64 w 266"/>
                <a:gd name="T41" fmla="*/ 193 h 196"/>
                <a:gd name="T42" fmla="*/ 66 w 266"/>
                <a:gd name="T43" fmla="*/ 196 h 196"/>
                <a:gd name="T44" fmla="*/ 99 w 266"/>
                <a:gd name="T45" fmla="*/ 178 h 196"/>
                <a:gd name="T46" fmla="*/ 154 w 266"/>
                <a:gd name="T47" fmla="*/ 160 h 196"/>
                <a:gd name="T48" fmla="*/ 192 w 266"/>
                <a:gd name="T49" fmla="*/ 157 h 196"/>
                <a:gd name="T50" fmla="*/ 193 w 266"/>
                <a:gd name="T51" fmla="*/ 157 h 196"/>
                <a:gd name="T52" fmla="*/ 193 w 266"/>
                <a:gd name="T53" fmla="*/ 156 h 196"/>
                <a:gd name="T54" fmla="*/ 206 w 266"/>
                <a:gd name="T55" fmla="*/ 157 h 196"/>
                <a:gd name="T56" fmla="*/ 209 w 266"/>
                <a:gd name="T57" fmla="*/ 157 h 196"/>
                <a:gd name="T58" fmla="*/ 244 w 266"/>
                <a:gd name="T59" fmla="*/ 159 h 196"/>
                <a:gd name="T60" fmla="*/ 245 w 266"/>
                <a:gd name="T61" fmla="*/ 159 h 196"/>
                <a:gd name="T62" fmla="*/ 247 w 266"/>
                <a:gd name="T63" fmla="*/ 159 h 196"/>
                <a:gd name="T64" fmla="*/ 266 w 266"/>
                <a:gd name="T65" fmla="*/ 91 h 196"/>
                <a:gd name="T66" fmla="*/ 234 w 266"/>
                <a:gd name="T67" fmla="*/ 53 h 196"/>
                <a:gd name="T68" fmla="*/ 230 w 266"/>
                <a:gd name="T69" fmla="*/ 2 h 196"/>
                <a:gd name="T70" fmla="*/ 226 w 266"/>
                <a:gd name="T71" fmla="*/ 1 h 196"/>
                <a:gd name="T72" fmla="*/ 220 w 266"/>
                <a:gd name="T7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6" h="196">
                  <a:moveTo>
                    <a:pt x="220" y="0"/>
                  </a:moveTo>
                  <a:cubicBezTo>
                    <a:pt x="214" y="0"/>
                    <a:pt x="210" y="3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03" y="12"/>
                    <a:pt x="164" y="30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69" y="41"/>
                    <a:pt x="0" y="94"/>
                    <a:pt x="65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65" y="194"/>
                    <a:pt x="66" y="195"/>
                    <a:pt x="66" y="196"/>
                  </a:cubicBezTo>
                  <a:cubicBezTo>
                    <a:pt x="66" y="196"/>
                    <a:pt x="79" y="187"/>
                    <a:pt x="99" y="178"/>
                  </a:cubicBezTo>
                  <a:cubicBezTo>
                    <a:pt x="114" y="171"/>
                    <a:pt x="133" y="164"/>
                    <a:pt x="154" y="160"/>
                  </a:cubicBezTo>
                  <a:cubicBezTo>
                    <a:pt x="166" y="158"/>
                    <a:pt x="179" y="157"/>
                    <a:pt x="192" y="157"/>
                  </a:cubicBezTo>
                  <a:cubicBezTo>
                    <a:pt x="192" y="157"/>
                    <a:pt x="193" y="157"/>
                    <a:pt x="193" y="157"/>
                  </a:cubicBezTo>
                  <a:cubicBezTo>
                    <a:pt x="193" y="156"/>
                    <a:pt x="193" y="156"/>
                    <a:pt x="193" y="156"/>
                  </a:cubicBezTo>
                  <a:cubicBezTo>
                    <a:pt x="206" y="157"/>
                    <a:pt x="206" y="157"/>
                    <a:pt x="206" y="157"/>
                  </a:cubicBezTo>
                  <a:cubicBezTo>
                    <a:pt x="207" y="157"/>
                    <a:pt x="208" y="157"/>
                    <a:pt x="209" y="157"/>
                  </a:cubicBezTo>
                  <a:cubicBezTo>
                    <a:pt x="244" y="159"/>
                    <a:pt x="244" y="159"/>
                    <a:pt x="244" y="159"/>
                  </a:cubicBezTo>
                  <a:cubicBezTo>
                    <a:pt x="244" y="159"/>
                    <a:pt x="244" y="159"/>
                    <a:pt x="245" y="159"/>
                  </a:cubicBezTo>
                  <a:cubicBezTo>
                    <a:pt x="245" y="159"/>
                    <a:pt x="246" y="159"/>
                    <a:pt x="247" y="159"/>
                  </a:cubicBezTo>
                  <a:cubicBezTo>
                    <a:pt x="254" y="137"/>
                    <a:pt x="260" y="114"/>
                    <a:pt x="266" y="91"/>
                  </a:cubicBezTo>
                  <a:cubicBezTo>
                    <a:pt x="234" y="81"/>
                    <a:pt x="234" y="53"/>
                    <a:pt x="234" y="53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29" y="2"/>
                    <a:pt x="227" y="2"/>
                    <a:pt x="226" y="1"/>
                  </a:cubicBezTo>
                  <a:cubicBezTo>
                    <a:pt x="224" y="1"/>
                    <a:pt x="222" y="0"/>
                    <a:pt x="220" y="0"/>
                  </a:cubicBezTo>
                </a:path>
              </a:pathLst>
            </a:custGeom>
            <a:solidFill>
              <a:srgbClr val="1B1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0" name="Freeform 79">
              <a:extLst>
                <a:ext uri="{FF2B5EF4-FFF2-40B4-BE49-F238E27FC236}">
                  <a16:creationId xmlns:a16="http://schemas.microsoft.com/office/drawing/2014/main" id="{5D0836E4-11EC-4A45-A440-8920D85C25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768" y="2193480"/>
              <a:ext cx="142812" cy="257982"/>
            </a:xfrm>
            <a:custGeom>
              <a:avLst/>
              <a:gdLst>
                <a:gd name="T0" fmla="*/ 50 w 50"/>
                <a:gd name="T1" fmla="*/ 0 h 90"/>
                <a:gd name="T2" fmla="*/ 37 w 50"/>
                <a:gd name="T3" fmla="*/ 2 h 90"/>
                <a:gd name="T4" fmla="*/ 37 w 50"/>
                <a:gd name="T5" fmla="*/ 4 h 90"/>
                <a:gd name="T6" fmla="*/ 33 w 50"/>
                <a:gd name="T7" fmla="*/ 8 h 90"/>
                <a:gd name="T8" fmla="*/ 30 w 50"/>
                <a:gd name="T9" fmla="*/ 4 h 90"/>
                <a:gd name="T10" fmla="*/ 30 w 50"/>
                <a:gd name="T11" fmla="*/ 3 h 90"/>
                <a:gd name="T12" fmla="*/ 23 w 50"/>
                <a:gd name="T13" fmla="*/ 3 h 90"/>
                <a:gd name="T14" fmla="*/ 0 w 50"/>
                <a:gd name="T15" fmla="*/ 1 h 90"/>
                <a:gd name="T16" fmla="*/ 4 w 50"/>
                <a:gd name="T17" fmla="*/ 52 h 90"/>
                <a:gd name="T18" fmla="*/ 36 w 50"/>
                <a:gd name="T19" fmla="*/ 90 h 90"/>
                <a:gd name="T20" fmla="*/ 40 w 50"/>
                <a:gd name="T21" fmla="*/ 72 h 90"/>
                <a:gd name="T22" fmla="*/ 17 w 50"/>
                <a:gd name="T23" fmla="*/ 45 h 90"/>
                <a:gd name="T24" fmla="*/ 14 w 50"/>
                <a:gd name="T25" fmla="*/ 31 h 90"/>
                <a:gd name="T26" fmla="*/ 14 w 50"/>
                <a:gd name="T27" fmla="*/ 22 h 90"/>
                <a:gd name="T28" fmla="*/ 14 w 50"/>
                <a:gd name="T29" fmla="*/ 22 h 90"/>
                <a:gd name="T30" fmla="*/ 14 w 50"/>
                <a:gd name="T31" fmla="*/ 22 h 90"/>
                <a:gd name="T32" fmla="*/ 47 w 50"/>
                <a:gd name="T33" fmla="*/ 31 h 90"/>
                <a:gd name="T34" fmla="*/ 50 w 50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90">
                  <a:moveTo>
                    <a:pt x="50" y="0"/>
                  </a:moveTo>
                  <a:cubicBezTo>
                    <a:pt x="45" y="1"/>
                    <a:pt x="41" y="2"/>
                    <a:pt x="37" y="2"/>
                  </a:cubicBezTo>
                  <a:cubicBezTo>
                    <a:pt x="37" y="3"/>
                    <a:pt x="37" y="3"/>
                    <a:pt x="37" y="4"/>
                  </a:cubicBezTo>
                  <a:cubicBezTo>
                    <a:pt x="37" y="6"/>
                    <a:pt x="35" y="8"/>
                    <a:pt x="33" y="8"/>
                  </a:cubicBezTo>
                  <a:cubicBezTo>
                    <a:pt x="31" y="8"/>
                    <a:pt x="30" y="6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28" y="3"/>
                    <a:pt x="25" y="3"/>
                    <a:pt x="23" y="3"/>
                  </a:cubicBezTo>
                  <a:cubicBezTo>
                    <a:pt x="15" y="3"/>
                    <a:pt x="7" y="3"/>
                    <a:pt x="0" y="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80"/>
                    <a:pt x="36" y="90"/>
                  </a:cubicBezTo>
                  <a:cubicBezTo>
                    <a:pt x="37" y="84"/>
                    <a:pt x="38" y="78"/>
                    <a:pt x="40" y="72"/>
                  </a:cubicBezTo>
                  <a:cubicBezTo>
                    <a:pt x="28" y="67"/>
                    <a:pt x="21" y="56"/>
                    <a:pt x="17" y="45"/>
                  </a:cubicBezTo>
                  <a:cubicBezTo>
                    <a:pt x="15" y="40"/>
                    <a:pt x="14" y="35"/>
                    <a:pt x="14" y="31"/>
                  </a:cubicBezTo>
                  <a:cubicBezTo>
                    <a:pt x="14" y="28"/>
                    <a:pt x="14" y="25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29" y="25"/>
                    <a:pt x="47" y="31"/>
                  </a:cubicBezTo>
                  <a:cubicBezTo>
                    <a:pt x="48" y="20"/>
                    <a:pt x="49" y="10"/>
                    <a:pt x="50" y="0"/>
                  </a:cubicBezTo>
                </a:path>
              </a:pathLst>
            </a:custGeom>
            <a:solidFill>
              <a:srgbClr val="DDA1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1" name="Freeform 80">
              <a:extLst>
                <a:ext uri="{FF2B5EF4-FFF2-40B4-BE49-F238E27FC236}">
                  <a16:creationId xmlns:a16="http://schemas.microsoft.com/office/drawing/2014/main" id="{17EDE4E5-2B8C-45B2-9FFB-1C61C6856E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8763" y="2199622"/>
              <a:ext cx="19964" cy="16892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1 h 6"/>
                <a:gd name="T4" fmla="*/ 0 w 7"/>
                <a:gd name="T5" fmla="*/ 2 h 6"/>
                <a:gd name="T6" fmla="*/ 3 w 7"/>
                <a:gd name="T7" fmla="*/ 6 h 6"/>
                <a:gd name="T8" fmla="*/ 7 w 7"/>
                <a:gd name="T9" fmla="*/ 2 h 6"/>
                <a:gd name="T10" fmla="*/ 7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" y="6"/>
                    <a:pt x="7" y="4"/>
                    <a:pt x="7" y="2"/>
                  </a:cubicBezTo>
                  <a:cubicBezTo>
                    <a:pt x="7" y="1"/>
                    <a:pt x="7" y="1"/>
                    <a:pt x="7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2" name="Freeform 81">
              <a:extLst>
                <a:ext uri="{FF2B5EF4-FFF2-40B4-BE49-F238E27FC236}">
                  <a16:creationId xmlns:a16="http://schemas.microsoft.com/office/drawing/2014/main" id="{989CC52D-9D08-41ED-BF0E-45E0E4164D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22694" y="2256440"/>
              <a:ext cx="95207" cy="132061"/>
            </a:xfrm>
            <a:custGeom>
              <a:avLst/>
              <a:gdLst>
                <a:gd name="T0" fmla="*/ 0 w 33"/>
                <a:gd name="T1" fmla="*/ 9 h 46"/>
                <a:gd name="T2" fmla="*/ 3 w 33"/>
                <a:gd name="T3" fmla="*/ 23 h 46"/>
                <a:gd name="T4" fmla="*/ 0 w 33"/>
                <a:gd name="T5" fmla="*/ 9 h 46"/>
                <a:gd name="T6" fmla="*/ 0 w 33"/>
                <a:gd name="T7" fmla="*/ 0 h 46"/>
                <a:gd name="T8" fmla="*/ 0 w 33"/>
                <a:gd name="T9" fmla="*/ 0 h 46"/>
                <a:gd name="T10" fmla="*/ 0 w 33"/>
                <a:gd name="T11" fmla="*/ 0 h 46"/>
                <a:gd name="T12" fmla="*/ 0 w 33"/>
                <a:gd name="T13" fmla="*/ 0 h 46"/>
                <a:gd name="T14" fmla="*/ 0 w 33"/>
                <a:gd name="T15" fmla="*/ 0 h 46"/>
                <a:gd name="T16" fmla="*/ 4 w 33"/>
                <a:gd name="T17" fmla="*/ 1 h 46"/>
                <a:gd name="T18" fmla="*/ 1 w 33"/>
                <a:gd name="T19" fmla="*/ 3 h 46"/>
                <a:gd name="T20" fmla="*/ 27 w 33"/>
                <a:gd name="T21" fmla="*/ 46 h 46"/>
                <a:gd name="T22" fmla="*/ 31 w 33"/>
                <a:gd name="T23" fmla="*/ 19 h 46"/>
                <a:gd name="T24" fmla="*/ 33 w 33"/>
                <a:gd name="T25" fmla="*/ 11 h 46"/>
                <a:gd name="T26" fmla="*/ 0 w 33"/>
                <a:gd name="T2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0" y="9"/>
                  </a:moveTo>
                  <a:cubicBezTo>
                    <a:pt x="0" y="13"/>
                    <a:pt x="1" y="18"/>
                    <a:pt x="3" y="23"/>
                  </a:cubicBezTo>
                  <a:cubicBezTo>
                    <a:pt x="1" y="18"/>
                    <a:pt x="0" y="14"/>
                    <a:pt x="0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2"/>
                    <a:pt x="4" y="36"/>
                    <a:pt x="27" y="46"/>
                  </a:cubicBezTo>
                  <a:cubicBezTo>
                    <a:pt x="28" y="37"/>
                    <a:pt x="30" y="28"/>
                    <a:pt x="31" y="19"/>
                  </a:cubicBezTo>
                  <a:cubicBezTo>
                    <a:pt x="32" y="16"/>
                    <a:pt x="32" y="14"/>
                    <a:pt x="33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3" name="Freeform 82">
              <a:extLst>
                <a:ext uri="{FF2B5EF4-FFF2-40B4-BE49-F238E27FC236}">
                  <a16:creationId xmlns:a16="http://schemas.microsoft.com/office/drawing/2014/main" id="{34D7BA0A-1CF7-4844-B4EF-546DFF6AE1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95207" cy="32248"/>
            </a:xfrm>
            <a:custGeom>
              <a:avLst/>
              <a:gdLst>
                <a:gd name="T0" fmla="*/ 0 w 33"/>
                <a:gd name="T1" fmla="*/ 0 h 11"/>
                <a:gd name="T2" fmla="*/ 0 w 33"/>
                <a:gd name="T3" fmla="*/ 0 h 11"/>
                <a:gd name="T4" fmla="*/ 33 w 33"/>
                <a:gd name="T5" fmla="*/ 11 h 11"/>
                <a:gd name="T6" fmla="*/ 33 w 33"/>
                <a:gd name="T7" fmla="*/ 9 h 11"/>
                <a:gd name="T8" fmla="*/ 0 w 3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0"/>
                    <a:pt x="33" y="9"/>
                    <a:pt x="33" y="9"/>
                  </a:cubicBezTo>
                  <a:cubicBezTo>
                    <a:pt x="15" y="3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4" name="Freeform 83">
              <a:extLst>
                <a:ext uri="{FF2B5EF4-FFF2-40B4-BE49-F238E27FC236}">
                  <a16:creationId xmlns:a16="http://schemas.microsoft.com/office/drawing/2014/main" id="{9FCD328A-B5FA-4427-A357-BB1B36861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78317" cy="144347"/>
            </a:xfrm>
            <a:custGeom>
              <a:avLst/>
              <a:gdLst>
                <a:gd name="T0" fmla="*/ 0 w 27"/>
                <a:gd name="T1" fmla="*/ 0 h 50"/>
                <a:gd name="T2" fmla="*/ 0 w 27"/>
                <a:gd name="T3" fmla="*/ 0 h 50"/>
                <a:gd name="T4" fmla="*/ 0 w 27"/>
                <a:gd name="T5" fmla="*/ 9 h 50"/>
                <a:gd name="T6" fmla="*/ 3 w 27"/>
                <a:gd name="T7" fmla="*/ 23 h 50"/>
                <a:gd name="T8" fmla="*/ 26 w 27"/>
                <a:gd name="T9" fmla="*/ 50 h 50"/>
                <a:gd name="T10" fmla="*/ 27 w 27"/>
                <a:gd name="T11" fmla="*/ 46 h 50"/>
                <a:gd name="T12" fmla="*/ 1 w 27"/>
                <a:gd name="T13" fmla="*/ 3 h 50"/>
                <a:gd name="T14" fmla="*/ 0 w 27"/>
                <a:gd name="T15" fmla="*/ 3 h 50"/>
                <a:gd name="T16" fmla="*/ 0 w 27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14"/>
                    <a:pt x="1" y="18"/>
                    <a:pt x="3" y="23"/>
                  </a:cubicBezTo>
                  <a:cubicBezTo>
                    <a:pt x="7" y="34"/>
                    <a:pt x="14" y="45"/>
                    <a:pt x="26" y="50"/>
                  </a:cubicBezTo>
                  <a:cubicBezTo>
                    <a:pt x="26" y="49"/>
                    <a:pt x="26" y="47"/>
                    <a:pt x="27" y="46"/>
                  </a:cubicBezTo>
                  <a:cubicBezTo>
                    <a:pt x="4" y="36"/>
                    <a:pt x="1" y="12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5" name="Freeform 84">
              <a:extLst>
                <a:ext uri="{FF2B5EF4-FFF2-40B4-BE49-F238E27FC236}">
                  <a16:creationId xmlns:a16="http://schemas.microsoft.com/office/drawing/2014/main" id="{B88A9B74-40DF-48A6-B727-08B5C81A4F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10749" cy="9214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6" name="Freeform 85">
              <a:extLst>
                <a:ext uri="{FF2B5EF4-FFF2-40B4-BE49-F238E27FC236}">
                  <a16:creationId xmlns:a16="http://schemas.microsoft.com/office/drawing/2014/main" id="{0C65BD4E-EA75-41C5-BF46-00200B690D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694" y="2256440"/>
              <a:ext cx="10749" cy="9214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7" name="Freeform 86">
              <a:extLst>
                <a:ext uri="{FF2B5EF4-FFF2-40B4-BE49-F238E27FC236}">
                  <a16:creationId xmlns:a16="http://schemas.microsoft.com/office/drawing/2014/main" id="{B7F44F98-9561-4822-BDD6-1C6FB13D3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3666" y="2641877"/>
              <a:ext cx="118242" cy="122848"/>
            </a:xfrm>
            <a:custGeom>
              <a:avLst/>
              <a:gdLst>
                <a:gd name="T0" fmla="*/ 0 w 41"/>
                <a:gd name="T1" fmla="*/ 0 h 43"/>
                <a:gd name="T2" fmla="*/ 29 w 41"/>
                <a:gd name="T3" fmla="*/ 43 h 43"/>
                <a:gd name="T4" fmla="*/ 41 w 41"/>
                <a:gd name="T5" fmla="*/ 2 h 43"/>
                <a:gd name="T6" fmla="*/ 39 w 41"/>
                <a:gd name="T7" fmla="*/ 2 h 43"/>
                <a:gd name="T8" fmla="*/ 38 w 41"/>
                <a:gd name="T9" fmla="*/ 2 h 43"/>
                <a:gd name="T10" fmla="*/ 3 w 41"/>
                <a:gd name="T11" fmla="*/ 0 h 43"/>
                <a:gd name="T12" fmla="*/ 3 w 41"/>
                <a:gd name="T13" fmla="*/ 0 h 43"/>
                <a:gd name="T14" fmla="*/ 3 w 41"/>
                <a:gd name="T15" fmla="*/ 0 h 43"/>
                <a:gd name="T16" fmla="*/ 0 w 41"/>
                <a:gd name="T1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0"/>
                  </a:moveTo>
                  <a:cubicBezTo>
                    <a:pt x="0" y="0"/>
                    <a:pt x="7" y="27"/>
                    <a:pt x="29" y="43"/>
                  </a:cubicBezTo>
                  <a:cubicBezTo>
                    <a:pt x="33" y="29"/>
                    <a:pt x="37" y="16"/>
                    <a:pt x="41" y="2"/>
                  </a:cubicBezTo>
                  <a:cubicBezTo>
                    <a:pt x="40" y="2"/>
                    <a:pt x="39" y="2"/>
                    <a:pt x="39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90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8" name="Freeform 87">
              <a:extLst>
                <a:ext uri="{FF2B5EF4-FFF2-40B4-BE49-F238E27FC236}">
                  <a16:creationId xmlns:a16="http://schemas.microsoft.com/office/drawing/2014/main" id="{669AB214-7D1E-4FC8-B8F7-FB5CC05C9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04452" y="2107487"/>
              <a:ext cx="221127" cy="118242"/>
            </a:xfrm>
            <a:custGeom>
              <a:avLst/>
              <a:gdLst>
                <a:gd name="T0" fmla="*/ 76 w 77"/>
                <a:gd name="T1" fmla="*/ 0 h 41"/>
                <a:gd name="T2" fmla="*/ 26 w 77"/>
                <a:gd name="T3" fmla="*/ 0 h 41"/>
                <a:gd name="T4" fmla="*/ 26 w 77"/>
                <a:gd name="T5" fmla="*/ 0 h 41"/>
                <a:gd name="T6" fmla="*/ 0 w 77"/>
                <a:gd name="T7" fmla="*/ 36 h 41"/>
                <a:gd name="T8" fmla="*/ 0 w 77"/>
                <a:gd name="T9" fmla="*/ 41 h 41"/>
                <a:gd name="T10" fmla="*/ 0 w 77"/>
                <a:gd name="T11" fmla="*/ 41 h 41"/>
                <a:gd name="T12" fmla="*/ 0 w 77"/>
                <a:gd name="T13" fmla="*/ 41 h 41"/>
                <a:gd name="T14" fmla="*/ 5 w 77"/>
                <a:gd name="T15" fmla="*/ 34 h 41"/>
                <a:gd name="T16" fmla="*/ 17 w 77"/>
                <a:gd name="T17" fmla="*/ 29 h 41"/>
                <a:gd name="T18" fmla="*/ 23 w 77"/>
                <a:gd name="T19" fmla="*/ 30 h 41"/>
                <a:gd name="T20" fmla="*/ 27 w 77"/>
                <a:gd name="T21" fmla="*/ 31 h 41"/>
                <a:gd name="T22" fmla="*/ 50 w 77"/>
                <a:gd name="T23" fmla="*/ 33 h 41"/>
                <a:gd name="T24" fmla="*/ 57 w 77"/>
                <a:gd name="T25" fmla="*/ 33 h 41"/>
                <a:gd name="T26" fmla="*/ 64 w 77"/>
                <a:gd name="T27" fmla="*/ 32 h 41"/>
                <a:gd name="T28" fmla="*/ 77 w 77"/>
                <a:gd name="T29" fmla="*/ 30 h 41"/>
                <a:gd name="T30" fmla="*/ 76 w 77"/>
                <a:gd name="T3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41">
                  <a:moveTo>
                    <a:pt x="7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9" y="2"/>
                    <a:pt x="0" y="19"/>
                    <a:pt x="0" y="36"/>
                  </a:cubicBezTo>
                  <a:cubicBezTo>
                    <a:pt x="0" y="37"/>
                    <a:pt x="0" y="39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1" y="37"/>
                    <a:pt x="5" y="34"/>
                  </a:cubicBezTo>
                  <a:cubicBezTo>
                    <a:pt x="7" y="32"/>
                    <a:pt x="11" y="29"/>
                    <a:pt x="17" y="29"/>
                  </a:cubicBezTo>
                  <a:cubicBezTo>
                    <a:pt x="19" y="29"/>
                    <a:pt x="21" y="30"/>
                    <a:pt x="23" y="30"/>
                  </a:cubicBezTo>
                  <a:cubicBezTo>
                    <a:pt x="24" y="31"/>
                    <a:pt x="26" y="31"/>
                    <a:pt x="27" y="31"/>
                  </a:cubicBezTo>
                  <a:cubicBezTo>
                    <a:pt x="34" y="33"/>
                    <a:pt x="42" y="33"/>
                    <a:pt x="50" y="33"/>
                  </a:cubicBezTo>
                  <a:cubicBezTo>
                    <a:pt x="52" y="33"/>
                    <a:pt x="55" y="33"/>
                    <a:pt x="57" y="33"/>
                  </a:cubicBezTo>
                  <a:cubicBezTo>
                    <a:pt x="59" y="33"/>
                    <a:pt x="62" y="33"/>
                    <a:pt x="64" y="32"/>
                  </a:cubicBezTo>
                  <a:cubicBezTo>
                    <a:pt x="68" y="32"/>
                    <a:pt x="72" y="31"/>
                    <a:pt x="77" y="30"/>
                  </a:cubicBezTo>
                  <a:cubicBezTo>
                    <a:pt x="77" y="20"/>
                    <a:pt x="77" y="10"/>
                    <a:pt x="76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89" name="Freeform 88">
              <a:extLst>
                <a:ext uri="{FF2B5EF4-FFF2-40B4-BE49-F238E27FC236}">
                  <a16:creationId xmlns:a16="http://schemas.microsoft.com/office/drawing/2014/main" id="{2C124A30-0C07-4BF1-A4D0-6FFFE0A98E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5276" y="2638805"/>
              <a:ext cx="121313" cy="168917"/>
            </a:xfrm>
            <a:custGeom>
              <a:avLst/>
              <a:gdLst>
                <a:gd name="T0" fmla="*/ 0 w 42"/>
                <a:gd name="T1" fmla="*/ 0 h 59"/>
                <a:gd name="T2" fmla="*/ 0 w 42"/>
                <a:gd name="T3" fmla="*/ 1 h 59"/>
                <a:gd name="T4" fmla="*/ 39 w 42"/>
                <a:gd name="T5" fmla="*/ 59 h 59"/>
                <a:gd name="T6" fmla="*/ 42 w 42"/>
                <a:gd name="T7" fmla="*/ 44 h 59"/>
                <a:gd name="T8" fmla="*/ 13 w 42"/>
                <a:gd name="T9" fmla="*/ 1 h 59"/>
                <a:gd name="T10" fmla="*/ 13 w 42"/>
                <a:gd name="T11" fmla="*/ 1 h 59"/>
                <a:gd name="T12" fmla="*/ 16 w 42"/>
                <a:gd name="T13" fmla="*/ 1 h 59"/>
                <a:gd name="T14" fmla="*/ 16 w 42"/>
                <a:gd name="T15" fmla="*/ 1 h 59"/>
                <a:gd name="T16" fmla="*/ 13 w 42"/>
                <a:gd name="T17" fmla="*/ 1 h 59"/>
                <a:gd name="T18" fmla="*/ 0 w 42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8"/>
                    <a:pt x="12" y="44"/>
                    <a:pt x="39" y="59"/>
                  </a:cubicBezTo>
                  <a:cubicBezTo>
                    <a:pt x="40" y="54"/>
                    <a:pt x="41" y="49"/>
                    <a:pt x="42" y="44"/>
                  </a:cubicBezTo>
                  <a:cubicBezTo>
                    <a:pt x="20" y="28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0" name="Freeform 89">
              <a:extLst>
                <a:ext uri="{FF2B5EF4-FFF2-40B4-BE49-F238E27FC236}">
                  <a16:creationId xmlns:a16="http://schemas.microsoft.com/office/drawing/2014/main" id="{E5D47132-6F2B-4204-AB9C-C6A12EB2C5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50520" y="1894037"/>
              <a:ext cx="173524" cy="213450"/>
            </a:xfrm>
            <a:custGeom>
              <a:avLst/>
              <a:gdLst>
                <a:gd name="T0" fmla="*/ 47 w 60"/>
                <a:gd name="T1" fmla="*/ 4 h 74"/>
                <a:gd name="T2" fmla="*/ 1 w 60"/>
                <a:gd name="T3" fmla="*/ 11 h 74"/>
                <a:gd name="T4" fmla="*/ 1 w 60"/>
                <a:gd name="T5" fmla="*/ 11 h 74"/>
                <a:gd name="T6" fmla="*/ 1 w 60"/>
                <a:gd name="T7" fmla="*/ 11 h 74"/>
                <a:gd name="T8" fmla="*/ 10 w 60"/>
                <a:gd name="T9" fmla="*/ 74 h 74"/>
                <a:gd name="T10" fmla="*/ 10 w 60"/>
                <a:gd name="T11" fmla="*/ 74 h 74"/>
                <a:gd name="T12" fmla="*/ 60 w 60"/>
                <a:gd name="T13" fmla="*/ 74 h 74"/>
                <a:gd name="T14" fmla="*/ 47 w 60"/>
                <a:gd name="T15" fmla="*/ 4 h 74"/>
                <a:gd name="T16" fmla="*/ 13 w 60"/>
                <a:gd name="T17" fmla="*/ 0 h 74"/>
                <a:gd name="T18" fmla="*/ 0 w 60"/>
                <a:gd name="T19" fmla="*/ 1 h 74"/>
                <a:gd name="T20" fmla="*/ 0 w 60"/>
                <a:gd name="T21" fmla="*/ 2 h 74"/>
                <a:gd name="T22" fmla="*/ 0 w 60"/>
                <a:gd name="T23" fmla="*/ 2 h 74"/>
                <a:gd name="T24" fmla="*/ 13 w 60"/>
                <a:gd name="T2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47" y="4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50"/>
                    <a:pt x="54" y="27"/>
                    <a:pt x="47" y="4"/>
                  </a:cubicBezTo>
                  <a:moveTo>
                    <a:pt x="1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1" name="Freeform 90">
              <a:extLst>
                <a:ext uri="{FF2B5EF4-FFF2-40B4-BE49-F238E27FC236}">
                  <a16:creationId xmlns:a16="http://schemas.microsoft.com/office/drawing/2014/main" id="{3874A5A6-4186-44F7-9DC3-88CEB2F2E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37257" y="1883289"/>
              <a:ext cx="448396" cy="85994"/>
            </a:xfrm>
            <a:custGeom>
              <a:avLst/>
              <a:gdLst>
                <a:gd name="T0" fmla="*/ 153 w 156"/>
                <a:gd name="T1" fmla="*/ 0 h 30"/>
                <a:gd name="T2" fmla="*/ 122 w 156"/>
                <a:gd name="T3" fmla="*/ 4 h 30"/>
                <a:gd name="T4" fmla="*/ 109 w 156"/>
                <a:gd name="T5" fmla="*/ 6 h 30"/>
                <a:gd name="T6" fmla="*/ 0 w 156"/>
                <a:gd name="T7" fmla="*/ 22 h 30"/>
                <a:gd name="T8" fmla="*/ 0 w 156"/>
                <a:gd name="T9" fmla="*/ 30 h 30"/>
                <a:gd name="T10" fmla="*/ 110 w 156"/>
                <a:gd name="T11" fmla="*/ 15 h 30"/>
                <a:gd name="T12" fmla="*/ 156 w 156"/>
                <a:gd name="T13" fmla="*/ 8 h 30"/>
                <a:gd name="T14" fmla="*/ 153 w 156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30">
                  <a:moveTo>
                    <a:pt x="15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5" y="5"/>
                    <a:pt x="154" y="2"/>
                    <a:pt x="15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2" name="Freeform 91">
              <a:extLst>
                <a:ext uri="{FF2B5EF4-FFF2-40B4-BE49-F238E27FC236}">
                  <a16:creationId xmlns:a16="http://schemas.microsoft.com/office/drawing/2014/main" id="{55460E35-124B-49FC-B0C5-077E10ADD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45121" y="58405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261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3" name="Freeform 92">
              <a:extLst>
                <a:ext uri="{FF2B5EF4-FFF2-40B4-BE49-F238E27FC236}">
                  <a16:creationId xmlns:a16="http://schemas.microsoft.com/office/drawing/2014/main" id="{84FDA3F8-B65E-42E1-8672-8120DB8F36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45121" y="58405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DD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4" name="Freeform 93">
              <a:extLst>
                <a:ext uri="{FF2B5EF4-FFF2-40B4-BE49-F238E27FC236}">
                  <a16:creationId xmlns:a16="http://schemas.microsoft.com/office/drawing/2014/main" id="{4AAB3F02-C77D-4D75-B562-101754666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973" y="1738942"/>
              <a:ext cx="370081" cy="164310"/>
            </a:xfrm>
            <a:custGeom>
              <a:avLst/>
              <a:gdLst>
                <a:gd name="T0" fmla="*/ 129 w 129"/>
                <a:gd name="T1" fmla="*/ 57 h 57"/>
                <a:gd name="T2" fmla="*/ 65 w 129"/>
                <a:gd name="T3" fmla="*/ 0 h 57"/>
                <a:gd name="T4" fmla="*/ 0 w 129"/>
                <a:gd name="T5" fmla="*/ 57 h 57"/>
                <a:gd name="T6" fmla="*/ 129 w 129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9" h="57">
                  <a:moveTo>
                    <a:pt x="129" y="57"/>
                  </a:moveTo>
                  <a:cubicBezTo>
                    <a:pt x="126" y="25"/>
                    <a:pt x="98" y="0"/>
                    <a:pt x="65" y="0"/>
                  </a:cubicBezTo>
                  <a:cubicBezTo>
                    <a:pt x="31" y="0"/>
                    <a:pt x="4" y="25"/>
                    <a:pt x="0" y="57"/>
                  </a:cubicBezTo>
                  <a:lnTo>
                    <a:pt x="12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5" name="Freeform 94">
              <a:extLst>
                <a:ext uri="{FF2B5EF4-FFF2-40B4-BE49-F238E27FC236}">
                  <a16:creationId xmlns:a16="http://schemas.microsoft.com/office/drawing/2014/main" id="{202511E1-50AE-4950-A6A4-4F41BB0FBF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1933" y="1694409"/>
              <a:ext cx="695629" cy="208842"/>
            </a:xfrm>
            <a:custGeom>
              <a:avLst/>
              <a:gdLst>
                <a:gd name="T0" fmla="*/ 242 w 242"/>
                <a:gd name="T1" fmla="*/ 73 h 73"/>
                <a:gd name="T2" fmla="*/ 121 w 242"/>
                <a:gd name="T3" fmla="*/ 0 h 73"/>
                <a:gd name="T4" fmla="*/ 0 w 242"/>
                <a:gd name="T5" fmla="*/ 73 h 73"/>
                <a:gd name="T6" fmla="*/ 242 w 242"/>
                <a:gd name="T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2" h="73">
                  <a:moveTo>
                    <a:pt x="242" y="73"/>
                  </a:moveTo>
                  <a:cubicBezTo>
                    <a:pt x="219" y="29"/>
                    <a:pt x="174" y="0"/>
                    <a:pt x="121" y="0"/>
                  </a:cubicBezTo>
                  <a:cubicBezTo>
                    <a:pt x="68" y="0"/>
                    <a:pt x="23" y="29"/>
                    <a:pt x="0" y="73"/>
                  </a:cubicBezTo>
                  <a:lnTo>
                    <a:pt x="242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6" name="Freeform 95">
              <a:extLst>
                <a:ext uri="{FF2B5EF4-FFF2-40B4-BE49-F238E27FC236}">
                  <a16:creationId xmlns:a16="http://schemas.microsoft.com/office/drawing/2014/main" id="{973DC24E-11EF-4E39-9F40-54F1EE43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348" y="1828006"/>
              <a:ext cx="391579" cy="75245"/>
            </a:xfrm>
            <a:custGeom>
              <a:avLst/>
              <a:gdLst>
                <a:gd name="T0" fmla="*/ 136 w 136"/>
                <a:gd name="T1" fmla="*/ 26 h 26"/>
                <a:gd name="T2" fmla="*/ 68 w 136"/>
                <a:gd name="T3" fmla="*/ 0 h 26"/>
                <a:gd name="T4" fmla="*/ 0 w 136"/>
                <a:gd name="T5" fmla="*/ 26 h 26"/>
                <a:gd name="T6" fmla="*/ 136 w 13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26">
                  <a:moveTo>
                    <a:pt x="136" y="26"/>
                  </a:moveTo>
                  <a:cubicBezTo>
                    <a:pt x="118" y="10"/>
                    <a:pt x="94" y="0"/>
                    <a:pt x="68" y="0"/>
                  </a:cubicBezTo>
                  <a:cubicBezTo>
                    <a:pt x="41" y="0"/>
                    <a:pt x="18" y="10"/>
                    <a:pt x="0" y="26"/>
                  </a:cubicBezTo>
                  <a:lnTo>
                    <a:pt x="136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7" name="Freeform 96">
              <a:extLst>
                <a:ext uri="{FF2B5EF4-FFF2-40B4-BE49-F238E27FC236}">
                  <a16:creationId xmlns:a16="http://schemas.microsoft.com/office/drawing/2014/main" id="{8867EB7D-38EA-4E5B-95A2-751A92E53A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9809" y="5246260"/>
              <a:ext cx="171987" cy="376223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8" name="Freeform 97">
              <a:extLst>
                <a:ext uri="{FF2B5EF4-FFF2-40B4-BE49-F238E27FC236}">
                  <a16:creationId xmlns:a16="http://schemas.microsoft.com/office/drawing/2014/main" id="{8B39045D-22D9-4FD0-9760-B6CA728090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9809" y="5246260"/>
              <a:ext cx="171987" cy="376223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99" name="Freeform 98">
              <a:extLst>
                <a:ext uri="{FF2B5EF4-FFF2-40B4-BE49-F238E27FC236}">
                  <a16:creationId xmlns:a16="http://schemas.microsoft.com/office/drawing/2014/main" id="{C11A468D-0E20-4447-B58B-89CED5E67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3264" y="5321503"/>
              <a:ext cx="155097" cy="291765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0" name="Freeform 99">
              <a:extLst>
                <a:ext uri="{FF2B5EF4-FFF2-40B4-BE49-F238E27FC236}">
                  <a16:creationId xmlns:a16="http://schemas.microsoft.com/office/drawing/2014/main" id="{341B3CC4-74E5-4873-9446-26AC38A4E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3264" y="5321503"/>
              <a:ext cx="155097" cy="291765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1" name="Freeform 100">
              <a:extLst>
                <a:ext uri="{FF2B5EF4-FFF2-40B4-BE49-F238E27FC236}">
                  <a16:creationId xmlns:a16="http://schemas.microsoft.com/office/drawing/2014/main" id="{DD65D029-724B-4F2B-B6BA-FBBE479742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3264" y="5593306"/>
              <a:ext cx="348583" cy="135133"/>
            </a:xfrm>
            <a:custGeom>
              <a:avLst/>
              <a:gdLst>
                <a:gd name="T0" fmla="*/ 0 w 121"/>
                <a:gd name="T1" fmla="*/ 7 h 47"/>
                <a:gd name="T2" fmla="*/ 42 w 121"/>
                <a:gd name="T3" fmla="*/ 0 h 47"/>
                <a:gd name="T4" fmla="*/ 121 w 121"/>
                <a:gd name="T5" fmla="*/ 47 h 47"/>
                <a:gd name="T6" fmla="*/ 0 w 121"/>
                <a:gd name="T7" fmla="*/ 37 h 47"/>
                <a:gd name="T8" fmla="*/ 0 w 121"/>
                <a:gd name="T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47">
                  <a:moveTo>
                    <a:pt x="0" y="7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102" y="9"/>
                    <a:pt x="121" y="47"/>
                  </a:cubicBezTo>
                  <a:cubicBezTo>
                    <a:pt x="0" y="37"/>
                    <a:pt x="0" y="37"/>
                    <a:pt x="0" y="3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2" name="Freeform 101">
              <a:extLst>
                <a:ext uri="{FF2B5EF4-FFF2-40B4-BE49-F238E27FC236}">
                  <a16:creationId xmlns:a16="http://schemas.microsoft.com/office/drawing/2014/main" id="{10E52F80-85EE-4655-887D-B579C6A8D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7525" y="5619411"/>
              <a:ext cx="368545" cy="121313"/>
            </a:xfrm>
            <a:custGeom>
              <a:avLst/>
              <a:gdLst>
                <a:gd name="T0" fmla="*/ 45 w 128"/>
                <a:gd name="T1" fmla="*/ 1 h 42"/>
                <a:gd name="T2" fmla="*/ 128 w 128"/>
                <a:gd name="T3" fmla="*/ 42 h 42"/>
                <a:gd name="T4" fmla="*/ 0 w 128"/>
                <a:gd name="T5" fmla="*/ 31 h 42"/>
                <a:gd name="T6" fmla="*/ 4 w 128"/>
                <a:gd name="T7" fmla="*/ 1 h 42"/>
                <a:gd name="T8" fmla="*/ 42 w 12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42">
                  <a:moveTo>
                    <a:pt x="45" y="1"/>
                  </a:moveTo>
                  <a:cubicBezTo>
                    <a:pt x="45" y="1"/>
                    <a:pt x="102" y="2"/>
                    <a:pt x="128" y="4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3" name="Freeform 102">
              <a:extLst>
                <a:ext uri="{FF2B5EF4-FFF2-40B4-BE49-F238E27FC236}">
                  <a16:creationId xmlns:a16="http://schemas.microsoft.com/office/drawing/2014/main" id="{F644341A-A023-42B5-98DA-2AD3D05199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3264" y="5699263"/>
              <a:ext cx="348583" cy="49139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  <a:gd name="T10" fmla="*/ 0 w 227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4" name="Freeform 103">
              <a:extLst>
                <a:ext uri="{FF2B5EF4-FFF2-40B4-BE49-F238E27FC236}">
                  <a16:creationId xmlns:a16="http://schemas.microsoft.com/office/drawing/2014/main" id="{2A141B23-407B-463E-B478-1935FABF7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3264" y="5699263"/>
              <a:ext cx="348583" cy="49139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5" name="Freeform 104">
              <a:extLst>
                <a:ext uri="{FF2B5EF4-FFF2-40B4-BE49-F238E27FC236}">
                  <a16:creationId xmlns:a16="http://schemas.microsoft.com/office/drawing/2014/main" id="{3AA6A374-749C-4991-9315-36E1150F16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846" y="5708476"/>
              <a:ext cx="376223" cy="69102"/>
            </a:xfrm>
            <a:custGeom>
              <a:avLst/>
              <a:gdLst>
                <a:gd name="T0" fmla="*/ 245 w 245"/>
                <a:gd name="T1" fmla="*/ 21 h 45"/>
                <a:gd name="T2" fmla="*/ 245 w 245"/>
                <a:gd name="T3" fmla="*/ 45 h 45"/>
                <a:gd name="T4" fmla="*/ 0 w 245"/>
                <a:gd name="T5" fmla="*/ 26 h 45"/>
                <a:gd name="T6" fmla="*/ 5 w 245"/>
                <a:gd name="T7" fmla="*/ 0 h 45"/>
                <a:gd name="T8" fmla="*/ 245 w 245"/>
                <a:gd name="T9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45">
                  <a:moveTo>
                    <a:pt x="245" y="21"/>
                  </a:moveTo>
                  <a:lnTo>
                    <a:pt x="245" y="45"/>
                  </a:lnTo>
                  <a:lnTo>
                    <a:pt x="0" y="26"/>
                  </a:lnTo>
                  <a:lnTo>
                    <a:pt x="5" y="0"/>
                  </a:lnTo>
                  <a:lnTo>
                    <a:pt x="245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6" name="Freeform 105">
              <a:extLst>
                <a:ext uri="{FF2B5EF4-FFF2-40B4-BE49-F238E27FC236}">
                  <a16:creationId xmlns:a16="http://schemas.microsoft.com/office/drawing/2014/main" id="{F79B0086-02FB-4E33-9803-A797DCF084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99698" y="5622483"/>
              <a:ext cx="118242" cy="46068"/>
            </a:xfrm>
            <a:custGeom>
              <a:avLst/>
              <a:gdLst>
                <a:gd name="T0" fmla="*/ 4 w 41"/>
                <a:gd name="T1" fmla="*/ 15 h 16"/>
                <a:gd name="T2" fmla="*/ 4 w 41"/>
                <a:gd name="T3" fmla="*/ 15 h 16"/>
                <a:gd name="T4" fmla="*/ 39 w 41"/>
                <a:gd name="T5" fmla="*/ 4 h 16"/>
                <a:gd name="T6" fmla="*/ 41 w 41"/>
                <a:gd name="T7" fmla="*/ 2 h 16"/>
                <a:gd name="T8" fmla="*/ 39 w 41"/>
                <a:gd name="T9" fmla="*/ 0 h 16"/>
                <a:gd name="T10" fmla="*/ 1 w 41"/>
                <a:gd name="T11" fmla="*/ 12 h 16"/>
                <a:gd name="T12" fmla="*/ 1 w 41"/>
                <a:gd name="T13" fmla="*/ 15 h 16"/>
                <a:gd name="T14" fmla="*/ 4 w 41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6">
                  <a:moveTo>
                    <a:pt x="4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16" y="4"/>
                    <a:pt x="39" y="4"/>
                  </a:cubicBezTo>
                  <a:cubicBezTo>
                    <a:pt x="40" y="4"/>
                    <a:pt x="41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4" y="0"/>
                    <a:pt x="1" y="12"/>
                    <a:pt x="1" y="12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2" y="16"/>
                    <a:pt x="3" y="16"/>
                    <a:pt x="4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7" name="Freeform 106">
              <a:extLst>
                <a:ext uri="{FF2B5EF4-FFF2-40B4-BE49-F238E27FC236}">
                  <a16:creationId xmlns:a16="http://schemas.microsoft.com/office/drawing/2014/main" id="{1BBA207F-0970-4748-A198-CC59956DF5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2658" y="5639374"/>
              <a:ext cx="112099" cy="46068"/>
            </a:xfrm>
            <a:custGeom>
              <a:avLst/>
              <a:gdLst>
                <a:gd name="T0" fmla="*/ 4 w 39"/>
                <a:gd name="T1" fmla="*/ 16 h 16"/>
                <a:gd name="T2" fmla="*/ 4 w 39"/>
                <a:gd name="T3" fmla="*/ 15 h 16"/>
                <a:gd name="T4" fmla="*/ 37 w 39"/>
                <a:gd name="T5" fmla="*/ 4 h 16"/>
                <a:gd name="T6" fmla="*/ 39 w 39"/>
                <a:gd name="T7" fmla="*/ 2 h 16"/>
                <a:gd name="T8" fmla="*/ 37 w 39"/>
                <a:gd name="T9" fmla="*/ 0 h 16"/>
                <a:gd name="T10" fmla="*/ 13 w 39"/>
                <a:gd name="T11" fmla="*/ 6 h 16"/>
                <a:gd name="T12" fmla="*/ 2 w 39"/>
                <a:gd name="T13" fmla="*/ 12 h 16"/>
                <a:gd name="T14" fmla="*/ 1 w 39"/>
                <a:gd name="T15" fmla="*/ 15 h 16"/>
                <a:gd name="T16" fmla="*/ 4 w 3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6">
                  <a:moveTo>
                    <a:pt x="4" y="16"/>
                  </a:moveTo>
                  <a:cubicBezTo>
                    <a:pt x="4" y="16"/>
                    <a:pt x="4" y="15"/>
                    <a:pt x="4" y="15"/>
                  </a:cubicBezTo>
                  <a:cubicBezTo>
                    <a:pt x="8" y="13"/>
                    <a:pt x="23" y="5"/>
                    <a:pt x="37" y="4"/>
                  </a:cubicBezTo>
                  <a:cubicBezTo>
                    <a:pt x="38" y="4"/>
                    <a:pt x="39" y="3"/>
                    <a:pt x="39" y="2"/>
                  </a:cubicBezTo>
                  <a:cubicBezTo>
                    <a:pt x="39" y="1"/>
                    <a:pt x="38" y="0"/>
                    <a:pt x="37" y="0"/>
                  </a:cubicBezTo>
                  <a:cubicBezTo>
                    <a:pt x="28" y="0"/>
                    <a:pt x="20" y="4"/>
                    <a:pt x="13" y="6"/>
                  </a:cubicBezTo>
                  <a:cubicBezTo>
                    <a:pt x="6" y="9"/>
                    <a:pt x="2" y="12"/>
                    <a:pt x="2" y="12"/>
                  </a:cubicBezTo>
                  <a:cubicBezTo>
                    <a:pt x="1" y="13"/>
                    <a:pt x="0" y="14"/>
                    <a:pt x="1" y="15"/>
                  </a:cubicBezTo>
                  <a:cubicBezTo>
                    <a:pt x="2" y="16"/>
                    <a:pt x="3" y="16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8" name="Freeform 107">
              <a:extLst>
                <a:ext uri="{FF2B5EF4-FFF2-40B4-BE49-F238E27FC236}">
                  <a16:creationId xmlns:a16="http://schemas.microsoft.com/office/drawing/2014/main" id="{FF0FCBB2-5A3F-4260-BCAA-BD95A16261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2292" y="5605591"/>
              <a:ext cx="84459" cy="53747"/>
            </a:xfrm>
            <a:custGeom>
              <a:avLst/>
              <a:gdLst>
                <a:gd name="T0" fmla="*/ 4 w 29"/>
                <a:gd name="T1" fmla="*/ 17 h 19"/>
                <a:gd name="T2" fmla="*/ 4 w 29"/>
                <a:gd name="T3" fmla="*/ 17 h 19"/>
                <a:gd name="T4" fmla="*/ 4 w 29"/>
                <a:gd name="T5" fmla="*/ 18 h 19"/>
                <a:gd name="T6" fmla="*/ 4 w 29"/>
                <a:gd name="T7" fmla="*/ 17 h 19"/>
                <a:gd name="T8" fmla="*/ 4 w 29"/>
                <a:gd name="T9" fmla="*/ 17 h 19"/>
                <a:gd name="T10" fmla="*/ 4 w 29"/>
                <a:gd name="T11" fmla="*/ 18 h 19"/>
                <a:gd name="T12" fmla="*/ 9 w 29"/>
                <a:gd name="T13" fmla="*/ 12 h 19"/>
                <a:gd name="T14" fmla="*/ 27 w 29"/>
                <a:gd name="T15" fmla="*/ 4 h 19"/>
                <a:gd name="T16" fmla="*/ 29 w 29"/>
                <a:gd name="T17" fmla="*/ 1 h 19"/>
                <a:gd name="T18" fmla="*/ 26 w 29"/>
                <a:gd name="T19" fmla="*/ 0 h 19"/>
                <a:gd name="T20" fmla="*/ 6 w 29"/>
                <a:gd name="T21" fmla="*/ 9 h 19"/>
                <a:gd name="T22" fmla="*/ 1 w 29"/>
                <a:gd name="T23" fmla="*/ 16 h 19"/>
                <a:gd name="T24" fmla="*/ 2 w 29"/>
                <a:gd name="T25" fmla="*/ 19 h 19"/>
                <a:gd name="T26" fmla="*/ 4 w 29"/>
                <a:gd name="T2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9">
                  <a:moveTo>
                    <a:pt x="4" y="17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5" y="15"/>
                    <a:pt x="9" y="12"/>
                  </a:cubicBezTo>
                  <a:cubicBezTo>
                    <a:pt x="12" y="9"/>
                    <a:pt x="18" y="5"/>
                    <a:pt x="27" y="4"/>
                  </a:cubicBezTo>
                  <a:cubicBezTo>
                    <a:pt x="28" y="4"/>
                    <a:pt x="29" y="2"/>
                    <a:pt x="29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16" y="2"/>
                    <a:pt x="10" y="6"/>
                    <a:pt x="6" y="9"/>
                  </a:cubicBezTo>
                  <a:cubicBezTo>
                    <a:pt x="2" y="13"/>
                    <a:pt x="1" y="16"/>
                    <a:pt x="1" y="16"/>
                  </a:cubicBezTo>
                  <a:cubicBezTo>
                    <a:pt x="0" y="17"/>
                    <a:pt x="1" y="18"/>
                    <a:pt x="2" y="19"/>
                  </a:cubicBezTo>
                  <a:cubicBezTo>
                    <a:pt x="3" y="19"/>
                    <a:pt x="4" y="19"/>
                    <a:pt x="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09" name="Freeform 108">
              <a:extLst>
                <a:ext uri="{FF2B5EF4-FFF2-40B4-BE49-F238E27FC236}">
                  <a16:creationId xmlns:a16="http://schemas.microsoft.com/office/drawing/2014/main" id="{AB73954C-69C4-43E7-A0E6-A7B8895F4A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36787" y="5628625"/>
              <a:ext cx="79852" cy="39926"/>
            </a:xfrm>
            <a:custGeom>
              <a:avLst/>
              <a:gdLst>
                <a:gd name="T0" fmla="*/ 4 w 28"/>
                <a:gd name="T1" fmla="*/ 13 h 14"/>
                <a:gd name="T2" fmla="*/ 4 w 28"/>
                <a:gd name="T3" fmla="*/ 13 h 14"/>
                <a:gd name="T4" fmla="*/ 4 w 28"/>
                <a:gd name="T5" fmla="*/ 13 h 14"/>
                <a:gd name="T6" fmla="*/ 4 w 28"/>
                <a:gd name="T7" fmla="*/ 13 h 14"/>
                <a:gd name="T8" fmla="*/ 4 w 28"/>
                <a:gd name="T9" fmla="*/ 13 h 14"/>
                <a:gd name="T10" fmla="*/ 4 w 28"/>
                <a:gd name="T11" fmla="*/ 13 h 14"/>
                <a:gd name="T12" fmla="*/ 26 w 28"/>
                <a:gd name="T13" fmla="*/ 4 h 14"/>
                <a:gd name="T14" fmla="*/ 28 w 28"/>
                <a:gd name="T15" fmla="*/ 2 h 14"/>
                <a:gd name="T16" fmla="*/ 26 w 28"/>
                <a:gd name="T17" fmla="*/ 0 h 14"/>
                <a:gd name="T18" fmla="*/ 1 w 28"/>
                <a:gd name="T19" fmla="*/ 11 h 14"/>
                <a:gd name="T20" fmla="*/ 1 w 28"/>
                <a:gd name="T21" fmla="*/ 13 h 14"/>
                <a:gd name="T22" fmla="*/ 4 w 28"/>
                <a:gd name="T2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4">
                  <a:moveTo>
                    <a:pt x="4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11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9" y="2"/>
                    <a:pt x="1" y="10"/>
                    <a:pt x="1" y="11"/>
                  </a:cubicBezTo>
                  <a:cubicBezTo>
                    <a:pt x="0" y="11"/>
                    <a:pt x="0" y="13"/>
                    <a:pt x="1" y="13"/>
                  </a:cubicBezTo>
                  <a:cubicBezTo>
                    <a:pt x="2" y="14"/>
                    <a:pt x="3" y="14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0" name="Freeform 109">
              <a:extLst>
                <a:ext uri="{FF2B5EF4-FFF2-40B4-BE49-F238E27FC236}">
                  <a16:creationId xmlns:a16="http://schemas.microsoft.com/office/drawing/2014/main" id="{3BCC48BB-6B54-468B-A79B-6966ACC3EB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5952" y="1989244"/>
              <a:ext cx="182737" cy="190414"/>
            </a:xfrm>
            <a:custGeom>
              <a:avLst/>
              <a:gdLst>
                <a:gd name="T0" fmla="*/ 39 w 64"/>
                <a:gd name="T1" fmla="*/ 0 h 66"/>
                <a:gd name="T2" fmla="*/ 0 w 64"/>
                <a:gd name="T3" fmla="*/ 52 h 66"/>
                <a:gd name="T4" fmla="*/ 25 w 64"/>
                <a:gd name="T5" fmla="*/ 60 h 66"/>
                <a:gd name="T6" fmla="*/ 32 w 64"/>
                <a:gd name="T7" fmla="*/ 47 h 66"/>
                <a:gd name="T8" fmla="*/ 32 w 64"/>
                <a:gd name="T9" fmla="*/ 60 h 66"/>
                <a:gd name="T10" fmla="*/ 63 w 64"/>
                <a:gd name="T11" fmla="*/ 66 h 66"/>
                <a:gd name="T12" fmla="*/ 64 w 64"/>
                <a:gd name="T13" fmla="*/ 49 h 66"/>
                <a:gd name="T14" fmla="*/ 39 w 64"/>
                <a:gd name="T1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39" y="0"/>
                  </a:moveTo>
                  <a:cubicBezTo>
                    <a:pt x="39" y="0"/>
                    <a:pt x="0" y="16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1" name="Freeform 110">
              <a:extLst>
                <a:ext uri="{FF2B5EF4-FFF2-40B4-BE49-F238E27FC236}">
                  <a16:creationId xmlns:a16="http://schemas.microsoft.com/office/drawing/2014/main" id="{E93D6139-0D5E-4A10-AAEF-0B6FFA9C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2720" y="2460676"/>
              <a:ext cx="1973251" cy="2934538"/>
            </a:xfrm>
            <a:custGeom>
              <a:avLst/>
              <a:gdLst>
                <a:gd name="T0" fmla="*/ 686 w 686"/>
                <a:gd name="T1" fmla="*/ 67 h 1022"/>
                <a:gd name="T2" fmla="*/ 440 w 686"/>
                <a:gd name="T3" fmla="*/ 2 h 1022"/>
                <a:gd name="T4" fmla="*/ 85 w 686"/>
                <a:gd name="T5" fmla="*/ 156 h 1022"/>
                <a:gd name="T6" fmla="*/ 71 w 686"/>
                <a:gd name="T7" fmla="*/ 432 h 1022"/>
                <a:gd name="T8" fmla="*/ 235 w 686"/>
                <a:gd name="T9" fmla="*/ 486 h 1022"/>
                <a:gd name="T10" fmla="*/ 137 w 686"/>
                <a:gd name="T11" fmla="*/ 895 h 1022"/>
                <a:gd name="T12" fmla="*/ 464 w 686"/>
                <a:gd name="T13" fmla="*/ 1003 h 1022"/>
                <a:gd name="T14" fmla="*/ 669 w 686"/>
                <a:gd name="T15" fmla="*/ 944 h 1022"/>
                <a:gd name="T16" fmla="*/ 686 w 686"/>
                <a:gd name="T17" fmla="*/ 67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022">
                  <a:moveTo>
                    <a:pt x="686" y="67"/>
                  </a:moveTo>
                  <a:cubicBezTo>
                    <a:pt x="686" y="67"/>
                    <a:pt x="588" y="3"/>
                    <a:pt x="440" y="2"/>
                  </a:cubicBezTo>
                  <a:cubicBezTo>
                    <a:pt x="292" y="0"/>
                    <a:pt x="146" y="67"/>
                    <a:pt x="85" y="156"/>
                  </a:cubicBezTo>
                  <a:cubicBezTo>
                    <a:pt x="25" y="244"/>
                    <a:pt x="0" y="359"/>
                    <a:pt x="71" y="432"/>
                  </a:cubicBezTo>
                  <a:cubicBezTo>
                    <a:pt x="142" y="504"/>
                    <a:pt x="235" y="486"/>
                    <a:pt x="235" y="486"/>
                  </a:cubicBezTo>
                  <a:cubicBezTo>
                    <a:pt x="137" y="895"/>
                    <a:pt x="137" y="895"/>
                    <a:pt x="137" y="895"/>
                  </a:cubicBezTo>
                  <a:cubicBezTo>
                    <a:pt x="137" y="895"/>
                    <a:pt x="276" y="1022"/>
                    <a:pt x="464" y="1003"/>
                  </a:cubicBezTo>
                  <a:cubicBezTo>
                    <a:pt x="653" y="985"/>
                    <a:pt x="669" y="944"/>
                    <a:pt x="669" y="944"/>
                  </a:cubicBezTo>
                  <a:cubicBezTo>
                    <a:pt x="686" y="67"/>
                    <a:pt x="686" y="67"/>
                    <a:pt x="686" y="67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2" name="Freeform 111">
              <a:extLst>
                <a:ext uri="{FF2B5EF4-FFF2-40B4-BE49-F238E27FC236}">
                  <a16:creationId xmlns:a16="http://schemas.microsoft.com/office/drawing/2014/main" id="{4C83AB15-2138-482F-AD77-214B3F158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9685" y="2595809"/>
              <a:ext cx="863009" cy="1311405"/>
            </a:xfrm>
            <a:custGeom>
              <a:avLst/>
              <a:gdLst>
                <a:gd name="T0" fmla="*/ 189 w 300"/>
                <a:gd name="T1" fmla="*/ 169 h 457"/>
                <a:gd name="T2" fmla="*/ 232 w 300"/>
                <a:gd name="T3" fmla="*/ 0 h 457"/>
                <a:gd name="T4" fmla="*/ 84 w 300"/>
                <a:gd name="T5" fmla="*/ 404 h 457"/>
                <a:gd name="T6" fmla="*/ 257 w 300"/>
                <a:gd name="T7" fmla="*/ 436 h 457"/>
                <a:gd name="T8" fmla="*/ 300 w 300"/>
                <a:gd name="T9" fmla="*/ 152 h 457"/>
                <a:gd name="T10" fmla="*/ 189 w 300"/>
                <a:gd name="T11" fmla="*/ 16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457">
                  <a:moveTo>
                    <a:pt x="189" y="169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109"/>
                    <a:pt x="2" y="318"/>
                    <a:pt x="84" y="404"/>
                  </a:cubicBezTo>
                  <a:cubicBezTo>
                    <a:pt x="133" y="457"/>
                    <a:pt x="207" y="450"/>
                    <a:pt x="257" y="436"/>
                  </a:cubicBezTo>
                  <a:cubicBezTo>
                    <a:pt x="300" y="152"/>
                    <a:pt x="300" y="152"/>
                    <a:pt x="300" y="152"/>
                  </a:cubicBezTo>
                  <a:cubicBezTo>
                    <a:pt x="189" y="169"/>
                    <a:pt x="189" y="169"/>
                    <a:pt x="189" y="169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3" name="Freeform 112">
              <a:extLst>
                <a:ext uri="{FF2B5EF4-FFF2-40B4-BE49-F238E27FC236}">
                  <a16:creationId xmlns:a16="http://schemas.microsoft.com/office/drawing/2014/main" id="{BE237D56-873C-4673-A709-782CE27C86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846" y="3018099"/>
              <a:ext cx="211913" cy="829226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56 w 74"/>
                <a:gd name="T7" fmla="*/ 268 h 289"/>
                <a:gd name="T8" fmla="*/ 74 w 74"/>
                <a:gd name="T9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262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4" name="Freeform 113">
              <a:extLst>
                <a:ext uri="{FF2B5EF4-FFF2-40B4-BE49-F238E27FC236}">
                  <a16:creationId xmlns:a16="http://schemas.microsoft.com/office/drawing/2014/main" id="{F5D1277A-AE10-47CE-9B6E-942E331B45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4868" y="3018099"/>
              <a:ext cx="170452" cy="251839"/>
            </a:xfrm>
            <a:custGeom>
              <a:avLst/>
              <a:gdLst>
                <a:gd name="T0" fmla="*/ 5 w 59"/>
                <a:gd name="T1" fmla="*/ 15 h 88"/>
                <a:gd name="T2" fmla="*/ 22 w 59"/>
                <a:gd name="T3" fmla="*/ 0 h 88"/>
                <a:gd name="T4" fmla="*/ 21 w 59"/>
                <a:gd name="T5" fmla="*/ 15 h 88"/>
                <a:gd name="T6" fmla="*/ 52 w 59"/>
                <a:gd name="T7" fmla="*/ 7 h 88"/>
                <a:gd name="T8" fmla="*/ 59 w 59"/>
                <a:gd name="T9" fmla="*/ 23 h 88"/>
                <a:gd name="T10" fmla="*/ 57 w 59"/>
                <a:gd name="T11" fmla="*/ 65 h 88"/>
                <a:gd name="T12" fmla="*/ 49 w 59"/>
                <a:gd name="T13" fmla="*/ 72 h 88"/>
                <a:gd name="T14" fmla="*/ 0 w 59"/>
                <a:gd name="T15" fmla="*/ 88 h 88"/>
                <a:gd name="T16" fmla="*/ 5 w 59"/>
                <a:gd name="T17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8">
                  <a:moveTo>
                    <a:pt x="5" y="15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8" y="6"/>
                    <a:pt x="59" y="23"/>
                  </a:cubicBezTo>
                  <a:cubicBezTo>
                    <a:pt x="59" y="41"/>
                    <a:pt x="57" y="65"/>
                    <a:pt x="57" y="65"/>
                  </a:cubicBezTo>
                  <a:cubicBezTo>
                    <a:pt x="57" y="65"/>
                    <a:pt x="56" y="69"/>
                    <a:pt x="49" y="72"/>
                  </a:cubicBezTo>
                  <a:cubicBezTo>
                    <a:pt x="42" y="75"/>
                    <a:pt x="0" y="88"/>
                    <a:pt x="0" y="88"/>
                  </a:cubicBezTo>
                  <a:cubicBezTo>
                    <a:pt x="5" y="15"/>
                    <a:pt x="5" y="15"/>
                    <a:pt x="5" y="15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5" name="Freeform 114">
              <a:extLst>
                <a:ext uri="{FF2B5EF4-FFF2-40B4-BE49-F238E27FC236}">
                  <a16:creationId xmlns:a16="http://schemas.microsoft.com/office/drawing/2014/main" id="{62296719-09B5-4597-A496-11DFBB006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688" y="2124378"/>
              <a:ext cx="380830" cy="543603"/>
            </a:xfrm>
            <a:custGeom>
              <a:avLst/>
              <a:gdLst>
                <a:gd name="T0" fmla="*/ 0 w 132"/>
                <a:gd name="T1" fmla="*/ 0 h 189"/>
                <a:gd name="T2" fmla="*/ 0 w 132"/>
                <a:gd name="T3" fmla="*/ 132 h 189"/>
                <a:gd name="T4" fmla="*/ 100 w 132"/>
                <a:gd name="T5" fmla="*/ 189 h 189"/>
                <a:gd name="T6" fmla="*/ 132 w 132"/>
                <a:gd name="T7" fmla="*/ 124 h 189"/>
                <a:gd name="T8" fmla="*/ 81 w 132"/>
                <a:gd name="T9" fmla="*/ 17 h 189"/>
                <a:gd name="T10" fmla="*/ 0 w 132"/>
                <a:gd name="T1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89">
                  <a:moveTo>
                    <a:pt x="0" y="0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00" y="189"/>
                    <a:pt x="100" y="189"/>
                  </a:cubicBezTo>
                  <a:cubicBezTo>
                    <a:pt x="101" y="188"/>
                    <a:pt x="132" y="124"/>
                    <a:pt x="132" y="124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6" name="Freeform 115">
              <a:extLst>
                <a:ext uri="{FF2B5EF4-FFF2-40B4-BE49-F238E27FC236}">
                  <a16:creationId xmlns:a16="http://schemas.microsoft.com/office/drawing/2014/main" id="{925CA8DE-939E-4E7F-B973-476DEBBDEC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16589" y="1903251"/>
              <a:ext cx="431505" cy="336298"/>
            </a:xfrm>
            <a:custGeom>
              <a:avLst/>
              <a:gdLst>
                <a:gd name="T0" fmla="*/ 27 w 150"/>
                <a:gd name="T1" fmla="*/ 56 h 117"/>
                <a:gd name="T2" fmla="*/ 9 w 150"/>
                <a:gd name="T3" fmla="*/ 52 h 117"/>
                <a:gd name="T4" fmla="*/ 27 w 150"/>
                <a:gd name="T5" fmla="*/ 78 h 117"/>
                <a:gd name="T6" fmla="*/ 37 w 150"/>
                <a:gd name="T7" fmla="*/ 74 h 117"/>
                <a:gd name="T8" fmla="*/ 53 w 150"/>
                <a:gd name="T9" fmla="*/ 103 h 117"/>
                <a:gd name="T10" fmla="*/ 96 w 150"/>
                <a:gd name="T11" fmla="*/ 106 h 117"/>
                <a:gd name="T12" fmla="*/ 135 w 150"/>
                <a:gd name="T13" fmla="*/ 53 h 117"/>
                <a:gd name="T14" fmla="*/ 77 w 150"/>
                <a:gd name="T15" fmla="*/ 0 h 117"/>
                <a:gd name="T16" fmla="*/ 14 w 150"/>
                <a:gd name="T17" fmla="*/ 30 h 117"/>
                <a:gd name="T18" fmla="*/ 27 w 150"/>
                <a:gd name="T19" fmla="*/ 5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17">
                  <a:moveTo>
                    <a:pt x="27" y="56"/>
                  </a:moveTo>
                  <a:cubicBezTo>
                    <a:pt x="27" y="56"/>
                    <a:pt x="18" y="44"/>
                    <a:pt x="9" y="52"/>
                  </a:cubicBezTo>
                  <a:cubicBezTo>
                    <a:pt x="0" y="60"/>
                    <a:pt x="16" y="83"/>
                    <a:pt x="27" y="78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3"/>
                    <a:pt x="68" y="117"/>
                    <a:pt x="96" y="106"/>
                  </a:cubicBezTo>
                  <a:cubicBezTo>
                    <a:pt x="124" y="95"/>
                    <a:pt x="150" y="77"/>
                    <a:pt x="135" y="53"/>
                  </a:cubicBezTo>
                  <a:cubicBezTo>
                    <a:pt x="120" y="30"/>
                    <a:pt x="77" y="0"/>
                    <a:pt x="77" y="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7" y="56"/>
                    <a:pt x="27" y="56"/>
                    <a:pt x="27" y="56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7" name="Freeform 116">
              <a:extLst>
                <a:ext uri="{FF2B5EF4-FFF2-40B4-BE49-F238E27FC236}">
                  <a16:creationId xmlns:a16="http://schemas.microsoft.com/office/drawing/2014/main" id="{8744050F-A098-4F0F-B88C-BBCC3E615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4756" y="2778544"/>
              <a:ext cx="95207" cy="282551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8" name="Freeform 117">
              <a:extLst>
                <a:ext uri="{FF2B5EF4-FFF2-40B4-BE49-F238E27FC236}">
                  <a16:creationId xmlns:a16="http://schemas.microsoft.com/office/drawing/2014/main" id="{16596FEB-1363-4E3C-A434-CD8933F3A4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4756" y="2778544"/>
              <a:ext cx="95207" cy="282551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19" name="Freeform 118">
              <a:extLst>
                <a:ext uri="{FF2B5EF4-FFF2-40B4-BE49-F238E27FC236}">
                  <a16:creationId xmlns:a16="http://schemas.microsoft.com/office/drawing/2014/main" id="{ED0258BD-158A-4D84-A6CE-801FE820F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3226941"/>
              <a:ext cx="102886" cy="350117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0" name="Freeform 119">
              <a:extLst>
                <a:ext uri="{FF2B5EF4-FFF2-40B4-BE49-F238E27FC236}">
                  <a16:creationId xmlns:a16="http://schemas.microsoft.com/office/drawing/2014/main" id="{AD4501AD-3A34-4A12-BD05-856209224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3226941"/>
              <a:ext cx="102886" cy="350117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1" name="Freeform 120">
              <a:extLst>
                <a:ext uri="{FF2B5EF4-FFF2-40B4-BE49-F238E27FC236}">
                  <a16:creationId xmlns:a16="http://schemas.microsoft.com/office/drawing/2014/main" id="{E733F437-4F17-4CFE-948D-F59B637DCF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3221" y="3018099"/>
              <a:ext cx="79852" cy="42997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2" name="Freeform 121">
              <a:extLst>
                <a:ext uri="{FF2B5EF4-FFF2-40B4-BE49-F238E27FC236}">
                  <a16:creationId xmlns:a16="http://schemas.microsoft.com/office/drawing/2014/main" id="{369724FC-D9B4-43BA-9CBE-5B750AA34B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3221" y="3018099"/>
              <a:ext cx="79852" cy="42997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3" name="Oval 122">
              <a:extLst>
                <a:ext uri="{FF2B5EF4-FFF2-40B4-BE49-F238E27FC236}">
                  <a16:creationId xmlns:a16="http://schemas.microsoft.com/office/drawing/2014/main" id="{56F3F44F-F19F-48C2-91B8-B0B8913425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74756" y="1975424"/>
              <a:ext cx="21499" cy="19964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4" name="Oval 123">
              <a:extLst>
                <a:ext uri="{FF2B5EF4-FFF2-40B4-BE49-F238E27FC236}">
                  <a16:creationId xmlns:a16="http://schemas.microsoft.com/office/drawing/2014/main" id="{5EA7304D-C1AC-445D-8B2C-4C7835290A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40787" y="1932428"/>
              <a:ext cx="21499" cy="19964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5" name="Freeform 124">
              <a:extLst>
                <a:ext uri="{FF2B5EF4-FFF2-40B4-BE49-F238E27FC236}">
                  <a16:creationId xmlns:a16="http://schemas.microsoft.com/office/drawing/2014/main" id="{311EAA06-05D9-4D36-8BEF-7B2084E1A7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93486" cy="89065"/>
            </a:xfrm>
            <a:custGeom>
              <a:avLst/>
              <a:gdLst>
                <a:gd name="T0" fmla="*/ 0 w 67"/>
                <a:gd name="T1" fmla="*/ 0 h 31"/>
                <a:gd name="T2" fmla="*/ 67 w 67"/>
                <a:gd name="T3" fmla="*/ 10 h 31"/>
                <a:gd name="T4" fmla="*/ 30 w 67"/>
                <a:gd name="T5" fmla="*/ 23 h 31"/>
                <a:gd name="T6" fmla="*/ 0 w 67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31">
                  <a:moveTo>
                    <a:pt x="0" y="0"/>
                  </a:move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59" y="31"/>
                    <a:pt x="30" y="23"/>
                  </a:cubicBezTo>
                  <a:cubicBezTo>
                    <a:pt x="2" y="15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6" name="Freeform 125">
              <a:extLst>
                <a:ext uri="{FF2B5EF4-FFF2-40B4-BE49-F238E27FC236}">
                  <a16:creationId xmlns:a16="http://schemas.microsoft.com/office/drawing/2014/main" id="{D457128A-6AAF-4AF5-BD8F-B29BB84F23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2035313"/>
              <a:ext cx="23034" cy="23034"/>
            </a:xfrm>
            <a:custGeom>
              <a:avLst/>
              <a:gdLst>
                <a:gd name="T0" fmla="*/ 6 w 8"/>
                <a:gd name="T1" fmla="*/ 0 h 8"/>
                <a:gd name="T2" fmla="*/ 0 w 8"/>
                <a:gd name="T3" fmla="*/ 6 h 8"/>
                <a:gd name="T4" fmla="*/ 0 w 8"/>
                <a:gd name="T5" fmla="*/ 7 h 8"/>
                <a:gd name="T6" fmla="*/ 2 w 8"/>
                <a:gd name="T7" fmla="*/ 7 h 8"/>
                <a:gd name="T8" fmla="*/ 7 w 8"/>
                <a:gd name="T9" fmla="*/ 1 h 8"/>
                <a:gd name="T10" fmla="*/ 7 w 8"/>
                <a:gd name="T11" fmla="*/ 0 h 8"/>
                <a:gd name="T12" fmla="*/ 6 w 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6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8"/>
                    <a:pt x="1" y="8"/>
                    <a:pt x="2" y="7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7" name="Freeform 126">
              <a:extLst>
                <a:ext uri="{FF2B5EF4-FFF2-40B4-BE49-F238E27FC236}">
                  <a16:creationId xmlns:a16="http://schemas.microsoft.com/office/drawing/2014/main" id="{CE90AD7D-9E9F-45FD-978A-D74255DAF8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96557" cy="92137"/>
            </a:xfrm>
            <a:custGeom>
              <a:avLst/>
              <a:gdLst>
                <a:gd name="T0" fmla="*/ 0 w 68"/>
                <a:gd name="T1" fmla="*/ 0 h 32"/>
                <a:gd name="T2" fmla="*/ 68 w 68"/>
                <a:gd name="T3" fmla="*/ 10 h 32"/>
                <a:gd name="T4" fmla="*/ 29 w 68"/>
                <a:gd name="T5" fmla="*/ 22 h 32"/>
                <a:gd name="T6" fmla="*/ 0 w 68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32">
                  <a:moveTo>
                    <a:pt x="0" y="0"/>
                  </a:moveTo>
                  <a:cubicBezTo>
                    <a:pt x="68" y="10"/>
                    <a:pt x="68" y="10"/>
                    <a:pt x="68" y="10"/>
                  </a:cubicBezTo>
                  <a:cubicBezTo>
                    <a:pt x="68" y="10"/>
                    <a:pt x="53" y="32"/>
                    <a:pt x="29" y="22"/>
                  </a:cubicBezTo>
                  <a:cubicBezTo>
                    <a:pt x="4" y="13"/>
                    <a:pt x="1" y="5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8" name="Freeform 127">
              <a:extLst>
                <a:ext uri="{FF2B5EF4-FFF2-40B4-BE49-F238E27FC236}">
                  <a16:creationId xmlns:a16="http://schemas.microsoft.com/office/drawing/2014/main" id="{1CE905B5-DAFA-48FB-96CC-BCED79D9C0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9066" y="2070633"/>
              <a:ext cx="12285" cy="13821"/>
            </a:xfrm>
            <a:custGeom>
              <a:avLst/>
              <a:gdLst>
                <a:gd name="T0" fmla="*/ 0 w 8"/>
                <a:gd name="T1" fmla="*/ 0 h 9"/>
                <a:gd name="T2" fmla="*/ 4 w 8"/>
                <a:gd name="T3" fmla="*/ 9 h 9"/>
                <a:gd name="T4" fmla="*/ 8 w 8"/>
                <a:gd name="T5" fmla="*/ 1 h 9"/>
                <a:gd name="T6" fmla="*/ 0 w 8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lnTo>
                    <a:pt x="4" y="9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29" name="Freeform 128">
              <a:extLst>
                <a:ext uri="{FF2B5EF4-FFF2-40B4-BE49-F238E27FC236}">
                  <a16:creationId xmlns:a16="http://schemas.microsoft.com/office/drawing/2014/main" id="{5647DD60-3E22-486E-9865-0EF68820A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2285" cy="10749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0" name="Freeform 129">
              <a:extLst>
                <a:ext uri="{FF2B5EF4-FFF2-40B4-BE49-F238E27FC236}">
                  <a16:creationId xmlns:a16="http://schemas.microsoft.com/office/drawing/2014/main" id="{5207108A-05E8-4B16-AB77-57123BE11B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2285" cy="10749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1" name="Freeform 130">
              <a:extLst>
                <a:ext uri="{FF2B5EF4-FFF2-40B4-BE49-F238E27FC236}">
                  <a16:creationId xmlns:a16="http://schemas.microsoft.com/office/drawing/2014/main" id="{AAB51532-7F72-4B2B-BC77-C4D4BA1ADF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286" y="1981567"/>
              <a:ext cx="30712" cy="44533"/>
            </a:xfrm>
            <a:custGeom>
              <a:avLst/>
              <a:gdLst>
                <a:gd name="T0" fmla="*/ 0 w 11"/>
                <a:gd name="T1" fmla="*/ 4 h 16"/>
                <a:gd name="T2" fmla="*/ 4 w 11"/>
                <a:gd name="T3" fmla="*/ 16 h 16"/>
                <a:gd name="T4" fmla="*/ 11 w 11"/>
                <a:gd name="T5" fmla="*/ 11 h 16"/>
                <a:gd name="T6" fmla="*/ 0 w 11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0" y="4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10" y="16"/>
                    <a:pt x="11" y="11"/>
                  </a:cubicBezTo>
                  <a:cubicBezTo>
                    <a:pt x="11" y="5"/>
                    <a:pt x="6" y="0"/>
                    <a:pt x="0" y="4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2" name="Freeform 131">
              <a:extLst>
                <a:ext uri="{FF2B5EF4-FFF2-40B4-BE49-F238E27FC236}">
                  <a16:creationId xmlns:a16="http://schemas.microsoft.com/office/drawing/2014/main" id="{3BD69DAC-6DAD-4697-B39A-0FF863796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53072" y="1986174"/>
              <a:ext cx="46068" cy="42997"/>
            </a:xfrm>
            <a:custGeom>
              <a:avLst/>
              <a:gdLst>
                <a:gd name="T0" fmla="*/ 1 w 16"/>
                <a:gd name="T1" fmla="*/ 4 h 15"/>
                <a:gd name="T2" fmla="*/ 2 w 16"/>
                <a:gd name="T3" fmla="*/ 4 h 15"/>
                <a:gd name="T4" fmla="*/ 7 w 16"/>
                <a:gd name="T5" fmla="*/ 2 h 15"/>
                <a:gd name="T6" fmla="*/ 12 w 16"/>
                <a:gd name="T7" fmla="*/ 4 h 15"/>
                <a:gd name="T8" fmla="*/ 14 w 16"/>
                <a:gd name="T9" fmla="*/ 8 h 15"/>
                <a:gd name="T10" fmla="*/ 7 w 16"/>
                <a:gd name="T11" fmla="*/ 13 h 15"/>
                <a:gd name="T12" fmla="*/ 5 w 16"/>
                <a:gd name="T13" fmla="*/ 13 h 15"/>
                <a:gd name="T14" fmla="*/ 4 w 16"/>
                <a:gd name="T15" fmla="*/ 14 h 15"/>
                <a:gd name="T16" fmla="*/ 5 w 16"/>
                <a:gd name="T17" fmla="*/ 15 h 15"/>
                <a:gd name="T18" fmla="*/ 7 w 16"/>
                <a:gd name="T19" fmla="*/ 15 h 15"/>
                <a:gd name="T20" fmla="*/ 13 w 16"/>
                <a:gd name="T21" fmla="*/ 13 h 15"/>
                <a:gd name="T22" fmla="*/ 16 w 16"/>
                <a:gd name="T23" fmla="*/ 8 h 15"/>
                <a:gd name="T24" fmla="*/ 13 w 16"/>
                <a:gd name="T25" fmla="*/ 2 h 15"/>
                <a:gd name="T26" fmla="*/ 7 w 16"/>
                <a:gd name="T27" fmla="*/ 0 h 15"/>
                <a:gd name="T28" fmla="*/ 0 w 16"/>
                <a:gd name="T29" fmla="*/ 2 h 15"/>
                <a:gd name="T30" fmla="*/ 0 w 16"/>
                <a:gd name="T31" fmla="*/ 3 h 15"/>
                <a:gd name="T32" fmla="*/ 1 w 16"/>
                <a:gd name="T3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5">
                  <a:moveTo>
                    <a:pt x="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5" y="2"/>
                    <a:pt x="7" y="2"/>
                  </a:cubicBezTo>
                  <a:cubicBezTo>
                    <a:pt x="9" y="2"/>
                    <a:pt x="10" y="2"/>
                    <a:pt x="12" y="4"/>
                  </a:cubicBezTo>
                  <a:cubicBezTo>
                    <a:pt x="13" y="5"/>
                    <a:pt x="14" y="6"/>
                    <a:pt x="14" y="8"/>
                  </a:cubicBezTo>
                  <a:cubicBezTo>
                    <a:pt x="14" y="10"/>
                    <a:pt x="11" y="13"/>
                    <a:pt x="7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5"/>
                    <a:pt x="6" y="15"/>
                    <a:pt x="7" y="15"/>
                  </a:cubicBezTo>
                  <a:cubicBezTo>
                    <a:pt x="9" y="15"/>
                    <a:pt x="12" y="14"/>
                    <a:pt x="13" y="13"/>
                  </a:cubicBezTo>
                  <a:cubicBezTo>
                    <a:pt x="15" y="12"/>
                    <a:pt x="16" y="10"/>
                    <a:pt x="16" y="8"/>
                  </a:cubicBezTo>
                  <a:cubicBezTo>
                    <a:pt x="16" y="6"/>
                    <a:pt x="15" y="4"/>
                    <a:pt x="13" y="2"/>
                  </a:cubicBezTo>
                  <a:cubicBezTo>
                    <a:pt x="11" y="0"/>
                    <a:pt x="9" y="0"/>
                    <a:pt x="7" y="0"/>
                  </a:cubicBezTo>
                  <a:cubicBezTo>
                    <a:pt x="3" y="0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3" name="Freeform 132">
              <a:extLst>
                <a:ext uri="{FF2B5EF4-FFF2-40B4-BE49-F238E27FC236}">
                  <a16:creationId xmlns:a16="http://schemas.microsoft.com/office/drawing/2014/main" id="{EAA926C6-B703-4FF8-9909-2AA788B72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2732" y="2029170"/>
              <a:ext cx="101350" cy="107492"/>
            </a:xfrm>
            <a:custGeom>
              <a:avLst/>
              <a:gdLst>
                <a:gd name="T0" fmla="*/ 24 w 35"/>
                <a:gd name="T1" fmla="*/ 11 h 37"/>
                <a:gd name="T2" fmla="*/ 35 w 35"/>
                <a:gd name="T3" fmla="*/ 30 h 37"/>
                <a:gd name="T4" fmla="*/ 19 w 35"/>
                <a:gd name="T5" fmla="*/ 34 h 37"/>
                <a:gd name="T6" fmla="*/ 6 w 35"/>
                <a:gd name="T7" fmla="*/ 7 h 37"/>
                <a:gd name="T8" fmla="*/ 24 w 35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24" y="11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0" y="37"/>
                    <a:pt x="19" y="34"/>
                  </a:cubicBezTo>
                  <a:cubicBezTo>
                    <a:pt x="8" y="31"/>
                    <a:pt x="0" y="14"/>
                    <a:pt x="6" y="7"/>
                  </a:cubicBezTo>
                  <a:cubicBezTo>
                    <a:pt x="12" y="0"/>
                    <a:pt x="22" y="8"/>
                    <a:pt x="24" y="11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4" name="Freeform 133">
              <a:extLst>
                <a:ext uri="{FF2B5EF4-FFF2-40B4-BE49-F238E27FC236}">
                  <a16:creationId xmlns:a16="http://schemas.microsoft.com/office/drawing/2014/main" id="{E51B360B-484B-41F0-8948-50DC5BAFC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908" y="1920143"/>
              <a:ext cx="148954" cy="135133"/>
            </a:xfrm>
            <a:custGeom>
              <a:avLst/>
              <a:gdLst>
                <a:gd name="T0" fmla="*/ 52 w 52"/>
                <a:gd name="T1" fmla="*/ 0 h 47"/>
                <a:gd name="T2" fmla="*/ 13 w 52"/>
                <a:gd name="T3" fmla="*/ 47 h 47"/>
                <a:gd name="T4" fmla="*/ 0 w 52"/>
                <a:gd name="T5" fmla="*/ 24 h 47"/>
                <a:gd name="T6" fmla="*/ 52 w 52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7">
                  <a:moveTo>
                    <a:pt x="52" y="0"/>
                  </a:moveTo>
                  <a:cubicBezTo>
                    <a:pt x="52" y="0"/>
                    <a:pt x="32" y="42"/>
                    <a:pt x="13" y="4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5" name="Freeform 134">
              <a:extLst>
                <a:ext uri="{FF2B5EF4-FFF2-40B4-BE49-F238E27FC236}">
                  <a16:creationId xmlns:a16="http://schemas.microsoft.com/office/drawing/2014/main" id="{1D84DB36-C657-4843-8311-FC0E80B1A6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7791" y="1903251"/>
              <a:ext cx="78317" cy="29177"/>
            </a:xfrm>
            <a:custGeom>
              <a:avLst/>
              <a:gdLst>
                <a:gd name="T0" fmla="*/ 0 w 51"/>
                <a:gd name="T1" fmla="*/ 15 h 19"/>
                <a:gd name="T2" fmla="*/ 51 w 51"/>
                <a:gd name="T3" fmla="*/ 19 h 19"/>
                <a:gd name="T4" fmla="*/ 27 w 51"/>
                <a:gd name="T5" fmla="*/ 0 h 19"/>
                <a:gd name="T6" fmla="*/ 0 w 51"/>
                <a:gd name="T7" fmla="*/ 11 h 19"/>
                <a:gd name="T8" fmla="*/ 0 w 51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9">
                  <a:moveTo>
                    <a:pt x="0" y="15"/>
                  </a:moveTo>
                  <a:lnTo>
                    <a:pt x="51" y="19"/>
                  </a:lnTo>
                  <a:lnTo>
                    <a:pt x="27" y="0"/>
                  </a:lnTo>
                  <a:lnTo>
                    <a:pt x="0" y="11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6" name="Freeform 135">
              <a:extLst>
                <a:ext uri="{FF2B5EF4-FFF2-40B4-BE49-F238E27FC236}">
                  <a16:creationId xmlns:a16="http://schemas.microsoft.com/office/drawing/2014/main" id="{90DE7A9D-1C4B-4027-8C26-BFEFD3BBA3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707" y="1722050"/>
              <a:ext cx="468359" cy="267195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7" name="Freeform 136">
              <a:extLst>
                <a:ext uri="{FF2B5EF4-FFF2-40B4-BE49-F238E27FC236}">
                  <a16:creationId xmlns:a16="http://schemas.microsoft.com/office/drawing/2014/main" id="{BFC7F4D4-0FC3-437F-88B8-E4DFFBB203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707" y="1722050"/>
              <a:ext cx="468359" cy="267195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8" name="Freeform 137">
              <a:extLst>
                <a:ext uri="{FF2B5EF4-FFF2-40B4-BE49-F238E27FC236}">
                  <a16:creationId xmlns:a16="http://schemas.microsoft.com/office/drawing/2014/main" id="{DCD4027E-478E-4AFB-BC45-2B6272D80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5245" y="1722050"/>
              <a:ext cx="56818" cy="236483"/>
            </a:xfrm>
            <a:custGeom>
              <a:avLst/>
              <a:gdLst>
                <a:gd name="T0" fmla="*/ 0 w 37"/>
                <a:gd name="T1" fmla="*/ 0 h 154"/>
                <a:gd name="T2" fmla="*/ 2 w 37"/>
                <a:gd name="T3" fmla="*/ 154 h 154"/>
                <a:gd name="T4" fmla="*/ 15 w 37"/>
                <a:gd name="T5" fmla="*/ 148 h 154"/>
                <a:gd name="T6" fmla="*/ 11 w 37"/>
                <a:gd name="T7" fmla="*/ 124 h 154"/>
                <a:gd name="T8" fmla="*/ 20 w 37"/>
                <a:gd name="T9" fmla="*/ 148 h 154"/>
                <a:gd name="T10" fmla="*/ 37 w 37"/>
                <a:gd name="T11" fmla="*/ 146 h 154"/>
                <a:gd name="T12" fmla="*/ 0 w 37"/>
                <a:gd name="T1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54">
                  <a:moveTo>
                    <a:pt x="0" y="0"/>
                  </a:moveTo>
                  <a:lnTo>
                    <a:pt x="2" y="154"/>
                  </a:lnTo>
                  <a:lnTo>
                    <a:pt x="15" y="148"/>
                  </a:lnTo>
                  <a:lnTo>
                    <a:pt x="11" y="124"/>
                  </a:lnTo>
                  <a:lnTo>
                    <a:pt x="20" y="148"/>
                  </a:lnTo>
                  <a:lnTo>
                    <a:pt x="37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39" name="Freeform 138">
              <a:extLst>
                <a:ext uri="{FF2B5EF4-FFF2-40B4-BE49-F238E27FC236}">
                  <a16:creationId xmlns:a16="http://schemas.microsoft.com/office/drawing/2014/main" id="{BD9AD865-E61A-48A2-BE74-F0F9485CF6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6169" y="1811115"/>
              <a:ext cx="1179343" cy="3554922"/>
            </a:xfrm>
            <a:custGeom>
              <a:avLst/>
              <a:gdLst>
                <a:gd name="T0" fmla="*/ 387 w 410"/>
                <a:gd name="T1" fmla="*/ 1230 h 1238"/>
                <a:gd name="T2" fmla="*/ 410 w 410"/>
                <a:gd name="T3" fmla="*/ 1227 h 1238"/>
                <a:gd name="T4" fmla="*/ 409 w 410"/>
                <a:gd name="T5" fmla="*/ 1238 h 1238"/>
                <a:gd name="T6" fmla="*/ 410 w 410"/>
                <a:gd name="T7" fmla="*/ 1227 h 1238"/>
                <a:gd name="T8" fmla="*/ 197 w 410"/>
                <a:gd name="T9" fmla="*/ 1212 h 1238"/>
                <a:gd name="T10" fmla="*/ 198 w 410"/>
                <a:gd name="T11" fmla="*/ 1201 h 1238"/>
                <a:gd name="T12" fmla="*/ 63 w 410"/>
                <a:gd name="T13" fmla="*/ 1121 h 1238"/>
                <a:gd name="T14" fmla="*/ 63 w 410"/>
                <a:gd name="T15" fmla="*/ 1121 h 1238"/>
                <a:gd name="T16" fmla="*/ 79 w 410"/>
                <a:gd name="T17" fmla="*/ 717 h 1238"/>
                <a:gd name="T18" fmla="*/ 1 w 410"/>
                <a:gd name="T19" fmla="*/ 677 h 1238"/>
                <a:gd name="T20" fmla="*/ 1 w 410"/>
                <a:gd name="T21" fmla="*/ 677 h 1238"/>
                <a:gd name="T22" fmla="*/ 1 w 410"/>
                <a:gd name="T23" fmla="*/ 677 h 1238"/>
                <a:gd name="T24" fmla="*/ 1 w 410"/>
                <a:gd name="T25" fmla="*/ 677 h 1238"/>
                <a:gd name="T26" fmla="*/ 1 w 410"/>
                <a:gd name="T27" fmla="*/ 677 h 1238"/>
                <a:gd name="T28" fmla="*/ 1 w 410"/>
                <a:gd name="T29" fmla="*/ 677 h 1238"/>
                <a:gd name="T30" fmla="*/ 1 w 410"/>
                <a:gd name="T31" fmla="*/ 677 h 1238"/>
                <a:gd name="T32" fmla="*/ 1 w 410"/>
                <a:gd name="T33" fmla="*/ 677 h 1238"/>
                <a:gd name="T34" fmla="*/ 1 w 410"/>
                <a:gd name="T35" fmla="*/ 677 h 1238"/>
                <a:gd name="T36" fmla="*/ 1 w 410"/>
                <a:gd name="T37" fmla="*/ 676 h 1238"/>
                <a:gd name="T38" fmla="*/ 1 w 410"/>
                <a:gd name="T39" fmla="*/ 676 h 1238"/>
                <a:gd name="T40" fmla="*/ 1 w 410"/>
                <a:gd name="T41" fmla="*/ 676 h 1238"/>
                <a:gd name="T42" fmla="*/ 0 w 410"/>
                <a:gd name="T43" fmla="*/ 676 h 1238"/>
                <a:gd name="T44" fmla="*/ 0 w 410"/>
                <a:gd name="T45" fmla="*/ 676 h 1238"/>
                <a:gd name="T46" fmla="*/ 0 w 410"/>
                <a:gd name="T47" fmla="*/ 676 h 1238"/>
                <a:gd name="T48" fmla="*/ 0 w 410"/>
                <a:gd name="T49" fmla="*/ 676 h 1238"/>
                <a:gd name="T50" fmla="*/ 0 w 410"/>
                <a:gd name="T51" fmla="*/ 676 h 1238"/>
                <a:gd name="T52" fmla="*/ 0 w 410"/>
                <a:gd name="T53" fmla="*/ 675 h 1238"/>
                <a:gd name="T54" fmla="*/ 246 w 410"/>
                <a:gd name="T55" fmla="*/ 107 h 1238"/>
                <a:gd name="T56" fmla="*/ 248 w 410"/>
                <a:gd name="T57" fmla="*/ 111 h 1238"/>
                <a:gd name="T58" fmla="*/ 219 w 410"/>
                <a:gd name="T59" fmla="*/ 64 h 1238"/>
                <a:gd name="T60" fmla="*/ 184 w 410"/>
                <a:gd name="T61" fmla="*/ 114 h 1238"/>
                <a:gd name="T62" fmla="*/ 256 w 410"/>
                <a:gd name="T63" fmla="*/ 0 h 1238"/>
                <a:gd name="T64" fmla="*/ 256 w 410"/>
                <a:gd name="T65" fmla="*/ 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0" h="1238">
                  <a:moveTo>
                    <a:pt x="390" y="1229"/>
                  </a:moveTo>
                  <a:cubicBezTo>
                    <a:pt x="389" y="1229"/>
                    <a:pt x="388" y="1230"/>
                    <a:pt x="387" y="1230"/>
                  </a:cubicBezTo>
                  <a:cubicBezTo>
                    <a:pt x="388" y="1230"/>
                    <a:pt x="389" y="1229"/>
                    <a:pt x="390" y="1229"/>
                  </a:cubicBezTo>
                  <a:moveTo>
                    <a:pt x="410" y="1227"/>
                  </a:moveTo>
                  <a:cubicBezTo>
                    <a:pt x="410" y="1227"/>
                    <a:pt x="410" y="1227"/>
                    <a:pt x="410" y="1227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10" y="1227"/>
                    <a:pt x="410" y="1227"/>
                    <a:pt x="410" y="1227"/>
                  </a:cubicBezTo>
                  <a:moveTo>
                    <a:pt x="198" y="1201"/>
                  </a:moveTo>
                  <a:cubicBezTo>
                    <a:pt x="197" y="1212"/>
                    <a:pt x="197" y="1212"/>
                    <a:pt x="197" y="1212"/>
                  </a:cubicBezTo>
                  <a:cubicBezTo>
                    <a:pt x="197" y="1212"/>
                    <a:pt x="197" y="1212"/>
                    <a:pt x="197" y="1212"/>
                  </a:cubicBezTo>
                  <a:cubicBezTo>
                    <a:pt x="198" y="1201"/>
                    <a:pt x="198" y="1201"/>
                    <a:pt x="198" y="1201"/>
                  </a:cubicBezTo>
                  <a:cubicBezTo>
                    <a:pt x="198" y="1201"/>
                    <a:pt x="198" y="1201"/>
                    <a:pt x="198" y="1201"/>
                  </a:cubicBezTo>
                  <a:moveTo>
                    <a:pt x="63" y="1121"/>
                  </a:moveTo>
                  <a:cubicBezTo>
                    <a:pt x="63" y="1121"/>
                    <a:pt x="63" y="1121"/>
                    <a:pt x="63" y="1121"/>
                  </a:cubicBezTo>
                  <a:cubicBezTo>
                    <a:pt x="63" y="1121"/>
                    <a:pt x="63" y="1121"/>
                    <a:pt x="63" y="1121"/>
                  </a:cubicBezTo>
                  <a:moveTo>
                    <a:pt x="2" y="677"/>
                  </a:moveTo>
                  <a:cubicBezTo>
                    <a:pt x="24" y="701"/>
                    <a:pt x="51" y="713"/>
                    <a:pt x="79" y="717"/>
                  </a:cubicBezTo>
                  <a:cubicBezTo>
                    <a:pt x="51" y="713"/>
                    <a:pt x="24" y="701"/>
                    <a:pt x="2" y="677"/>
                  </a:cubicBezTo>
                  <a:moveTo>
                    <a:pt x="1" y="677"/>
                  </a:moveTo>
                  <a:cubicBezTo>
                    <a:pt x="1" y="677"/>
                    <a:pt x="2" y="677"/>
                    <a:pt x="2" y="677"/>
                  </a:cubicBezTo>
                  <a:cubicBezTo>
                    <a:pt x="2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6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6"/>
                  </a:cubicBezTo>
                  <a:moveTo>
                    <a:pt x="1" y="676"/>
                  </a:moveTo>
                  <a:cubicBezTo>
                    <a:pt x="1" y="676"/>
                    <a:pt x="1" y="676"/>
                    <a:pt x="1" y="676"/>
                  </a:cubicBezTo>
                  <a:cubicBezTo>
                    <a:pt x="1" y="676"/>
                    <a:pt x="1" y="676"/>
                    <a:pt x="1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5"/>
                  </a:moveTo>
                  <a:cubicBezTo>
                    <a:pt x="0" y="675"/>
                    <a:pt x="0" y="675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moveTo>
                    <a:pt x="246" y="107"/>
                  </a:moveTo>
                  <a:cubicBezTo>
                    <a:pt x="246" y="107"/>
                    <a:pt x="246" y="107"/>
                    <a:pt x="246" y="107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6" y="107"/>
                    <a:pt x="246" y="107"/>
                    <a:pt x="246" y="107"/>
                  </a:cubicBezTo>
                  <a:moveTo>
                    <a:pt x="219" y="64"/>
                  </a:moveTo>
                  <a:cubicBezTo>
                    <a:pt x="208" y="70"/>
                    <a:pt x="184" y="86"/>
                    <a:pt x="184" y="114"/>
                  </a:cubicBezTo>
                  <a:cubicBezTo>
                    <a:pt x="184" y="114"/>
                    <a:pt x="184" y="114"/>
                    <a:pt x="184" y="114"/>
                  </a:cubicBezTo>
                  <a:cubicBezTo>
                    <a:pt x="184" y="86"/>
                    <a:pt x="208" y="70"/>
                    <a:pt x="219" y="64"/>
                  </a:cubicBezTo>
                  <a:moveTo>
                    <a:pt x="256" y="0"/>
                  </a:moveTo>
                  <a:cubicBezTo>
                    <a:pt x="158" y="49"/>
                    <a:pt x="158" y="49"/>
                    <a:pt x="158" y="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0"/>
                    <a:pt x="256" y="0"/>
                    <a:pt x="256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0" name="Freeform 139">
              <a:extLst>
                <a:ext uri="{FF2B5EF4-FFF2-40B4-BE49-F238E27FC236}">
                  <a16:creationId xmlns:a16="http://schemas.microsoft.com/office/drawing/2014/main" id="{7462375A-7F4A-4259-BFFD-8F4B8F121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2806" y="5260080"/>
              <a:ext cx="128991" cy="89065"/>
            </a:xfrm>
            <a:custGeom>
              <a:avLst/>
              <a:gdLst>
                <a:gd name="T0" fmla="*/ 1 w 45"/>
                <a:gd name="T1" fmla="*/ 0 h 31"/>
                <a:gd name="T2" fmla="*/ 0 w 45"/>
                <a:gd name="T3" fmla="*/ 11 h 31"/>
                <a:gd name="T4" fmla="*/ 42 w 45"/>
                <a:gd name="T5" fmla="*/ 31 h 31"/>
                <a:gd name="T6" fmla="*/ 45 w 45"/>
                <a:gd name="T7" fmla="*/ 14 h 31"/>
                <a:gd name="T8" fmla="*/ 1 w 4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1">
                  <a:moveTo>
                    <a:pt x="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4" y="19"/>
                    <a:pt x="28" y="26"/>
                    <a:pt x="42" y="31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29" y="10"/>
                    <a:pt x="15" y="5"/>
                    <a:pt x="1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1" name="Freeform 140">
              <a:extLst>
                <a:ext uri="{FF2B5EF4-FFF2-40B4-BE49-F238E27FC236}">
                  <a16:creationId xmlns:a16="http://schemas.microsoft.com/office/drawing/2014/main" id="{0D97D0D3-C7A9-44D9-A719-809C1CDE30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92440" y="5321503"/>
              <a:ext cx="125919" cy="44533"/>
            </a:xfrm>
            <a:custGeom>
              <a:avLst/>
              <a:gdLst>
                <a:gd name="T0" fmla="*/ 44 w 44"/>
                <a:gd name="T1" fmla="*/ 0 h 16"/>
                <a:gd name="T2" fmla="*/ 1 w 44"/>
                <a:gd name="T3" fmla="*/ 5 h 16"/>
                <a:gd name="T4" fmla="*/ 1 w 44"/>
                <a:gd name="T5" fmla="*/ 5 h 16"/>
                <a:gd name="T6" fmla="*/ 0 w 44"/>
                <a:gd name="T7" fmla="*/ 16 h 16"/>
                <a:gd name="T8" fmla="*/ 43 w 44"/>
                <a:gd name="T9" fmla="*/ 6 h 16"/>
                <a:gd name="T10" fmla="*/ 44 w 4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6">
                  <a:moveTo>
                    <a:pt x="44" y="0"/>
                  </a:moveTo>
                  <a:cubicBezTo>
                    <a:pt x="31" y="2"/>
                    <a:pt x="17" y="3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4" y="13"/>
                    <a:pt x="28" y="9"/>
                    <a:pt x="43" y="6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2" name="Freeform 141">
              <a:extLst>
                <a:ext uri="{FF2B5EF4-FFF2-40B4-BE49-F238E27FC236}">
                  <a16:creationId xmlns:a16="http://schemas.microsoft.com/office/drawing/2014/main" id="{A04263BC-7CA4-4B3E-9457-AB468EB2A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5952" y="1989244"/>
              <a:ext cx="182737" cy="190414"/>
            </a:xfrm>
            <a:custGeom>
              <a:avLst/>
              <a:gdLst>
                <a:gd name="T0" fmla="*/ 38 w 64"/>
                <a:gd name="T1" fmla="*/ 0 h 66"/>
                <a:gd name="T2" fmla="*/ 35 w 64"/>
                <a:gd name="T3" fmla="*/ 2 h 66"/>
                <a:gd name="T4" fmla="*/ 0 w 64"/>
                <a:gd name="T5" fmla="*/ 52 h 66"/>
                <a:gd name="T6" fmla="*/ 25 w 64"/>
                <a:gd name="T7" fmla="*/ 60 h 66"/>
                <a:gd name="T8" fmla="*/ 32 w 64"/>
                <a:gd name="T9" fmla="*/ 47 h 66"/>
                <a:gd name="T10" fmla="*/ 32 w 64"/>
                <a:gd name="T11" fmla="*/ 60 h 66"/>
                <a:gd name="T12" fmla="*/ 63 w 64"/>
                <a:gd name="T13" fmla="*/ 66 h 66"/>
                <a:gd name="T14" fmla="*/ 64 w 64"/>
                <a:gd name="T15" fmla="*/ 49 h 66"/>
                <a:gd name="T16" fmla="*/ 62 w 64"/>
                <a:gd name="T17" fmla="*/ 45 h 66"/>
                <a:gd name="T18" fmla="*/ 51 w 64"/>
                <a:gd name="T19" fmla="*/ 49 h 66"/>
                <a:gd name="T20" fmla="*/ 49 w 64"/>
                <a:gd name="T21" fmla="*/ 49 h 66"/>
                <a:gd name="T22" fmla="*/ 46 w 64"/>
                <a:gd name="T23" fmla="*/ 48 h 66"/>
                <a:gd name="T24" fmla="*/ 46 w 64"/>
                <a:gd name="T25" fmla="*/ 48 h 66"/>
                <a:gd name="T26" fmla="*/ 33 w 64"/>
                <a:gd name="T27" fmla="*/ 21 h 66"/>
                <a:gd name="T28" fmla="*/ 39 w 64"/>
                <a:gd name="T29" fmla="*/ 18 h 66"/>
                <a:gd name="T30" fmla="*/ 51 w 64"/>
                <a:gd name="T31" fmla="*/ 25 h 66"/>
                <a:gd name="T32" fmla="*/ 50 w 64"/>
                <a:gd name="T33" fmla="*/ 23 h 66"/>
                <a:gd name="T34" fmla="*/ 38 w 64"/>
                <a:gd name="T3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66">
                  <a:moveTo>
                    <a:pt x="38" y="0"/>
                  </a:moveTo>
                  <a:cubicBezTo>
                    <a:pt x="37" y="1"/>
                    <a:pt x="36" y="1"/>
                    <a:pt x="35" y="2"/>
                  </a:cubicBezTo>
                  <a:cubicBezTo>
                    <a:pt x="24" y="8"/>
                    <a:pt x="0" y="24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0" y="46"/>
                    <a:pt x="57" y="49"/>
                    <a:pt x="51" y="49"/>
                  </a:cubicBezTo>
                  <a:cubicBezTo>
                    <a:pt x="50" y="49"/>
                    <a:pt x="49" y="49"/>
                    <a:pt x="49" y="49"/>
                  </a:cubicBezTo>
                  <a:cubicBezTo>
                    <a:pt x="48" y="49"/>
                    <a:pt x="47" y="49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35" y="45"/>
                    <a:pt x="27" y="28"/>
                    <a:pt x="33" y="21"/>
                  </a:cubicBezTo>
                  <a:cubicBezTo>
                    <a:pt x="35" y="19"/>
                    <a:pt x="37" y="18"/>
                    <a:pt x="39" y="18"/>
                  </a:cubicBezTo>
                  <a:cubicBezTo>
                    <a:pt x="45" y="18"/>
                    <a:pt x="50" y="23"/>
                    <a:pt x="51" y="25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3" name="Freeform 142">
              <a:extLst>
                <a:ext uri="{FF2B5EF4-FFF2-40B4-BE49-F238E27FC236}">
                  <a16:creationId xmlns:a16="http://schemas.microsoft.com/office/drawing/2014/main" id="{98F98A84-F494-4B9D-8338-A140A8ECEE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7369" y="2503672"/>
              <a:ext cx="1512569" cy="2842402"/>
            </a:xfrm>
            <a:custGeom>
              <a:avLst/>
              <a:gdLst>
                <a:gd name="T0" fmla="*/ 390 w 526"/>
                <a:gd name="T1" fmla="*/ 981 h 990"/>
                <a:gd name="T2" fmla="*/ 168 w 526"/>
                <a:gd name="T3" fmla="*/ 447 h 990"/>
                <a:gd name="T4" fmla="*/ 112 w 526"/>
                <a:gd name="T5" fmla="*/ 468 h 990"/>
                <a:gd name="T6" fmla="*/ 0 w 526"/>
                <a:gd name="T7" fmla="*/ 880 h 990"/>
                <a:gd name="T8" fmla="*/ 0 w 526"/>
                <a:gd name="T9" fmla="*/ 880 h 990"/>
                <a:gd name="T10" fmla="*/ 135 w 526"/>
                <a:gd name="T11" fmla="*/ 960 h 990"/>
                <a:gd name="T12" fmla="*/ 135 w 526"/>
                <a:gd name="T13" fmla="*/ 960 h 990"/>
                <a:gd name="T14" fmla="*/ 179 w 526"/>
                <a:gd name="T15" fmla="*/ 974 h 990"/>
                <a:gd name="T16" fmla="*/ 290 w 526"/>
                <a:gd name="T17" fmla="*/ 990 h 990"/>
                <a:gd name="T18" fmla="*/ 327 w 526"/>
                <a:gd name="T19" fmla="*/ 988 h 990"/>
                <a:gd name="T20" fmla="*/ 347 w 526"/>
                <a:gd name="T21" fmla="*/ 986 h 990"/>
                <a:gd name="T22" fmla="*/ 390 w 526"/>
                <a:gd name="T23" fmla="*/ 981 h 990"/>
                <a:gd name="T24" fmla="*/ 526 w 526"/>
                <a:gd name="T25" fmla="*/ 936 h 990"/>
                <a:gd name="T26" fmla="*/ 477 w 526"/>
                <a:gd name="T27" fmla="*/ 897 h 990"/>
                <a:gd name="T28" fmla="*/ 477 w 526"/>
                <a:gd name="T29" fmla="*/ 896 h 990"/>
                <a:gd name="T30" fmla="*/ 477 w 526"/>
                <a:gd name="T31" fmla="*/ 896 h 990"/>
                <a:gd name="T32" fmla="*/ 477 w 526"/>
                <a:gd name="T33" fmla="*/ 896 h 990"/>
                <a:gd name="T34" fmla="*/ 477 w 526"/>
                <a:gd name="T35" fmla="*/ 896 h 990"/>
                <a:gd name="T36" fmla="*/ 477 w 526"/>
                <a:gd name="T37" fmla="*/ 896 h 990"/>
                <a:gd name="T38" fmla="*/ 477 w 526"/>
                <a:gd name="T39" fmla="*/ 896 h 990"/>
                <a:gd name="T40" fmla="*/ 476 w 526"/>
                <a:gd name="T41" fmla="*/ 896 h 990"/>
                <a:gd name="T42" fmla="*/ 476 w 526"/>
                <a:gd name="T43" fmla="*/ 895 h 990"/>
                <a:gd name="T44" fmla="*/ 479 w 526"/>
                <a:gd name="T45" fmla="*/ 828 h 990"/>
                <a:gd name="T46" fmla="*/ 227 w 526"/>
                <a:gd name="T47" fmla="*/ 252 h 990"/>
                <a:gd name="T48" fmla="*/ 227 w 526"/>
                <a:gd name="T49" fmla="*/ 352 h 990"/>
                <a:gd name="T50" fmla="*/ 201 w 526"/>
                <a:gd name="T51" fmla="*/ 260 h 990"/>
                <a:gd name="T52" fmla="*/ 182 w 526"/>
                <a:gd name="T53" fmla="*/ 234 h 990"/>
                <a:gd name="T54" fmla="*/ 201 w 526"/>
                <a:gd name="T55" fmla="*/ 194 h 990"/>
                <a:gd name="T56" fmla="*/ 222 w 526"/>
                <a:gd name="T57" fmla="*/ 189 h 990"/>
                <a:gd name="T58" fmla="*/ 8 w 526"/>
                <a:gd name="T59" fmla="*/ 80 h 990"/>
                <a:gd name="T60" fmla="*/ 185 w 526"/>
                <a:gd name="T61" fmla="*/ 0 h 990"/>
                <a:gd name="T62" fmla="*/ 87 w 526"/>
                <a:gd name="T63" fmla="*/ 32 h 990"/>
                <a:gd name="T64" fmla="*/ 44 w 526"/>
                <a:gd name="T65" fmla="*/ 201 h 990"/>
                <a:gd name="T66" fmla="*/ 186 w 526"/>
                <a:gd name="T67" fmla="*/ 179 h 990"/>
                <a:gd name="T68" fmla="*/ 202 w 526"/>
                <a:gd name="T69" fmla="*/ 179 h 990"/>
                <a:gd name="T70" fmla="*/ 217 w 526"/>
                <a:gd name="T71" fmla="*/ 101 h 990"/>
                <a:gd name="T72" fmla="*/ 185 w 526"/>
                <a:gd name="T73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6" h="990">
                  <a:moveTo>
                    <a:pt x="390" y="981"/>
                  </a:moveTo>
                  <a:cubicBezTo>
                    <a:pt x="390" y="981"/>
                    <a:pt x="390" y="981"/>
                    <a:pt x="390" y="981"/>
                  </a:cubicBezTo>
                  <a:moveTo>
                    <a:pt x="182" y="234"/>
                  </a:moveTo>
                  <a:cubicBezTo>
                    <a:pt x="168" y="447"/>
                    <a:pt x="168" y="447"/>
                    <a:pt x="168" y="447"/>
                  </a:cubicBezTo>
                  <a:cubicBezTo>
                    <a:pt x="168" y="447"/>
                    <a:pt x="145" y="458"/>
                    <a:pt x="112" y="468"/>
                  </a:cubicBezTo>
                  <a:cubicBezTo>
                    <a:pt x="112" y="468"/>
                    <a:pt x="112" y="468"/>
                    <a:pt x="112" y="468"/>
                  </a:cubicBezTo>
                  <a:cubicBezTo>
                    <a:pt x="107" y="469"/>
                    <a:pt x="103" y="470"/>
                    <a:pt x="98" y="471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52" y="927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49" y="965"/>
                    <a:pt x="163" y="970"/>
                    <a:pt x="179" y="974"/>
                  </a:cubicBezTo>
                  <a:cubicBezTo>
                    <a:pt x="179" y="974"/>
                    <a:pt x="179" y="974"/>
                    <a:pt x="179" y="974"/>
                  </a:cubicBezTo>
                  <a:cubicBezTo>
                    <a:pt x="178" y="974"/>
                    <a:pt x="178" y="974"/>
                    <a:pt x="178" y="974"/>
                  </a:cubicBezTo>
                  <a:cubicBezTo>
                    <a:pt x="212" y="984"/>
                    <a:pt x="250" y="990"/>
                    <a:pt x="290" y="990"/>
                  </a:cubicBezTo>
                  <a:cubicBezTo>
                    <a:pt x="301" y="990"/>
                    <a:pt x="312" y="990"/>
                    <a:pt x="324" y="989"/>
                  </a:cubicBezTo>
                  <a:cubicBezTo>
                    <a:pt x="325" y="989"/>
                    <a:pt x="326" y="988"/>
                    <a:pt x="327" y="988"/>
                  </a:cubicBezTo>
                  <a:cubicBezTo>
                    <a:pt x="327" y="988"/>
                    <a:pt x="327" y="988"/>
                    <a:pt x="327" y="988"/>
                  </a:cubicBezTo>
                  <a:cubicBezTo>
                    <a:pt x="334" y="988"/>
                    <a:pt x="341" y="987"/>
                    <a:pt x="347" y="986"/>
                  </a:cubicBezTo>
                  <a:cubicBezTo>
                    <a:pt x="347" y="986"/>
                    <a:pt x="347" y="986"/>
                    <a:pt x="347" y="986"/>
                  </a:cubicBezTo>
                  <a:cubicBezTo>
                    <a:pt x="363" y="984"/>
                    <a:pt x="377" y="983"/>
                    <a:pt x="390" y="981"/>
                  </a:cubicBezTo>
                  <a:cubicBezTo>
                    <a:pt x="390" y="981"/>
                    <a:pt x="390" y="981"/>
                    <a:pt x="390" y="981"/>
                  </a:cubicBezTo>
                  <a:cubicBezTo>
                    <a:pt x="481" y="966"/>
                    <a:pt x="514" y="947"/>
                    <a:pt x="526" y="936"/>
                  </a:cubicBezTo>
                  <a:cubicBezTo>
                    <a:pt x="508" y="927"/>
                    <a:pt x="491" y="914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9" y="828"/>
                    <a:pt x="479" y="828"/>
                    <a:pt x="479" y="828"/>
                  </a:cubicBezTo>
                  <a:cubicBezTo>
                    <a:pt x="459" y="810"/>
                    <a:pt x="440" y="790"/>
                    <a:pt x="422" y="768"/>
                  </a:cubicBezTo>
                  <a:cubicBezTo>
                    <a:pt x="288" y="615"/>
                    <a:pt x="245" y="437"/>
                    <a:pt x="227" y="252"/>
                  </a:cubicBezTo>
                  <a:cubicBezTo>
                    <a:pt x="227" y="252"/>
                    <a:pt x="227" y="252"/>
                    <a:pt x="227" y="252"/>
                  </a:cubicBezTo>
                  <a:cubicBezTo>
                    <a:pt x="227" y="352"/>
                    <a:pt x="227" y="352"/>
                    <a:pt x="227" y="352"/>
                  </a:cubicBezTo>
                  <a:cubicBezTo>
                    <a:pt x="191" y="374"/>
                    <a:pt x="191" y="374"/>
                    <a:pt x="191" y="374"/>
                  </a:cubicBezTo>
                  <a:cubicBezTo>
                    <a:pt x="201" y="260"/>
                    <a:pt x="201" y="260"/>
                    <a:pt x="201" y="260"/>
                  </a:cubicBezTo>
                  <a:cubicBezTo>
                    <a:pt x="190" y="264"/>
                    <a:pt x="180" y="267"/>
                    <a:pt x="180" y="267"/>
                  </a:cubicBezTo>
                  <a:cubicBezTo>
                    <a:pt x="182" y="234"/>
                    <a:pt x="182" y="234"/>
                    <a:pt x="182" y="234"/>
                  </a:cubicBezTo>
                  <a:moveTo>
                    <a:pt x="222" y="189"/>
                  </a:moveTo>
                  <a:cubicBezTo>
                    <a:pt x="201" y="194"/>
                    <a:pt x="201" y="194"/>
                    <a:pt x="201" y="194"/>
                  </a:cubicBezTo>
                  <a:cubicBezTo>
                    <a:pt x="222" y="189"/>
                    <a:pt x="222" y="189"/>
                    <a:pt x="222" y="189"/>
                  </a:cubicBezTo>
                  <a:cubicBezTo>
                    <a:pt x="222" y="189"/>
                    <a:pt x="222" y="189"/>
                    <a:pt x="222" y="189"/>
                  </a:cubicBezTo>
                  <a:moveTo>
                    <a:pt x="85" y="34"/>
                  </a:moveTo>
                  <a:cubicBezTo>
                    <a:pt x="56" y="47"/>
                    <a:pt x="30" y="62"/>
                    <a:pt x="8" y="80"/>
                  </a:cubicBezTo>
                  <a:cubicBezTo>
                    <a:pt x="30" y="63"/>
                    <a:pt x="55" y="47"/>
                    <a:pt x="85" y="34"/>
                  </a:cubicBezTo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50" y="7"/>
                    <a:pt x="117" y="19"/>
                    <a:pt x="87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44" y="201"/>
                    <a:pt x="44" y="201"/>
                    <a:pt x="44" y="201"/>
                  </a:cubicBezTo>
                  <a:cubicBezTo>
                    <a:pt x="155" y="184"/>
                    <a:pt x="155" y="184"/>
                    <a:pt x="155" y="184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85" y="194"/>
                    <a:pt x="185" y="194"/>
                    <a:pt x="185" y="194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17" y="101"/>
                    <a:pt x="217" y="101"/>
                    <a:pt x="217" y="101"/>
                  </a:cubicBezTo>
                  <a:cubicBezTo>
                    <a:pt x="216" y="73"/>
                    <a:pt x="215" y="44"/>
                    <a:pt x="213" y="16"/>
                  </a:cubicBezTo>
                  <a:cubicBezTo>
                    <a:pt x="197" y="7"/>
                    <a:pt x="185" y="0"/>
                    <a:pt x="185" y="0"/>
                  </a:cubicBezTo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4" name="Freeform 143">
              <a:extLst>
                <a:ext uri="{FF2B5EF4-FFF2-40B4-BE49-F238E27FC236}">
                  <a16:creationId xmlns:a16="http://schemas.microsoft.com/office/drawing/2014/main" id="{7EAC5745-AB28-4553-8E91-FB013DF85F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899" y="2595809"/>
              <a:ext cx="853795" cy="1280694"/>
            </a:xfrm>
            <a:custGeom>
              <a:avLst/>
              <a:gdLst>
                <a:gd name="T0" fmla="*/ 229 w 297"/>
                <a:gd name="T1" fmla="*/ 0 h 446"/>
                <a:gd name="T2" fmla="*/ 229 w 297"/>
                <a:gd name="T3" fmla="*/ 0 h 446"/>
                <a:gd name="T4" fmla="*/ 228 w 297"/>
                <a:gd name="T5" fmla="*/ 1 h 446"/>
                <a:gd name="T6" fmla="*/ 227 w 297"/>
                <a:gd name="T7" fmla="*/ 2 h 446"/>
                <a:gd name="T8" fmla="*/ 150 w 297"/>
                <a:gd name="T9" fmla="*/ 48 h 446"/>
                <a:gd name="T10" fmla="*/ 147 w 297"/>
                <a:gd name="T11" fmla="*/ 50 h 446"/>
                <a:gd name="T12" fmla="*/ 79 w 297"/>
                <a:gd name="T13" fmla="*/ 402 h 446"/>
                <a:gd name="T14" fmla="*/ 79 w 297"/>
                <a:gd name="T15" fmla="*/ 402 h 446"/>
                <a:gd name="T16" fmla="*/ 79 w 297"/>
                <a:gd name="T17" fmla="*/ 403 h 446"/>
                <a:gd name="T18" fmla="*/ 79 w 297"/>
                <a:gd name="T19" fmla="*/ 403 h 446"/>
                <a:gd name="T20" fmla="*/ 79 w 297"/>
                <a:gd name="T21" fmla="*/ 403 h 446"/>
                <a:gd name="T22" fmla="*/ 79 w 297"/>
                <a:gd name="T23" fmla="*/ 403 h 446"/>
                <a:gd name="T24" fmla="*/ 79 w 297"/>
                <a:gd name="T25" fmla="*/ 403 h 446"/>
                <a:gd name="T26" fmla="*/ 79 w 297"/>
                <a:gd name="T27" fmla="*/ 403 h 446"/>
                <a:gd name="T28" fmla="*/ 80 w 297"/>
                <a:gd name="T29" fmla="*/ 403 h 446"/>
                <a:gd name="T30" fmla="*/ 80 w 297"/>
                <a:gd name="T31" fmla="*/ 403 h 446"/>
                <a:gd name="T32" fmla="*/ 80 w 297"/>
                <a:gd name="T33" fmla="*/ 403 h 446"/>
                <a:gd name="T34" fmla="*/ 80 w 297"/>
                <a:gd name="T35" fmla="*/ 404 h 446"/>
                <a:gd name="T36" fmla="*/ 80 w 297"/>
                <a:gd name="T37" fmla="*/ 404 h 446"/>
                <a:gd name="T38" fmla="*/ 80 w 297"/>
                <a:gd name="T39" fmla="*/ 404 h 446"/>
                <a:gd name="T40" fmla="*/ 80 w 297"/>
                <a:gd name="T41" fmla="*/ 404 h 446"/>
                <a:gd name="T42" fmla="*/ 80 w 297"/>
                <a:gd name="T43" fmla="*/ 404 h 446"/>
                <a:gd name="T44" fmla="*/ 80 w 297"/>
                <a:gd name="T45" fmla="*/ 404 h 446"/>
                <a:gd name="T46" fmla="*/ 80 w 297"/>
                <a:gd name="T47" fmla="*/ 404 h 446"/>
                <a:gd name="T48" fmla="*/ 80 w 297"/>
                <a:gd name="T49" fmla="*/ 404 h 446"/>
                <a:gd name="T50" fmla="*/ 80 w 297"/>
                <a:gd name="T51" fmla="*/ 404 h 446"/>
                <a:gd name="T52" fmla="*/ 80 w 297"/>
                <a:gd name="T53" fmla="*/ 404 h 446"/>
                <a:gd name="T54" fmla="*/ 80 w 297"/>
                <a:gd name="T55" fmla="*/ 404 h 446"/>
                <a:gd name="T56" fmla="*/ 80 w 297"/>
                <a:gd name="T57" fmla="*/ 404 h 446"/>
                <a:gd name="T58" fmla="*/ 81 w 297"/>
                <a:gd name="T59" fmla="*/ 404 h 446"/>
                <a:gd name="T60" fmla="*/ 81 w 297"/>
                <a:gd name="T61" fmla="*/ 404 h 446"/>
                <a:gd name="T62" fmla="*/ 81 w 297"/>
                <a:gd name="T63" fmla="*/ 404 h 446"/>
                <a:gd name="T64" fmla="*/ 158 w 297"/>
                <a:gd name="T65" fmla="*/ 444 h 446"/>
                <a:gd name="T66" fmla="*/ 185 w 297"/>
                <a:gd name="T67" fmla="*/ 446 h 446"/>
                <a:gd name="T68" fmla="*/ 240 w 297"/>
                <a:gd name="T69" fmla="*/ 439 h 446"/>
                <a:gd name="T70" fmla="*/ 240 w 297"/>
                <a:gd name="T71" fmla="*/ 439 h 446"/>
                <a:gd name="T72" fmla="*/ 254 w 297"/>
                <a:gd name="T73" fmla="*/ 436 h 446"/>
                <a:gd name="T74" fmla="*/ 254 w 297"/>
                <a:gd name="T75" fmla="*/ 436 h 446"/>
                <a:gd name="T76" fmla="*/ 254 w 297"/>
                <a:gd name="T77" fmla="*/ 436 h 446"/>
                <a:gd name="T78" fmla="*/ 297 w 297"/>
                <a:gd name="T79" fmla="*/ 152 h 446"/>
                <a:gd name="T80" fmla="*/ 186 w 297"/>
                <a:gd name="T81" fmla="*/ 169 h 446"/>
                <a:gd name="T82" fmla="*/ 229 w 297"/>
                <a:gd name="T83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7" h="446">
                  <a:moveTo>
                    <a:pt x="229" y="0"/>
                  </a:moveTo>
                  <a:cubicBezTo>
                    <a:pt x="229" y="0"/>
                    <a:pt x="229" y="0"/>
                    <a:pt x="229" y="0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8" y="1"/>
                    <a:pt x="227" y="1"/>
                    <a:pt x="227" y="2"/>
                  </a:cubicBezTo>
                  <a:cubicBezTo>
                    <a:pt x="197" y="15"/>
                    <a:pt x="172" y="31"/>
                    <a:pt x="150" y="48"/>
                  </a:cubicBezTo>
                  <a:cubicBezTo>
                    <a:pt x="149" y="48"/>
                    <a:pt x="148" y="49"/>
                    <a:pt x="147" y="50"/>
                  </a:cubicBezTo>
                  <a:cubicBezTo>
                    <a:pt x="0" y="162"/>
                    <a:pt x="10" y="327"/>
                    <a:pt x="79" y="402"/>
                  </a:cubicBezTo>
                  <a:cubicBezTo>
                    <a:pt x="79" y="402"/>
                    <a:pt x="79" y="402"/>
                    <a:pt x="79" y="402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103" y="428"/>
                    <a:pt x="130" y="440"/>
                    <a:pt x="158" y="444"/>
                  </a:cubicBezTo>
                  <a:cubicBezTo>
                    <a:pt x="167" y="445"/>
                    <a:pt x="176" y="446"/>
                    <a:pt x="185" y="446"/>
                  </a:cubicBezTo>
                  <a:cubicBezTo>
                    <a:pt x="204" y="446"/>
                    <a:pt x="223" y="443"/>
                    <a:pt x="240" y="439"/>
                  </a:cubicBezTo>
                  <a:cubicBezTo>
                    <a:pt x="240" y="439"/>
                    <a:pt x="240" y="439"/>
                    <a:pt x="240" y="439"/>
                  </a:cubicBezTo>
                  <a:cubicBezTo>
                    <a:pt x="245" y="438"/>
                    <a:pt x="249" y="437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97" y="152"/>
                    <a:pt x="297" y="152"/>
                    <a:pt x="297" y="152"/>
                  </a:cubicBezTo>
                  <a:cubicBezTo>
                    <a:pt x="186" y="169"/>
                    <a:pt x="186" y="169"/>
                    <a:pt x="186" y="169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5" name="Freeform 144">
              <a:extLst>
                <a:ext uri="{FF2B5EF4-FFF2-40B4-BE49-F238E27FC236}">
                  <a16:creationId xmlns:a16="http://schemas.microsoft.com/office/drawing/2014/main" id="{BFBE0E2F-C4C6-4018-A472-347FB859A0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846" y="3018099"/>
              <a:ext cx="211913" cy="829226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0 w 74"/>
                <a:gd name="T7" fmla="*/ 289 h 289"/>
                <a:gd name="T8" fmla="*/ 56 w 74"/>
                <a:gd name="T9" fmla="*/ 268 h 289"/>
                <a:gd name="T10" fmla="*/ 70 w 74"/>
                <a:gd name="T11" fmla="*/ 55 h 289"/>
                <a:gd name="T12" fmla="*/ 73 w 74"/>
                <a:gd name="T13" fmla="*/ 15 h 289"/>
                <a:gd name="T14" fmla="*/ 73 w 74"/>
                <a:gd name="T15" fmla="*/ 15 h 289"/>
                <a:gd name="T16" fmla="*/ 74 w 74"/>
                <a:gd name="T17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1E21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6" name="Freeform 145">
              <a:extLst>
                <a:ext uri="{FF2B5EF4-FFF2-40B4-BE49-F238E27FC236}">
                  <a16:creationId xmlns:a16="http://schemas.microsoft.com/office/drawing/2014/main" id="{CD955D08-1FE7-4C54-BD21-30EA7D61B2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4868" y="3018099"/>
              <a:ext cx="135133" cy="251839"/>
            </a:xfrm>
            <a:custGeom>
              <a:avLst/>
              <a:gdLst>
                <a:gd name="T0" fmla="*/ 22 w 47"/>
                <a:gd name="T1" fmla="*/ 0 h 88"/>
                <a:gd name="T2" fmla="*/ 5 w 47"/>
                <a:gd name="T3" fmla="*/ 15 h 88"/>
                <a:gd name="T4" fmla="*/ 5 w 47"/>
                <a:gd name="T5" fmla="*/ 15 h 88"/>
                <a:gd name="T6" fmla="*/ 2 w 47"/>
                <a:gd name="T7" fmla="*/ 55 h 88"/>
                <a:gd name="T8" fmla="*/ 0 w 47"/>
                <a:gd name="T9" fmla="*/ 88 h 88"/>
                <a:gd name="T10" fmla="*/ 21 w 47"/>
                <a:gd name="T11" fmla="*/ 81 h 88"/>
                <a:gd name="T12" fmla="*/ 21 w 47"/>
                <a:gd name="T13" fmla="*/ 81 h 88"/>
                <a:gd name="T14" fmla="*/ 47 w 47"/>
                <a:gd name="T15" fmla="*/ 73 h 88"/>
                <a:gd name="T16" fmla="*/ 47 w 47"/>
                <a:gd name="T17" fmla="*/ 73 h 88"/>
                <a:gd name="T18" fmla="*/ 42 w 47"/>
                <a:gd name="T19" fmla="*/ 10 h 88"/>
                <a:gd name="T20" fmla="*/ 21 w 47"/>
                <a:gd name="T21" fmla="*/ 15 h 88"/>
                <a:gd name="T22" fmla="*/ 21 w 47"/>
                <a:gd name="T23" fmla="*/ 10 h 88"/>
                <a:gd name="T24" fmla="*/ 20 w 47"/>
                <a:gd name="T25" fmla="*/ 7 h 88"/>
                <a:gd name="T26" fmla="*/ 21 w 47"/>
                <a:gd name="T27" fmla="*/ 7 h 88"/>
                <a:gd name="T28" fmla="*/ 22 w 47"/>
                <a:gd name="T2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88">
                  <a:moveTo>
                    <a:pt x="22" y="0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8"/>
                    <a:pt x="10" y="85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5" y="52"/>
                    <a:pt x="44" y="31"/>
                    <a:pt x="42" y="1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7" name="Freeform 146">
              <a:extLst>
                <a:ext uri="{FF2B5EF4-FFF2-40B4-BE49-F238E27FC236}">
                  <a16:creationId xmlns:a16="http://schemas.microsoft.com/office/drawing/2014/main" id="{9B0B0C7B-0233-40CA-8B91-C95A6ACB4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28688" y="2124378"/>
              <a:ext cx="81387" cy="425363"/>
            </a:xfrm>
            <a:custGeom>
              <a:avLst/>
              <a:gdLst>
                <a:gd name="T0" fmla="*/ 0 w 28"/>
                <a:gd name="T1" fmla="*/ 2 h 148"/>
                <a:gd name="T2" fmla="*/ 0 w 28"/>
                <a:gd name="T3" fmla="*/ 2 h 148"/>
                <a:gd name="T4" fmla="*/ 0 w 28"/>
                <a:gd name="T5" fmla="*/ 0 h 148"/>
                <a:gd name="T6" fmla="*/ 0 w 28"/>
                <a:gd name="T7" fmla="*/ 2 h 148"/>
                <a:gd name="T8" fmla="*/ 0 w 28"/>
                <a:gd name="T9" fmla="*/ 132 h 148"/>
                <a:gd name="T10" fmla="*/ 28 w 28"/>
                <a:gd name="T11" fmla="*/ 148 h 148"/>
                <a:gd name="T12" fmla="*/ 22 w 28"/>
                <a:gd name="T13" fmla="*/ 31 h 148"/>
                <a:gd name="T14" fmla="*/ 14 w 28"/>
                <a:gd name="T15" fmla="*/ 26 h 148"/>
                <a:gd name="T16" fmla="*/ 0 w 28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48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2" y="139"/>
                    <a:pt x="28" y="148"/>
                  </a:cubicBezTo>
                  <a:cubicBezTo>
                    <a:pt x="27" y="109"/>
                    <a:pt x="25" y="70"/>
                    <a:pt x="22" y="31"/>
                  </a:cubicBezTo>
                  <a:cubicBezTo>
                    <a:pt x="17" y="29"/>
                    <a:pt x="14" y="26"/>
                    <a:pt x="14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8" name="Freeform 147">
              <a:extLst>
                <a:ext uri="{FF2B5EF4-FFF2-40B4-BE49-F238E27FC236}">
                  <a16:creationId xmlns:a16="http://schemas.microsoft.com/office/drawing/2014/main" id="{BFFE9954-6DAD-465D-A49E-908C3C0A4A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8013" y="1969282"/>
              <a:ext cx="115171" cy="244162"/>
            </a:xfrm>
            <a:custGeom>
              <a:avLst/>
              <a:gdLst>
                <a:gd name="T0" fmla="*/ 0 w 40"/>
                <a:gd name="T1" fmla="*/ 55 h 85"/>
                <a:gd name="T2" fmla="*/ 3 w 40"/>
                <a:gd name="T3" fmla="*/ 56 h 85"/>
                <a:gd name="T4" fmla="*/ 0 w 40"/>
                <a:gd name="T5" fmla="*/ 55 h 85"/>
                <a:gd name="T6" fmla="*/ 33 w 40"/>
                <a:gd name="T7" fmla="*/ 0 h 85"/>
                <a:gd name="T8" fmla="*/ 4 w 40"/>
                <a:gd name="T9" fmla="*/ 30 h 85"/>
                <a:gd name="T10" fmla="*/ 4 w 40"/>
                <a:gd name="T11" fmla="*/ 30 h 85"/>
                <a:gd name="T12" fmla="*/ 5 w 40"/>
                <a:gd name="T13" fmla="*/ 32 h 85"/>
                <a:gd name="T14" fmla="*/ 5 w 40"/>
                <a:gd name="T15" fmla="*/ 32 h 85"/>
                <a:gd name="T16" fmla="*/ 16 w 40"/>
                <a:gd name="T17" fmla="*/ 51 h 85"/>
                <a:gd name="T18" fmla="*/ 18 w 40"/>
                <a:gd name="T19" fmla="*/ 54 h 85"/>
                <a:gd name="T20" fmla="*/ 18 w 40"/>
                <a:gd name="T21" fmla="*/ 54 h 85"/>
                <a:gd name="T22" fmla="*/ 32 w 40"/>
                <a:gd name="T23" fmla="*/ 80 h 85"/>
                <a:gd name="T24" fmla="*/ 40 w 40"/>
                <a:gd name="T25" fmla="*/ 85 h 85"/>
                <a:gd name="T26" fmla="*/ 37 w 40"/>
                <a:gd name="T27" fmla="*/ 39 h 85"/>
                <a:gd name="T28" fmla="*/ 28 w 40"/>
                <a:gd name="T29" fmla="*/ 27 h 85"/>
                <a:gd name="T30" fmla="*/ 26 w 40"/>
                <a:gd name="T31" fmla="*/ 30 h 85"/>
                <a:gd name="T32" fmla="*/ 25 w 40"/>
                <a:gd name="T33" fmla="*/ 31 h 85"/>
                <a:gd name="T34" fmla="*/ 24 w 40"/>
                <a:gd name="T35" fmla="*/ 30 h 85"/>
                <a:gd name="T36" fmla="*/ 24 w 40"/>
                <a:gd name="T37" fmla="*/ 29 h 85"/>
                <a:gd name="T38" fmla="*/ 30 w 40"/>
                <a:gd name="T39" fmla="*/ 23 h 85"/>
                <a:gd name="T40" fmla="*/ 31 w 40"/>
                <a:gd name="T41" fmla="*/ 23 h 85"/>
                <a:gd name="T42" fmla="*/ 31 w 40"/>
                <a:gd name="T43" fmla="*/ 23 h 85"/>
                <a:gd name="T44" fmla="*/ 31 w 40"/>
                <a:gd name="T45" fmla="*/ 24 h 85"/>
                <a:gd name="T46" fmla="*/ 29 w 40"/>
                <a:gd name="T47" fmla="*/ 26 h 85"/>
                <a:gd name="T48" fmla="*/ 32 w 40"/>
                <a:gd name="T49" fmla="*/ 27 h 85"/>
                <a:gd name="T50" fmla="*/ 32 w 40"/>
                <a:gd name="T51" fmla="*/ 27 h 85"/>
                <a:gd name="T52" fmla="*/ 36 w 40"/>
                <a:gd name="T53" fmla="*/ 27 h 85"/>
                <a:gd name="T54" fmla="*/ 33 w 40"/>
                <a:gd name="T5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" h="85">
                  <a:moveTo>
                    <a:pt x="0" y="55"/>
                  </a:moveTo>
                  <a:cubicBezTo>
                    <a:pt x="1" y="56"/>
                    <a:pt x="2" y="56"/>
                    <a:pt x="3" y="56"/>
                  </a:cubicBezTo>
                  <a:cubicBezTo>
                    <a:pt x="2" y="56"/>
                    <a:pt x="1" y="56"/>
                    <a:pt x="0" y="55"/>
                  </a:cubicBezTo>
                  <a:moveTo>
                    <a:pt x="33" y="0"/>
                  </a:moveTo>
                  <a:cubicBezTo>
                    <a:pt x="26" y="13"/>
                    <a:pt x="14" y="27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5" y="83"/>
                    <a:pt x="40" y="85"/>
                  </a:cubicBezTo>
                  <a:cubicBezTo>
                    <a:pt x="39" y="69"/>
                    <a:pt x="38" y="54"/>
                    <a:pt x="37" y="39"/>
                  </a:cubicBezTo>
                  <a:cubicBezTo>
                    <a:pt x="31" y="34"/>
                    <a:pt x="29" y="29"/>
                    <a:pt x="28" y="27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5" y="31"/>
                    <a:pt x="25" y="31"/>
                  </a:cubicBezTo>
                  <a:cubicBezTo>
                    <a:pt x="25" y="31"/>
                    <a:pt x="24" y="30"/>
                    <a:pt x="24" y="30"/>
                  </a:cubicBezTo>
                  <a:cubicBezTo>
                    <a:pt x="24" y="30"/>
                    <a:pt x="24" y="29"/>
                    <a:pt x="24" y="29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2" y="23"/>
                    <a:pt x="32" y="24"/>
                    <a:pt x="31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18"/>
                    <a:pt x="34" y="9"/>
                    <a:pt x="33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49" name="Freeform 148">
              <a:extLst>
                <a:ext uri="{FF2B5EF4-FFF2-40B4-BE49-F238E27FC236}">
                  <a16:creationId xmlns:a16="http://schemas.microsoft.com/office/drawing/2014/main" id="{22E40D69-ECF5-44AE-BE9C-BAF065B1A5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74756" y="2793901"/>
              <a:ext cx="61424" cy="267195"/>
            </a:xfrm>
            <a:custGeom>
              <a:avLst/>
              <a:gdLst>
                <a:gd name="T0" fmla="*/ 21 w 21"/>
                <a:gd name="T1" fmla="*/ 88 h 93"/>
                <a:gd name="T2" fmla="*/ 2 w 21"/>
                <a:gd name="T3" fmla="*/ 93 h 93"/>
                <a:gd name="T4" fmla="*/ 0 w 21"/>
                <a:gd name="T5" fmla="*/ 88 h 93"/>
                <a:gd name="T6" fmla="*/ 0 w 21"/>
                <a:gd name="T7" fmla="*/ 93 h 93"/>
                <a:gd name="T8" fmla="*/ 21 w 21"/>
                <a:gd name="T9" fmla="*/ 88 h 93"/>
                <a:gd name="T10" fmla="*/ 21 w 21"/>
                <a:gd name="T11" fmla="*/ 88 h 93"/>
                <a:gd name="T12" fmla="*/ 16 w 21"/>
                <a:gd name="T13" fmla="*/ 0 h 93"/>
                <a:gd name="T14" fmla="*/ 3 w 21"/>
                <a:gd name="T15" fmla="*/ 4 h 93"/>
                <a:gd name="T16" fmla="*/ 1 w 21"/>
                <a:gd name="T17" fmla="*/ 78 h 93"/>
                <a:gd name="T18" fmla="*/ 0 w 21"/>
                <a:gd name="T19" fmla="*/ 85 h 93"/>
                <a:gd name="T20" fmla="*/ 21 w 21"/>
                <a:gd name="T21" fmla="*/ 79 h 93"/>
                <a:gd name="T22" fmla="*/ 16 w 21"/>
                <a:gd name="T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93">
                  <a:moveTo>
                    <a:pt x="21" y="88"/>
                  </a:moveTo>
                  <a:cubicBezTo>
                    <a:pt x="2" y="93"/>
                    <a:pt x="2" y="93"/>
                    <a:pt x="2" y="93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moveTo>
                    <a:pt x="16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19" y="53"/>
                    <a:pt x="17" y="26"/>
                    <a:pt x="16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0" name="Freeform 149">
              <a:extLst>
                <a:ext uri="{FF2B5EF4-FFF2-40B4-BE49-F238E27FC236}">
                  <a16:creationId xmlns:a16="http://schemas.microsoft.com/office/drawing/2014/main" id="{4C64D9E0-4B0C-49DA-9DCE-DA6D1FBFF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3226941"/>
              <a:ext cx="102886" cy="350117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1" name="Freeform 150">
              <a:extLst>
                <a:ext uri="{FF2B5EF4-FFF2-40B4-BE49-F238E27FC236}">
                  <a16:creationId xmlns:a16="http://schemas.microsoft.com/office/drawing/2014/main" id="{BA5C6538-F10E-4D32-9313-76659A4F1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3226941"/>
              <a:ext cx="102886" cy="350117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2" name="Freeform 151">
              <a:extLst>
                <a:ext uri="{FF2B5EF4-FFF2-40B4-BE49-F238E27FC236}">
                  <a16:creationId xmlns:a16="http://schemas.microsoft.com/office/drawing/2014/main" id="{44D6DF41-9143-47FD-8399-D1591E7EB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3221" y="3021171"/>
              <a:ext cx="62960" cy="39926"/>
            </a:xfrm>
            <a:custGeom>
              <a:avLst/>
              <a:gdLst>
                <a:gd name="T0" fmla="*/ 22 w 22"/>
                <a:gd name="T1" fmla="*/ 0 h 14"/>
                <a:gd name="T2" fmla="*/ 1 w 22"/>
                <a:gd name="T3" fmla="*/ 6 h 14"/>
                <a:gd name="T4" fmla="*/ 0 w 22"/>
                <a:gd name="T5" fmla="*/ 6 h 14"/>
                <a:gd name="T6" fmla="*/ 1 w 22"/>
                <a:gd name="T7" fmla="*/ 9 h 14"/>
                <a:gd name="T8" fmla="*/ 3 w 22"/>
                <a:gd name="T9" fmla="*/ 14 h 14"/>
                <a:gd name="T10" fmla="*/ 22 w 22"/>
                <a:gd name="T11" fmla="*/ 9 h 14"/>
                <a:gd name="T12" fmla="*/ 22 w 22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4">
                  <a:moveTo>
                    <a:pt x="22" y="0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2" y="3"/>
                    <a:pt x="22" y="0"/>
                  </a:cubicBezTo>
                </a:path>
              </a:pathLst>
            </a:custGeom>
            <a:solidFill>
              <a:srgbClr val="A10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3" name="Freeform 152">
              <a:extLst>
                <a:ext uri="{FF2B5EF4-FFF2-40B4-BE49-F238E27FC236}">
                  <a16:creationId xmlns:a16="http://schemas.microsoft.com/office/drawing/2014/main" id="{B76840F0-B27B-4A75-97DF-6DABC5592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7597"/>
              <a:ext cx="26106" cy="33784"/>
            </a:xfrm>
            <a:custGeom>
              <a:avLst/>
              <a:gdLst>
                <a:gd name="T0" fmla="*/ 1 w 9"/>
                <a:gd name="T1" fmla="*/ 0 h 12"/>
                <a:gd name="T2" fmla="*/ 0 w 9"/>
                <a:gd name="T3" fmla="*/ 0 h 12"/>
                <a:gd name="T4" fmla="*/ 9 w 9"/>
                <a:gd name="T5" fmla="*/ 12 h 12"/>
                <a:gd name="T6" fmla="*/ 9 w 9"/>
                <a:gd name="T7" fmla="*/ 11 h 12"/>
                <a:gd name="T8" fmla="*/ 1 w 9"/>
                <a:gd name="T9" fmla="*/ 2 h 12"/>
                <a:gd name="T10" fmla="*/ 1 w 9"/>
                <a:gd name="T11" fmla="*/ 3 h 12"/>
                <a:gd name="T12" fmla="*/ 1 w 9"/>
                <a:gd name="T13" fmla="*/ 2 h 12"/>
                <a:gd name="T14" fmla="*/ 1 w 9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7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5" y="8"/>
                    <a:pt x="3" y="5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4" name="Freeform 153">
              <a:extLst>
                <a:ext uri="{FF2B5EF4-FFF2-40B4-BE49-F238E27FC236}">
                  <a16:creationId xmlns:a16="http://schemas.microsoft.com/office/drawing/2014/main" id="{64F7CC83-3907-45DB-8F5E-7228EB5F48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7116" y="2035313"/>
              <a:ext cx="23034" cy="23034"/>
            </a:xfrm>
            <a:custGeom>
              <a:avLst/>
              <a:gdLst>
                <a:gd name="T0" fmla="*/ 7 w 8"/>
                <a:gd name="T1" fmla="*/ 0 h 8"/>
                <a:gd name="T2" fmla="*/ 6 w 8"/>
                <a:gd name="T3" fmla="*/ 0 h 8"/>
                <a:gd name="T4" fmla="*/ 0 w 8"/>
                <a:gd name="T5" fmla="*/ 6 h 8"/>
                <a:gd name="T6" fmla="*/ 0 w 8"/>
                <a:gd name="T7" fmla="*/ 7 h 8"/>
                <a:gd name="T8" fmla="*/ 1 w 8"/>
                <a:gd name="T9" fmla="*/ 8 h 8"/>
                <a:gd name="T10" fmla="*/ 2 w 8"/>
                <a:gd name="T11" fmla="*/ 7 h 8"/>
                <a:gd name="T12" fmla="*/ 4 w 8"/>
                <a:gd name="T13" fmla="*/ 4 h 8"/>
                <a:gd name="T14" fmla="*/ 5 w 8"/>
                <a:gd name="T15" fmla="*/ 4 h 8"/>
                <a:gd name="T16" fmla="*/ 4 w 8"/>
                <a:gd name="T17" fmla="*/ 3 h 8"/>
                <a:gd name="T18" fmla="*/ 4 w 8"/>
                <a:gd name="T19" fmla="*/ 3 h 8"/>
                <a:gd name="T20" fmla="*/ 5 w 8"/>
                <a:gd name="T21" fmla="*/ 3 h 8"/>
                <a:gd name="T22" fmla="*/ 7 w 8"/>
                <a:gd name="T23" fmla="*/ 1 h 8"/>
                <a:gd name="T24" fmla="*/ 7 w 8"/>
                <a:gd name="T25" fmla="*/ 0 h 8"/>
                <a:gd name="T26" fmla="*/ 7 w 8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8"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5" name="Freeform 154">
              <a:extLst>
                <a:ext uri="{FF2B5EF4-FFF2-40B4-BE49-F238E27FC236}">
                  <a16:creationId xmlns:a16="http://schemas.microsoft.com/office/drawing/2014/main" id="{46FD0CB9-E817-44C7-B667-2C0871915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7865" y="2044527"/>
              <a:ext cx="26106" cy="33784"/>
            </a:xfrm>
            <a:custGeom>
              <a:avLst/>
              <a:gdLst>
                <a:gd name="T0" fmla="*/ 4 w 9"/>
                <a:gd name="T1" fmla="*/ 1 h 12"/>
                <a:gd name="T2" fmla="*/ 1 w 9"/>
                <a:gd name="T3" fmla="*/ 3 h 12"/>
                <a:gd name="T4" fmla="*/ 9 w 9"/>
                <a:gd name="T5" fmla="*/ 12 h 12"/>
                <a:gd name="T6" fmla="*/ 8 w 9"/>
                <a:gd name="T7" fmla="*/ 1 h 12"/>
                <a:gd name="T8" fmla="*/ 4 w 9"/>
                <a:gd name="T9" fmla="*/ 1 h 12"/>
                <a:gd name="T10" fmla="*/ 0 w 9"/>
                <a:gd name="T11" fmla="*/ 0 h 12"/>
                <a:gd name="T12" fmla="*/ 1 w 9"/>
                <a:gd name="T13" fmla="*/ 1 h 12"/>
                <a:gd name="T14" fmla="*/ 1 w 9"/>
                <a:gd name="T15" fmla="*/ 3 h 12"/>
                <a:gd name="T16" fmla="*/ 0 w 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4" y="1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3" y="6"/>
                    <a:pt x="5" y="9"/>
                    <a:pt x="9" y="12"/>
                  </a:cubicBezTo>
                  <a:cubicBezTo>
                    <a:pt x="9" y="8"/>
                    <a:pt x="8" y="5"/>
                    <a:pt x="8" y="1"/>
                  </a:cubicBezTo>
                  <a:cubicBezTo>
                    <a:pt x="4" y="1"/>
                    <a:pt x="4" y="1"/>
                    <a:pt x="4" y="1"/>
                  </a:cubicBezTo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6" name="Freeform 155">
              <a:extLst>
                <a:ext uri="{FF2B5EF4-FFF2-40B4-BE49-F238E27FC236}">
                  <a16:creationId xmlns:a16="http://schemas.microsoft.com/office/drawing/2014/main" id="{B61A6EE9-7B22-49C5-8DD4-F8F80C0FF8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908" y="1986174"/>
              <a:ext cx="6142" cy="3072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7" name="Freeform 156">
              <a:extLst>
                <a:ext uri="{FF2B5EF4-FFF2-40B4-BE49-F238E27FC236}">
                  <a16:creationId xmlns:a16="http://schemas.microsoft.com/office/drawing/2014/main" id="{C04A0C1C-A5F0-4A36-A4FD-8115514B91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908" y="1986174"/>
              <a:ext cx="6142" cy="3072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8" name="Freeform 157">
              <a:extLst>
                <a:ext uri="{FF2B5EF4-FFF2-40B4-BE49-F238E27FC236}">
                  <a16:creationId xmlns:a16="http://schemas.microsoft.com/office/drawing/2014/main" id="{2022F049-3605-4AC7-87AF-1FD408431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2285" cy="10749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59" name="Freeform 158">
              <a:extLst>
                <a:ext uri="{FF2B5EF4-FFF2-40B4-BE49-F238E27FC236}">
                  <a16:creationId xmlns:a16="http://schemas.microsoft.com/office/drawing/2014/main" id="{8C4859DC-B323-4539-B5F4-BDD7F0F84B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7865" y="2044527"/>
              <a:ext cx="12285" cy="10749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0" name="Freeform 159">
              <a:extLst>
                <a:ext uri="{FF2B5EF4-FFF2-40B4-BE49-F238E27FC236}">
                  <a16:creationId xmlns:a16="http://schemas.microsoft.com/office/drawing/2014/main" id="{21E3027F-9B9F-4D5B-942D-A0DC2DE3F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2732" y="2041455"/>
              <a:ext cx="101350" cy="89065"/>
            </a:xfrm>
            <a:custGeom>
              <a:avLst/>
              <a:gdLst>
                <a:gd name="T0" fmla="*/ 12 w 35"/>
                <a:gd name="T1" fmla="*/ 0 h 31"/>
                <a:gd name="T2" fmla="*/ 6 w 35"/>
                <a:gd name="T3" fmla="*/ 3 h 31"/>
                <a:gd name="T4" fmla="*/ 19 w 35"/>
                <a:gd name="T5" fmla="*/ 30 h 31"/>
                <a:gd name="T6" fmla="*/ 19 w 35"/>
                <a:gd name="T7" fmla="*/ 30 h 31"/>
                <a:gd name="T8" fmla="*/ 22 w 35"/>
                <a:gd name="T9" fmla="*/ 31 h 31"/>
                <a:gd name="T10" fmla="*/ 24 w 35"/>
                <a:gd name="T11" fmla="*/ 31 h 31"/>
                <a:gd name="T12" fmla="*/ 35 w 35"/>
                <a:gd name="T13" fmla="*/ 27 h 31"/>
                <a:gd name="T14" fmla="*/ 35 w 35"/>
                <a:gd name="T15" fmla="*/ 27 h 31"/>
                <a:gd name="T16" fmla="*/ 35 w 35"/>
                <a:gd name="T17" fmla="*/ 27 h 31"/>
                <a:gd name="T18" fmla="*/ 35 w 35"/>
                <a:gd name="T19" fmla="*/ 26 h 31"/>
                <a:gd name="T20" fmla="*/ 24 w 35"/>
                <a:gd name="T21" fmla="*/ 7 h 31"/>
                <a:gd name="T22" fmla="*/ 24 w 35"/>
                <a:gd name="T23" fmla="*/ 7 h 31"/>
                <a:gd name="T24" fmla="*/ 12 w 3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31">
                  <a:moveTo>
                    <a:pt x="12" y="0"/>
                  </a:moveTo>
                  <a:cubicBezTo>
                    <a:pt x="10" y="0"/>
                    <a:pt x="8" y="1"/>
                    <a:pt x="6" y="3"/>
                  </a:cubicBezTo>
                  <a:cubicBezTo>
                    <a:pt x="0" y="10"/>
                    <a:pt x="8" y="27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1" y="31"/>
                    <a:pt x="22" y="31"/>
                  </a:cubicBezTo>
                  <a:cubicBezTo>
                    <a:pt x="22" y="31"/>
                    <a:pt x="23" y="31"/>
                    <a:pt x="24" y="31"/>
                  </a:cubicBezTo>
                  <a:cubicBezTo>
                    <a:pt x="30" y="31"/>
                    <a:pt x="33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5"/>
                    <a:pt x="18" y="0"/>
                    <a:pt x="12" y="0"/>
                  </a:cubicBezTo>
                </a:path>
              </a:pathLst>
            </a:custGeom>
            <a:solidFill>
              <a:srgbClr val="C56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1" name="Freeform 160">
              <a:extLst>
                <a:ext uri="{FF2B5EF4-FFF2-40B4-BE49-F238E27FC236}">
                  <a16:creationId xmlns:a16="http://schemas.microsoft.com/office/drawing/2014/main" id="{22CA421E-B8B7-4904-AC6D-DCE3AB4FE4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908" y="1943176"/>
              <a:ext cx="121313" cy="112099"/>
            </a:xfrm>
            <a:custGeom>
              <a:avLst/>
              <a:gdLst>
                <a:gd name="T0" fmla="*/ 41 w 42"/>
                <a:gd name="T1" fmla="*/ 0 h 39"/>
                <a:gd name="T2" fmla="*/ 2 w 42"/>
                <a:gd name="T3" fmla="*/ 16 h 39"/>
                <a:gd name="T4" fmla="*/ 2 w 42"/>
                <a:gd name="T5" fmla="*/ 15 h 39"/>
                <a:gd name="T6" fmla="*/ 0 w 42"/>
                <a:gd name="T7" fmla="*/ 16 h 39"/>
                <a:gd name="T8" fmla="*/ 1 w 42"/>
                <a:gd name="T9" fmla="*/ 16 h 39"/>
                <a:gd name="T10" fmla="*/ 1 w 42"/>
                <a:gd name="T11" fmla="*/ 16 h 39"/>
                <a:gd name="T12" fmla="*/ 13 w 42"/>
                <a:gd name="T13" fmla="*/ 39 h 39"/>
                <a:gd name="T14" fmla="*/ 13 w 42"/>
                <a:gd name="T15" fmla="*/ 39 h 39"/>
                <a:gd name="T16" fmla="*/ 42 w 42"/>
                <a:gd name="T17" fmla="*/ 9 h 39"/>
                <a:gd name="T18" fmla="*/ 41 w 42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9">
                  <a:moveTo>
                    <a:pt x="41" y="0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23" y="36"/>
                    <a:pt x="35" y="22"/>
                    <a:pt x="42" y="9"/>
                  </a:cubicBezTo>
                  <a:cubicBezTo>
                    <a:pt x="42" y="6"/>
                    <a:pt x="42" y="3"/>
                    <a:pt x="41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2" name="Freeform 161">
              <a:extLst>
                <a:ext uri="{FF2B5EF4-FFF2-40B4-BE49-F238E27FC236}">
                  <a16:creationId xmlns:a16="http://schemas.microsoft.com/office/drawing/2014/main" id="{D325BB16-CAA2-4F85-825B-100FB09E74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707" y="1811115"/>
              <a:ext cx="299443" cy="178130"/>
            </a:xfrm>
            <a:custGeom>
              <a:avLst/>
              <a:gdLst>
                <a:gd name="T0" fmla="*/ 98 w 104"/>
                <a:gd name="T1" fmla="*/ 0 h 62"/>
                <a:gd name="T2" fmla="*/ 0 w 104"/>
                <a:gd name="T3" fmla="*/ 49 h 62"/>
                <a:gd name="T4" fmla="*/ 1 w 104"/>
                <a:gd name="T5" fmla="*/ 57 h 62"/>
                <a:gd name="T6" fmla="*/ 44 w 104"/>
                <a:gd name="T7" fmla="*/ 31 h 62"/>
                <a:gd name="T8" fmla="*/ 65 w 104"/>
                <a:gd name="T9" fmla="*/ 61 h 62"/>
                <a:gd name="T10" fmla="*/ 65 w 104"/>
                <a:gd name="T11" fmla="*/ 61 h 62"/>
                <a:gd name="T12" fmla="*/ 65 w 104"/>
                <a:gd name="T13" fmla="*/ 61 h 62"/>
                <a:gd name="T14" fmla="*/ 65 w 104"/>
                <a:gd name="T15" fmla="*/ 62 h 62"/>
                <a:gd name="T16" fmla="*/ 104 w 104"/>
                <a:gd name="T17" fmla="*/ 46 h 62"/>
                <a:gd name="T18" fmla="*/ 101 w 104"/>
                <a:gd name="T19" fmla="*/ 18 h 62"/>
                <a:gd name="T20" fmla="*/ 98 w 104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62">
                  <a:moveTo>
                    <a:pt x="98" y="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3" y="37"/>
                    <a:pt x="102" y="27"/>
                    <a:pt x="101" y="18"/>
                  </a:cubicBezTo>
                  <a:cubicBezTo>
                    <a:pt x="101" y="12"/>
                    <a:pt x="100" y="6"/>
                    <a:pt x="98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3" name="Freeform 162">
              <a:extLst>
                <a:ext uri="{FF2B5EF4-FFF2-40B4-BE49-F238E27FC236}">
                  <a16:creationId xmlns:a16="http://schemas.microsoft.com/office/drawing/2014/main" id="{4C037623-C187-4723-9533-C310A036D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1059" y="5585627"/>
              <a:ext cx="422291" cy="347046"/>
            </a:xfrm>
            <a:custGeom>
              <a:avLst/>
              <a:gdLst>
                <a:gd name="T0" fmla="*/ 143 w 147"/>
                <a:gd name="T1" fmla="*/ 7 h 121"/>
                <a:gd name="T2" fmla="*/ 147 w 147"/>
                <a:gd name="T3" fmla="*/ 42 h 121"/>
                <a:gd name="T4" fmla="*/ 17 w 147"/>
                <a:gd name="T5" fmla="*/ 117 h 121"/>
                <a:gd name="T6" fmla="*/ 46 w 147"/>
                <a:gd name="T7" fmla="*/ 47 h 121"/>
                <a:gd name="T8" fmla="*/ 109 w 147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21">
                  <a:moveTo>
                    <a:pt x="143" y="7"/>
                  </a:move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33" y="121"/>
                    <a:pt x="17" y="117"/>
                  </a:cubicBezTo>
                  <a:cubicBezTo>
                    <a:pt x="0" y="113"/>
                    <a:pt x="2" y="69"/>
                    <a:pt x="46" y="47"/>
                  </a:cubicBezTo>
                  <a:cubicBezTo>
                    <a:pt x="91" y="26"/>
                    <a:pt x="109" y="0"/>
                    <a:pt x="109" y="0"/>
                  </a:cubicBezTo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4" name="Freeform 163">
              <a:extLst>
                <a:ext uri="{FF2B5EF4-FFF2-40B4-BE49-F238E27FC236}">
                  <a16:creationId xmlns:a16="http://schemas.microsoft.com/office/drawing/2014/main" id="{FEF1E03C-1347-4281-9603-FF058F4D8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7431" y="5217083"/>
              <a:ext cx="132061" cy="416149"/>
            </a:xfrm>
            <a:custGeom>
              <a:avLst/>
              <a:gdLst>
                <a:gd name="T0" fmla="*/ 46 w 46"/>
                <a:gd name="T1" fmla="*/ 10 h 145"/>
                <a:gd name="T2" fmla="*/ 38 w 46"/>
                <a:gd name="T3" fmla="*/ 136 h 145"/>
                <a:gd name="T4" fmla="*/ 6 w 46"/>
                <a:gd name="T5" fmla="*/ 126 h 145"/>
                <a:gd name="T6" fmla="*/ 0 w 46"/>
                <a:gd name="T7" fmla="*/ 0 h 145"/>
                <a:gd name="T8" fmla="*/ 46 w 46"/>
                <a:gd name="T9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45">
                  <a:moveTo>
                    <a:pt x="46" y="10"/>
                  </a:moveTo>
                  <a:cubicBezTo>
                    <a:pt x="38" y="136"/>
                    <a:pt x="38" y="136"/>
                    <a:pt x="38" y="136"/>
                  </a:cubicBezTo>
                  <a:cubicBezTo>
                    <a:pt x="38" y="136"/>
                    <a:pt x="16" y="145"/>
                    <a:pt x="6" y="1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7" y="10"/>
                    <a:pt x="46" y="10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5" name="Freeform 164">
              <a:extLst>
                <a:ext uri="{FF2B5EF4-FFF2-40B4-BE49-F238E27FC236}">
                  <a16:creationId xmlns:a16="http://schemas.microsoft.com/office/drawing/2014/main" id="{90679194-4EE2-4AC9-AAE0-BB04256EE5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6825" y="2652625"/>
              <a:ext cx="465288" cy="1355938"/>
            </a:xfrm>
            <a:custGeom>
              <a:avLst/>
              <a:gdLst>
                <a:gd name="T0" fmla="*/ 148 w 162"/>
                <a:gd name="T1" fmla="*/ 0 h 472"/>
                <a:gd name="T2" fmla="*/ 77 w 162"/>
                <a:gd name="T3" fmla="*/ 73 h 472"/>
                <a:gd name="T4" fmla="*/ 0 w 162"/>
                <a:gd name="T5" fmla="*/ 442 h 472"/>
                <a:gd name="T6" fmla="*/ 96 w 162"/>
                <a:gd name="T7" fmla="*/ 467 h 472"/>
                <a:gd name="T8" fmla="*/ 100 w 162"/>
                <a:gd name="T9" fmla="*/ 466 h 472"/>
                <a:gd name="T10" fmla="*/ 148 w 162"/>
                <a:gd name="T11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472">
                  <a:moveTo>
                    <a:pt x="148" y="0"/>
                  </a:moveTo>
                  <a:cubicBezTo>
                    <a:pt x="148" y="0"/>
                    <a:pt x="93" y="10"/>
                    <a:pt x="77" y="73"/>
                  </a:cubicBezTo>
                  <a:cubicBezTo>
                    <a:pt x="60" y="136"/>
                    <a:pt x="0" y="442"/>
                    <a:pt x="0" y="442"/>
                  </a:cubicBezTo>
                  <a:cubicBezTo>
                    <a:pt x="0" y="442"/>
                    <a:pt x="37" y="472"/>
                    <a:pt x="96" y="467"/>
                  </a:cubicBezTo>
                  <a:cubicBezTo>
                    <a:pt x="98" y="467"/>
                    <a:pt x="99" y="466"/>
                    <a:pt x="100" y="466"/>
                  </a:cubicBezTo>
                  <a:cubicBezTo>
                    <a:pt x="162" y="459"/>
                    <a:pt x="148" y="0"/>
                    <a:pt x="148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6" name="Freeform 165">
              <a:extLst>
                <a:ext uri="{FF2B5EF4-FFF2-40B4-BE49-F238E27FC236}">
                  <a16:creationId xmlns:a16="http://schemas.microsoft.com/office/drawing/2014/main" id="{728FFB87-6865-4895-B94A-B36AD524A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7127" y="2601951"/>
              <a:ext cx="1094885" cy="2888470"/>
            </a:xfrm>
            <a:custGeom>
              <a:avLst/>
              <a:gdLst>
                <a:gd name="T0" fmla="*/ 197 w 381"/>
                <a:gd name="T1" fmla="*/ 0 h 1006"/>
                <a:gd name="T2" fmla="*/ 270 w 381"/>
                <a:gd name="T3" fmla="*/ 60 h 1006"/>
                <a:gd name="T4" fmla="*/ 381 w 381"/>
                <a:gd name="T5" fmla="*/ 840 h 1006"/>
                <a:gd name="T6" fmla="*/ 0 w 381"/>
                <a:gd name="T7" fmla="*/ 861 h 1006"/>
                <a:gd name="T8" fmla="*/ 28 w 381"/>
                <a:gd name="T9" fmla="*/ 57 h 1006"/>
                <a:gd name="T10" fmla="*/ 61 w 381"/>
                <a:gd name="T11" fmla="*/ 18 h 1006"/>
                <a:gd name="T12" fmla="*/ 100 w 381"/>
                <a:gd name="T13" fmla="*/ 4 h 1006"/>
                <a:gd name="T14" fmla="*/ 197 w 381"/>
                <a:gd name="T1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" h="1006">
                  <a:moveTo>
                    <a:pt x="197" y="0"/>
                  </a:moveTo>
                  <a:cubicBezTo>
                    <a:pt x="197" y="0"/>
                    <a:pt x="257" y="1"/>
                    <a:pt x="270" y="60"/>
                  </a:cubicBezTo>
                  <a:cubicBezTo>
                    <a:pt x="282" y="119"/>
                    <a:pt x="381" y="840"/>
                    <a:pt x="381" y="840"/>
                  </a:cubicBezTo>
                  <a:cubicBezTo>
                    <a:pt x="381" y="840"/>
                    <a:pt x="114" y="1006"/>
                    <a:pt x="0" y="861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36" y="29"/>
                    <a:pt x="61" y="18"/>
                  </a:cubicBezTo>
                  <a:cubicBezTo>
                    <a:pt x="86" y="7"/>
                    <a:pt x="100" y="4"/>
                    <a:pt x="100" y="4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7" name="Freeform 166">
              <a:extLst>
                <a:ext uri="{FF2B5EF4-FFF2-40B4-BE49-F238E27FC236}">
                  <a16:creationId xmlns:a16="http://schemas.microsoft.com/office/drawing/2014/main" id="{D5FB0DC8-A711-4FEA-AB3B-9E166B4918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9902" y="2001529"/>
              <a:ext cx="339369" cy="426898"/>
            </a:xfrm>
            <a:custGeom>
              <a:avLst/>
              <a:gdLst>
                <a:gd name="T0" fmla="*/ 16 w 118"/>
                <a:gd name="T1" fmla="*/ 13 h 149"/>
                <a:gd name="T2" fmla="*/ 4 w 118"/>
                <a:gd name="T3" fmla="*/ 113 h 149"/>
                <a:gd name="T4" fmla="*/ 36 w 118"/>
                <a:gd name="T5" fmla="*/ 148 h 149"/>
                <a:gd name="T6" fmla="*/ 94 w 118"/>
                <a:gd name="T7" fmla="*/ 96 h 149"/>
                <a:gd name="T8" fmla="*/ 100 w 118"/>
                <a:gd name="T9" fmla="*/ 75 h 149"/>
                <a:gd name="T10" fmla="*/ 118 w 118"/>
                <a:gd name="T11" fmla="*/ 57 h 149"/>
                <a:gd name="T12" fmla="*/ 99 w 118"/>
                <a:gd name="T13" fmla="*/ 35 h 149"/>
                <a:gd name="T14" fmla="*/ 102 w 118"/>
                <a:gd name="T15" fmla="*/ 0 h 149"/>
                <a:gd name="T16" fmla="*/ 16 w 118"/>
                <a:gd name="T17" fmla="*/ 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49">
                  <a:moveTo>
                    <a:pt x="16" y="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0" y="147"/>
                    <a:pt x="36" y="148"/>
                  </a:cubicBezTo>
                  <a:cubicBezTo>
                    <a:pt x="73" y="149"/>
                    <a:pt x="90" y="112"/>
                    <a:pt x="94" y="96"/>
                  </a:cubicBezTo>
                  <a:cubicBezTo>
                    <a:pt x="99" y="80"/>
                    <a:pt x="100" y="75"/>
                    <a:pt x="100" y="75"/>
                  </a:cubicBezTo>
                  <a:cubicBezTo>
                    <a:pt x="100" y="75"/>
                    <a:pt x="118" y="76"/>
                    <a:pt x="118" y="57"/>
                  </a:cubicBezTo>
                  <a:cubicBezTo>
                    <a:pt x="117" y="37"/>
                    <a:pt x="107" y="30"/>
                    <a:pt x="99" y="3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6" y="13"/>
                    <a:pt x="16" y="13"/>
                    <a:pt x="16" y="13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8" name="Freeform 167">
              <a:extLst>
                <a:ext uri="{FF2B5EF4-FFF2-40B4-BE49-F238E27FC236}">
                  <a16:creationId xmlns:a16="http://schemas.microsoft.com/office/drawing/2014/main" id="{B02D15A8-4891-4752-B7C7-E02BB5BCB2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4360" y="2216514"/>
              <a:ext cx="319405" cy="646489"/>
            </a:xfrm>
            <a:custGeom>
              <a:avLst/>
              <a:gdLst>
                <a:gd name="T0" fmla="*/ 71 w 111"/>
                <a:gd name="T1" fmla="*/ 0 h 225"/>
                <a:gd name="T2" fmla="*/ 75 w 111"/>
                <a:gd name="T3" fmla="*/ 116 h 225"/>
                <a:gd name="T4" fmla="*/ 111 w 111"/>
                <a:gd name="T5" fmla="*/ 134 h 225"/>
                <a:gd name="T6" fmla="*/ 17 w 111"/>
                <a:gd name="T7" fmla="*/ 225 h 225"/>
                <a:gd name="T8" fmla="*/ 0 w 111"/>
                <a:gd name="T9" fmla="*/ 141 h 225"/>
                <a:gd name="T10" fmla="*/ 34 w 111"/>
                <a:gd name="T11" fmla="*/ 122 h 225"/>
                <a:gd name="T12" fmla="*/ 42 w 111"/>
                <a:gd name="T13" fmla="*/ 58 h 225"/>
                <a:gd name="T14" fmla="*/ 71 w 111"/>
                <a:gd name="T1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225">
                  <a:moveTo>
                    <a:pt x="71" y="0"/>
                  </a:moveTo>
                  <a:cubicBezTo>
                    <a:pt x="71" y="0"/>
                    <a:pt x="65" y="106"/>
                    <a:pt x="75" y="116"/>
                  </a:cubicBezTo>
                  <a:cubicBezTo>
                    <a:pt x="86" y="126"/>
                    <a:pt x="111" y="134"/>
                    <a:pt x="111" y="134"/>
                  </a:cubicBezTo>
                  <a:cubicBezTo>
                    <a:pt x="17" y="225"/>
                    <a:pt x="17" y="225"/>
                    <a:pt x="17" y="225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41"/>
                    <a:pt x="30" y="139"/>
                    <a:pt x="34" y="122"/>
                  </a:cubicBezTo>
                  <a:cubicBezTo>
                    <a:pt x="39" y="105"/>
                    <a:pt x="42" y="58"/>
                    <a:pt x="42" y="58"/>
                  </a:cubicBezTo>
                  <a:cubicBezTo>
                    <a:pt x="42" y="58"/>
                    <a:pt x="61" y="39"/>
                    <a:pt x="71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69" name="Freeform 168">
              <a:extLst>
                <a:ext uri="{FF2B5EF4-FFF2-40B4-BE49-F238E27FC236}">
                  <a16:creationId xmlns:a16="http://schemas.microsoft.com/office/drawing/2014/main" id="{897294B0-5C99-495B-8DFB-972BE4568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112" y="2242620"/>
              <a:ext cx="105957" cy="50675"/>
            </a:xfrm>
            <a:custGeom>
              <a:avLst/>
              <a:gdLst>
                <a:gd name="T0" fmla="*/ 0 w 37"/>
                <a:gd name="T1" fmla="*/ 11 h 18"/>
                <a:gd name="T2" fmla="*/ 14 w 37"/>
                <a:gd name="T3" fmla="*/ 18 h 18"/>
                <a:gd name="T4" fmla="*/ 21 w 37"/>
                <a:gd name="T5" fmla="*/ 17 h 18"/>
                <a:gd name="T6" fmla="*/ 37 w 37"/>
                <a:gd name="T7" fmla="*/ 1 h 18"/>
                <a:gd name="T8" fmla="*/ 36 w 37"/>
                <a:gd name="T9" fmla="*/ 0 h 18"/>
                <a:gd name="T10" fmla="*/ 35 w 37"/>
                <a:gd name="T11" fmla="*/ 1 h 18"/>
                <a:gd name="T12" fmla="*/ 35 w 37"/>
                <a:gd name="T13" fmla="*/ 1 h 18"/>
                <a:gd name="T14" fmla="*/ 20 w 37"/>
                <a:gd name="T15" fmla="*/ 15 h 18"/>
                <a:gd name="T16" fmla="*/ 14 w 37"/>
                <a:gd name="T17" fmla="*/ 16 h 18"/>
                <a:gd name="T18" fmla="*/ 5 w 37"/>
                <a:gd name="T19" fmla="*/ 13 h 18"/>
                <a:gd name="T20" fmla="*/ 3 w 37"/>
                <a:gd name="T21" fmla="*/ 11 h 18"/>
                <a:gd name="T22" fmla="*/ 2 w 37"/>
                <a:gd name="T23" fmla="*/ 10 h 18"/>
                <a:gd name="T24" fmla="*/ 2 w 37"/>
                <a:gd name="T25" fmla="*/ 10 h 18"/>
                <a:gd name="T26" fmla="*/ 0 w 37"/>
                <a:gd name="T27" fmla="*/ 10 h 18"/>
                <a:gd name="T28" fmla="*/ 0 w 37"/>
                <a:gd name="T2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18">
                  <a:moveTo>
                    <a:pt x="0" y="11"/>
                  </a:moveTo>
                  <a:cubicBezTo>
                    <a:pt x="0" y="11"/>
                    <a:pt x="6" y="18"/>
                    <a:pt x="14" y="18"/>
                  </a:cubicBezTo>
                  <a:cubicBezTo>
                    <a:pt x="16" y="18"/>
                    <a:pt x="19" y="18"/>
                    <a:pt x="21" y="17"/>
                  </a:cubicBezTo>
                  <a:cubicBezTo>
                    <a:pt x="33" y="13"/>
                    <a:pt x="37" y="1"/>
                    <a:pt x="37" y="1"/>
                  </a:cubicBezTo>
                  <a:cubicBezTo>
                    <a:pt x="37" y="1"/>
                    <a:pt x="36" y="0"/>
                    <a:pt x="36" y="0"/>
                  </a:cubicBezTo>
                  <a:cubicBezTo>
                    <a:pt x="35" y="0"/>
                    <a:pt x="35" y="0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3"/>
                    <a:pt x="30" y="12"/>
                    <a:pt x="20" y="15"/>
                  </a:cubicBezTo>
                  <a:cubicBezTo>
                    <a:pt x="18" y="16"/>
                    <a:pt x="16" y="16"/>
                    <a:pt x="14" y="16"/>
                  </a:cubicBezTo>
                  <a:cubicBezTo>
                    <a:pt x="11" y="16"/>
                    <a:pt x="7" y="15"/>
                    <a:pt x="5" y="13"/>
                  </a:cubicBezTo>
                  <a:cubicBezTo>
                    <a:pt x="4" y="12"/>
                    <a:pt x="3" y="12"/>
                    <a:pt x="3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0" name="Freeform 169">
              <a:extLst>
                <a:ext uri="{FF2B5EF4-FFF2-40B4-BE49-F238E27FC236}">
                  <a16:creationId xmlns:a16="http://schemas.microsoft.com/office/drawing/2014/main" id="{41CF070B-BE9C-469A-9B20-71C3BCE13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05147" y="2130520"/>
              <a:ext cx="35319" cy="119777"/>
            </a:xfrm>
            <a:custGeom>
              <a:avLst/>
              <a:gdLst>
                <a:gd name="T0" fmla="*/ 6 w 23"/>
                <a:gd name="T1" fmla="*/ 0 h 78"/>
                <a:gd name="T2" fmla="*/ 23 w 23"/>
                <a:gd name="T3" fmla="*/ 56 h 78"/>
                <a:gd name="T4" fmla="*/ 0 w 23"/>
                <a:gd name="T5" fmla="*/ 78 h 78"/>
                <a:gd name="T6" fmla="*/ 6 w 2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78">
                  <a:moveTo>
                    <a:pt x="6" y="0"/>
                  </a:moveTo>
                  <a:lnTo>
                    <a:pt x="23" y="56"/>
                  </a:lnTo>
                  <a:lnTo>
                    <a:pt x="0" y="7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1" name="Freeform 170">
              <a:extLst>
                <a:ext uri="{FF2B5EF4-FFF2-40B4-BE49-F238E27FC236}">
                  <a16:creationId xmlns:a16="http://schemas.microsoft.com/office/drawing/2014/main" id="{E671A50E-629C-45E4-97A5-9C8AAE085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02075" y="2090594"/>
              <a:ext cx="55281" cy="162774"/>
            </a:xfrm>
            <a:custGeom>
              <a:avLst/>
              <a:gdLst>
                <a:gd name="T0" fmla="*/ 4 w 19"/>
                <a:gd name="T1" fmla="*/ 1 h 57"/>
                <a:gd name="T2" fmla="*/ 0 w 19"/>
                <a:gd name="T3" fmla="*/ 56 h 57"/>
                <a:gd name="T4" fmla="*/ 0 w 19"/>
                <a:gd name="T5" fmla="*/ 57 h 57"/>
                <a:gd name="T6" fmla="*/ 1 w 19"/>
                <a:gd name="T7" fmla="*/ 57 h 57"/>
                <a:gd name="T8" fmla="*/ 18 w 19"/>
                <a:gd name="T9" fmla="*/ 45 h 57"/>
                <a:gd name="T10" fmla="*/ 18 w 19"/>
                <a:gd name="T11" fmla="*/ 43 h 57"/>
                <a:gd name="T12" fmla="*/ 17 w 19"/>
                <a:gd name="T13" fmla="*/ 43 h 57"/>
                <a:gd name="T14" fmla="*/ 2 w 19"/>
                <a:gd name="T15" fmla="*/ 54 h 57"/>
                <a:gd name="T16" fmla="*/ 6 w 19"/>
                <a:gd name="T17" fmla="*/ 1 h 57"/>
                <a:gd name="T18" fmla="*/ 5 w 19"/>
                <a:gd name="T19" fmla="*/ 0 h 57"/>
                <a:gd name="T20" fmla="*/ 4 w 19"/>
                <a:gd name="T21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7">
                  <a:moveTo>
                    <a:pt x="4" y="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9" y="44"/>
                    <a:pt x="19" y="44"/>
                    <a:pt x="18" y="43"/>
                  </a:cubicBezTo>
                  <a:cubicBezTo>
                    <a:pt x="18" y="43"/>
                    <a:pt x="17" y="43"/>
                    <a:pt x="17" y="4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2" name="Freeform 171">
              <a:extLst>
                <a:ext uri="{FF2B5EF4-FFF2-40B4-BE49-F238E27FC236}">
                  <a16:creationId xmlns:a16="http://schemas.microsoft.com/office/drawing/2014/main" id="{7CDF08A2-313C-4D33-AD49-895F78AA23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3276" y="2092130"/>
              <a:ext cx="112099" cy="127455"/>
            </a:xfrm>
            <a:custGeom>
              <a:avLst/>
              <a:gdLst>
                <a:gd name="T0" fmla="*/ 7 w 39"/>
                <a:gd name="T1" fmla="*/ 7 h 44"/>
                <a:gd name="T2" fmla="*/ 21 w 39"/>
                <a:gd name="T3" fmla="*/ 3 h 44"/>
                <a:gd name="T4" fmla="*/ 20 w 39"/>
                <a:gd name="T5" fmla="*/ 42 h 44"/>
                <a:gd name="T6" fmla="*/ 7 w 39"/>
                <a:gd name="T7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44">
                  <a:moveTo>
                    <a:pt x="7" y="7"/>
                  </a:moveTo>
                  <a:cubicBezTo>
                    <a:pt x="7" y="7"/>
                    <a:pt x="9" y="0"/>
                    <a:pt x="21" y="3"/>
                  </a:cubicBezTo>
                  <a:cubicBezTo>
                    <a:pt x="32" y="5"/>
                    <a:pt x="39" y="39"/>
                    <a:pt x="20" y="42"/>
                  </a:cubicBezTo>
                  <a:cubicBezTo>
                    <a:pt x="1" y="44"/>
                    <a:pt x="0" y="19"/>
                    <a:pt x="7" y="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3" name="Freeform 172">
              <a:extLst>
                <a:ext uri="{FF2B5EF4-FFF2-40B4-BE49-F238E27FC236}">
                  <a16:creationId xmlns:a16="http://schemas.microsoft.com/office/drawing/2014/main" id="{B701A882-3C53-446B-BD17-2E7F655B1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2453" y="2121307"/>
              <a:ext cx="23034" cy="72174"/>
            </a:xfrm>
            <a:custGeom>
              <a:avLst/>
              <a:gdLst>
                <a:gd name="T0" fmla="*/ 6 w 8"/>
                <a:gd name="T1" fmla="*/ 1 h 25"/>
                <a:gd name="T2" fmla="*/ 0 w 8"/>
                <a:gd name="T3" fmla="*/ 24 h 25"/>
                <a:gd name="T4" fmla="*/ 0 w 8"/>
                <a:gd name="T5" fmla="*/ 25 h 25"/>
                <a:gd name="T6" fmla="*/ 1 w 8"/>
                <a:gd name="T7" fmla="*/ 25 h 25"/>
                <a:gd name="T8" fmla="*/ 8 w 8"/>
                <a:gd name="T9" fmla="*/ 20 h 25"/>
                <a:gd name="T10" fmla="*/ 8 w 8"/>
                <a:gd name="T11" fmla="*/ 18 h 25"/>
                <a:gd name="T12" fmla="*/ 7 w 8"/>
                <a:gd name="T13" fmla="*/ 18 h 25"/>
                <a:gd name="T14" fmla="*/ 3 w 8"/>
                <a:gd name="T15" fmla="*/ 21 h 25"/>
                <a:gd name="T16" fmla="*/ 8 w 8"/>
                <a:gd name="T17" fmla="*/ 2 h 25"/>
                <a:gd name="T18" fmla="*/ 8 w 8"/>
                <a:gd name="T19" fmla="*/ 0 h 25"/>
                <a:gd name="T20" fmla="*/ 6 w 8"/>
                <a:gd name="T21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25">
                  <a:moveTo>
                    <a:pt x="6" y="1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7" y="0"/>
                    <a:pt x="7" y="1"/>
                    <a:pt x="6" y="1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4" name="Freeform 173">
              <a:extLst>
                <a:ext uri="{FF2B5EF4-FFF2-40B4-BE49-F238E27FC236}">
                  <a16:creationId xmlns:a16="http://schemas.microsoft.com/office/drawing/2014/main" id="{05137F3E-19C2-43B4-8957-F8C594122B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19152" y="2095202"/>
              <a:ext cx="76780" cy="92137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1 w 27"/>
                <a:gd name="T5" fmla="*/ 26 h 32"/>
                <a:gd name="T6" fmla="*/ 13 w 27"/>
                <a:gd name="T7" fmla="*/ 30 h 32"/>
                <a:gd name="T8" fmla="*/ 5 w 27"/>
                <a:gd name="T9" fmla="*/ 26 h 32"/>
                <a:gd name="T10" fmla="*/ 2 w 27"/>
                <a:gd name="T11" fmla="*/ 16 h 32"/>
                <a:gd name="T12" fmla="*/ 5 w 27"/>
                <a:gd name="T13" fmla="*/ 6 h 32"/>
                <a:gd name="T14" fmla="*/ 13 w 27"/>
                <a:gd name="T15" fmla="*/ 2 h 32"/>
                <a:gd name="T16" fmla="*/ 21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3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3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3" y="24"/>
                    <a:pt x="21" y="26"/>
                  </a:cubicBezTo>
                  <a:cubicBezTo>
                    <a:pt x="19" y="29"/>
                    <a:pt x="16" y="30"/>
                    <a:pt x="13" y="30"/>
                  </a:cubicBezTo>
                  <a:cubicBezTo>
                    <a:pt x="10" y="30"/>
                    <a:pt x="8" y="29"/>
                    <a:pt x="5" y="26"/>
                  </a:cubicBezTo>
                  <a:cubicBezTo>
                    <a:pt x="3" y="24"/>
                    <a:pt x="2" y="20"/>
                    <a:pt x="2" y="16"/>
                  </a:cubicBezTo>
                  <a:cubicBezTo>
                    <a:pt x="2" y="12"/>
                    <a:pt x="3" y="9"/>
                    <a:pt x="5" y="6"/>
                  </a:cubicBezTo>
                  <a:cubicBezTo>
                    <a:pt x="8" y="4"/>
                    <a:pt x="10" y="2"/>
                    <a:pt x="13" y="2"/>
                  </a:cubicBezTo>
                  <a:cubicBezTo>
                    <a:pt x="16" y="2"/>
                    <a:pt x="19" y="4"/>
                    <a:pt x="21" y="6"/>
                  </a:cubicBezTo>
                  <a:cubicBezTo>
                    <a:pt x="23" y="9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2"/>
                    <a:pt x="25" y="8"/>
                    <a:pt x="23" y="5"/>
                  </a:cubicBezTo>
                  <a:cubicBezTo>
                    <a:pt x="20" y="2"/>
                    <a:pt x="17" y="0"/>
                    <a:pt x="13" y="0"/>
                  </a:cubicBezTo>
                  <a:cubicBezTo>
                    <a:pt x="10" y="0"/>
                    <a:pt x="6" y="2"/>
                    <a:pt x="4" y="5"/>
                  </a:cubicBezTo>
                  <a:cubicBezTo>
                    <a:pt x="2" y="8"/>
                    <a:pt x="0" y="12"/>
                    <a:pt x="0" y="16"/>
                  </a:cubicBezTo>
                  <a:cubicBezTo>
                    <a:pt x="0" y="21"/>
                    <a:pt x="2" y="25"/>
                    <a:pt x="4" y="27"/>
                  </a:cubicBezTo>
                  <a:cubicBezTo>
                    <a:pt x="6" y="30"/>
                    <a:pt x="10" y="32"/>
                    <a:pt x="13" y="32"/>
                  </a:cubicBezTo>
                  <a:cubicBezTo>
                    <a:pt x="17" y="32"/>
                    <a:pt x="20" y="30"/>
                    <a:pt x="23" y="27"/>
                  </a:cubicBezTo>
                  <a:cubicBezTo>
                    <a:pt x="25" y="25"/>
                    <a:pt x="27" y="21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5" name="Freeform 174">
              <a:extLst>
                <a:ext uri="{FF2B5EF4-FFF2-40B4-BE49-F238E27FC236}">
                  <a16:creationId xmlns:a16="http://schemas.microsoft.com/office/drawing/2014/main" id="{A58B008E-DF12-47C1-894D-651B57E4BE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7394" y="2084452"/>
              <a:ext cx="76780" cy="92137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2 w 27"/>
                <a:gd name="T5" fmla="*/ 26 h 32"/>
                <a:gd name="T6" fmla="*/ 14 w 27"/>
                <a:gd name="T7" fmla="*/ 30 h 32"/>
                <a:gd name="T8" fmla="*/ 6 w 27"/>
                <a:gd name="T9" fmla="*/ 26 h 32"/>
                <a:gd name="T10" fmla="*/ 2 w 27"/>
                <a:gd name="T11" fmla="*/ 16 h 32"/>
                <a:gd name="T12" fmla="*/ 6 w 27"/>
                <a:gd name="T13" fmla="*/ 6 h 32"/>
                <a:gd name="T14" fmla="*/ 14 w 27"/>
                <a:gd name="T15" fmla="*/ 2 h 32"/>
                <a:gd name="T16" fmla="*/ 22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4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4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4" y="23"/>
                    <a:pt x="22" y="26"/>
                  </a:cubicBezTo>
                  <a:cubicBezTo>
                    <a:pt x="20" y="28"/>
                    <a:pt x="17" y="30"/>
                    <a:pt x="14" y="30"/>
                  </a:cubicBezTo>
                  <a:cubicBezTo>
                    <a:pt x="11" y="30"/>
                    <a:pt x="8" y="28"/>
                    <a:pt x="6" y="26"/>
                  </a:cubicBezTo>
                  <a:cubicBezTo>
                    <a:pt x="4" y="23"/>
                    <a:pt x="2" y="20"/>
                    <a:pt x="2" y="16"/>
                  </a:cubicBezTo>
                  <a:cubicBezTo>
                    <a:pt x="2" y="12"/>
                    <a:pt x="4" y="8"/>
                    <a:pt x="6" y="6"/>
                  </a:cubicBezTo>
                  <a:cubicBezTo>
                    <a:pt x="8" y="3"/>
                    <a:pt x="11" y="2"/>
                    <a:pt x="14" y="2"/>
                  </a:cubicBezTo>
                  <a:cubicBezTo>
                    <a:pt x="17" y="2"/>
                    <a:pt x="20" y="3"/>
                    <a:pt x="22" y="6"/>
                  </a:cubicBezTo>
                  <a:cubicBezTo>
                    <a:pt x="24" y="8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1"/>
                    <a:pt x="26" y="7"/>
                    <a:pt x="23" y="5"/>
                  </a:cubicBezTo>
                  <a:cubicBezTo>
                    <a:pt x="21" y="2"/>
                    <a:pt x="17" y="0"/>
                    <a:pt x="14" y="0"/>
                  </a:cubicBezTo>
                  <a:cubicBezTo>
                    <a:pt x="10" y="0"/>
                    <a:pt x="7" y="2"/>
                    <a:pt x="4" y="5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0"/>
                    <a:pt x="2" y="24"/>
                    <a:pt x="4" y="27"/>
                  </a:cubicBezTo>
                  <a:cubicBezTo>
                    <a:pt x="7" y="30"/>
                    <a:pt x="10" y="32"/>
                    <a:pt x="14" y="32"/>
                  </a:cubicBezTo>
                  <a:cubicBezTo>
                    <a:pt x="17" y="32"/>
                    <a:pt x="21" y="30"/>
                    <a:pt x="23" y="27"/>
                  </a:cubicBezTo>
                  <a:cubicBezTo>
                    <a:pt x="26" y="24"/>
                    <a:pt x="27" y="20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6" name="Freeform 175">
              <a:extLst>
                <a:ext uri="{FF2B5EF4-FFF2-40B4-BE49-F238E27FC236}">
                  <a16:creationId xmlns:a16="http://schemas.microsoft.com/office/drawing/2014/main" id="{68DFB5D7-065D-45C6-8A46-B3D6AA3F9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91325" y="2133592"/>
              <a:ext cx="53747" cy="16892"/>
            </a:xfrm>
            <a:custGeom>
              <a:avLst/>
              <a:gdLst>
                <a:gd name="T0" fmla="*/ 1 w 19"/>
                <a:gd name="T1" fmla="*/ 6 h 6"/>
                <a:gd name="T2" fmla="*/ 18 w 19"/>
                <a:gd name="T3" fmla="*/ 2 h 6"/>
                <a:gd name="T4" fmla="*/ 18 w 19"/>
                <a:gd name="T5" fmla="*/ 1 h 6"/>
                <a:gd name="T6" fmla="*/ 17 w 19"/>
                <a:gd name="T7" fmla="*/ 0 h 6"/>
                <a:gd name="T8" fmla="*/ 0 w 19"/>
                <a:gd name="T9" fmla="*/ 4 h 6"/>
                <a:gd name="T10" fmla="*/ 0 w 19"/>
                <a:gd name="T11" fmla="*/ 5 h 6"/>
                <a:gd name="T12" fmla="*/ 1 w 19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">
                  <a:moveTo>
                    <a:pt x="1" y="6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9" y="2"/>
                    <a:pt x="18" y="1"/>
                  </a:cubicBezTo>
                  <a:cubicBezTo>
                    <a:pt x="18" y="1"/>
                    <a:pt x="18" y="0"/>
                    <a:pt x="17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1" y="6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7" name="Freeform 176">
              <a:extLst>
                <a:ext uri="{FF2B5EF4-FFF2-40B4-BE49-F238E27FC236}">
                  <a16:creationId xmlns:a16="http://schemas.microsoft.com/office/drawing/2014/main" id="{AA93810B-8DCB-4122-B1B0-9EB73CD9D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08031" y="2095202"/>
              <a:ext cx="115171" cy="38391"/>
            </a:xfrm>
            <a:custGeom>
              <a:avLst/>
              <a:gdLst>
                <a:gd name="T0" fmla="*/ 1 w 40"/>
                <a:gd name="T1" fmla="*/ 13 h 13"/>
                <a:gd name="T2" fmla="*/ 39 w 40"/>
                <a:gd name="T3" fmla="*/ 2 h 13"/>
                <a:gd name="T4" fmla="*/ 40 w 40"/>
                <a:gd name="T5" fmla="*/ 1 h 13"/>
                <a:gd name="T6" fmla="*/ 39 w 40"/>
                <a:gd name="T7" fmla="*/ 0 h 13"/>
                <a:gd name="T8" fmla="*/ 1 w 40"/>
                <a:gd name="T9" fmla="*/ 11 h 13"/>
                <a:gd name="T10" fmla="*/ 0 w 40"/>
                <a:gd name="T11" fmla="*/ 12 h 13"/>
                <a:gd name="T12" fmla="*/ 1 w 4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3">
                  <a:moveTo>
                    <a:pt x="1" y="13"/>
                  </a:move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0" y="1"/>
                  </a:cubicBezTo>
                  <a:cubicBezTo>
                    <a:pt x="40" y="1"/>
                    <a:pt x="39" y="0"/>
                    <a:pt x="39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3"/>
                    <a:pt x="1" y="13"/>
                    <a:pt x="1" y="13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8" name="Freeform 177">
              <a:extLst>
                <a:ext uri="{FF2B5EF4-FFF2-40B4-BE49-F238E27FC236}">
                  <a16:creationId xmlns:a16="http://schemas.microsoft.com/office/drawing/2014/main" id="{1B92A26B-329C-4EC8-AAF9-C6E9CD72A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75970" y="1877147"/>
              <a:ext cx="256446" cy="164310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79" name="Freeform 178">
              <a:extLst>
                <a:ext uri="{FF2B5EF4-FFF2-40B4-BE49-F238E27FC236}">
                  <a16:creationId xmlns:a16="http://schemas.microsoft.com/office/drawing/2014/main" id="{2B8C95B6-6815-4D0C-A632-330621CA08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75970" y="1877147"/>
              <a:ext cx="256446" cy="164310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0" name="Freeform 179">
              <a:extLst>
                <a:ext uri="{FF2B5EF4-FFF2-40B4-BE49-F238E27FC236}">
                  <a16:creationId xmlns:a16="http://schemas.microsoft.com/office/drawing/2014/main" id="{85081498-83C9-4A8A-A7C9-71CF24DE19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7952" y="1851041"/>
              <a:ext cx="741696" cy="6449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1" name="Freeform 180">
              <a:extLst>
                <a:ext uri="{FF2B5EF4-FFF2-40B4-BE49-F238E27FC236}">
                  <a16:creationId xmlns:a16="http://schemas.microsoft.com/office/drawing/2014/main" id="{E4A6B1B5-4444-48EC-B22C-2F21858693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7952" y="1851041"/>
              <a:ext cx="741696" cy="6449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2" name="Freeform 181">
              <a:extLst>
                <a:ext uri="{FF2B5EF4-FFF2-40B4-BE49-F238E27FC236}">
                  <a16:creationId xmlns:a16="http://schemas.microsoft.com/office/drawing/2014/main" id="{891352C7-2DED-4EC5-9947-CC695243A2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2037" y="2001529"/>
              <a:ext cx="201165" cy="171987"/>
            </a:xfrm>
            <a:custGeom>
              <a:avLst/>
              <a:gdLst>
                <a:gd name="T0" fmla="*/ 0 w 70"/>
                <a:gd name="T1" fmla="*/ 12 h 60"/>
                <a:gd name="T2" fmla="*/ 47 w 70"/>
                <a:gd name="T3" fmla="*/ 32 h 60"/>
                <a:gd name="T4" fmla="*/ 56 w 70"/>
                <a:gd name="T5" fmla="*/ 45 h 60"/>
                <a:gd name="T6" fmla="*/ 59 w 70"/>
                <a:gd name="T7" fmla="*/ 59 h 60"/>
                <a:gd name="T8" fmla="*/ 63 w 70"/>
                <a:gd name="T9" fmla="*/ 39 h 60"/>
                <a:gd name="T10" fmla="*/ 65 w 70"/>
                <a:gd name="T11" fmla="*/ 37 h 60"/>
                <a:gd name="T12" fmla="*/ 70 w 70"/>
                <a:gd name="T13" fmla="*/ 0 h 60"/>
                <a:gd name="T14" fmla="*/ 0 w 70"/>
                <a:gd name="T15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0">
                  <a:moveTo>
                    <a:pt x="0" y="12"/>
                  </a:moveTo>
                  <a:cubicBezTo>
                    <a:pt x="0" y="12"/>
                    <a:pt x="17" y="29"/>
                    <a:pt x="47" y="32"/>
                  </a:cubicBezTo>
                  <a:cubicBezTo>
                    <a:pt x="47" y="32"/>
                    <a:pt x="56" y="29"/>
                    <a:pt x="56" y="45"/>
                  </a:cubicBezTo>
                  <a:cubicBezTo>
                    <a:pt x="56" y="60"/>
                    <a:pt x="59" y="59"/>
                    <a:pt x="59" y="59"/>
                  </a:cubicBezTo>
                  <a:cubicBezTo>
                    <a:pt x="59" y="59"/>
                    <a:pt x="59" y="43"/>
                    <a:pt x="63" y="39"/>
                  </a:cubicBezTo>
                  <a:cubicBezTo>
                    <a:pt x="67" y="35"/>
                    <a:pt x="65" y="37"/>
                    <a:pt x="65" y="37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3" name="Freeform 182">
              <a:extLst>
                <a:ext uri="{FF2B5EF4-FFF2-40B4-BE49-F238E27FC236}">
                  <a16:creationId xmlns:a16="http://schemas.microsoft.com/office/drawing/2014/main" id="{AB3CF924-9058-4AA3-8249-CA3ABC8D23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8633" y="2001529"/>
              <a:ext cx="62960" cy="122848"/>
            </a:xfrm>
            <a:custGeom>
              <a:avLst/>
              <a:gdLst>
                <a:gd name="T0" fmla="*/ 9 w 22"/>
                <a:gd name="T1" fmla="*/ 0 h 43"/>
                <a:gd name="T2" fmla="*/ 16 w 22"/>
                <a:gd name="T3" fmla="*/ 35 h 43"/>
                <a:gd name="T4" fmla="*/ 0 w 22"/>
                <a:gd name="T5" fmla="*/ 43 h 43"/>
                <a:gd name="T6" fmla="*/ 9 w 22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3">
                  <a:moveTo>
                    <a:pt x="9" y="0"/>
                  </a:moveTo>
                  <a:cubicBezTo>
                    <a:pt x="9" y="0"/>
                    <a:pt x="22" y="21"/>
                    <a:pt x="16" y="35"/>
                  </a:cubicBezTo>
                  <a:cubicBezTo>
                    <a:pt x="16" y="35"/>
                    <a:pt x="3" y="33"/>
                    <a:pt x="0" y="4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4" name="Freeform 183">
              <a:extLst>
                <a:ext uri="{FF2B5EF4-FFF2-40B4-BE49-F238E27FC236}">
                  <a16:creationId xmlns:a16="http://schemas.microsoft.com/office/drawing/2014/main" id="{45336FFD-CEAE-44A0-81DA-986A80D2D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9797" y="1863325"/>
              <a:ext cx="142812" cy="324012"/>
            </a:xfrm>
            <a:custGeom>
              <a:avLst/>
              <a:gdLst>
                <a:gd name="T0" fmla="*/ 16 w 50"/>
                <a:gd name="T1" fmla="*/ 0 h 113"/>
                <a:gd name="T2" fmla="*/ 20 w 50"/>
                <a:gd name="T3" fmla="*/ 75 h 113"/>
                <a:gd name="T4" fmla="*/ 6 w 50"/>
                <a:gd name="T5" fmla="*/ 97 h 113"/>
                <a:gd name="T6" fmla="*/ 39 w 50"/>
                <a:gd name="T7" fmla="*/ 93 h 113"/>
                <a:gd name="T8" fmla="*/ 16 w 50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13">
                  <a:moveTo>
                    <a:pt x="16" y="0"/>
                  </a:moveTo>
                  <a:cubicBezTo>
                    <a:pt x="16" y="0"/>
                    <a:pt x="39" y="36"/>
                    <a:pt x="20" y="75"/>
                  </a:cubicBezTo>
                  <a:cubicBezTo>
                    <a:pt x="0" y="113"/>
                    <a:pt x="6" y="97"/>
                    <a:pt x="6" y="97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50" y="28"/>
                    <a:pt x="16" y="0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5" name="Freeform 184">
              <a:extLst>
                <a:ext uri="{FF2B5EF4-FFF2-40B4-BE49-F238E27FC236}">
                  <a16:creationId xmlns:a16="http://schemas.microsoft.com/office/drawing/2014/main" id="{EE3F851A-E56E-4F0D-85DD-63017F57E8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2224" y="2629591"/>
              <a:ext cx="827691" cy="947467"/>
            </a:xfrm>
            <a:custGeom>
              <a:avLst/>
              <a:gdLst>
                <a:gd name="T0" fmla="*/ 178 w 288"/>
                <a:gd name="T1" fmla="*/ 0 h 330"/>
                <a:gd name="T2" fmla="*/ 260 w 288"/>
                <a:gd name="T3" fmla="*/ 78 h 330"/>
                <a:gd name="T4" fmla="*/ 288 w 288"/>
                <a:gd name="T5" fmla="*/ 254 h 330"/>
                <a:gd name="T6" fmla="*/ 25 w 288"/>
                <a:gd name="T7" fmla="*/ 330 h 330"/>
                <a:gd name="T8" fmla="*/ 0 w 288"/>
                <a:gd name="T9" fmla="*/ 152 h 330"/>
                <a:gd name="T10" fmla="*/ 162 w 288"/>
                <a:gd name="T11" fmla="*/ 148 h 330"/>
                <a:gd name="T12" fmla="*/ 178 w 288"/>
                <a:gd name="T1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330">
                  <a:moveTo>
                    <a:pt x="178" y="0"/>
                  </a:moveTo>
                  <a:cubicBezTo>
                    <a:pt x="178" y="0"/>
                    <a:pt x="242" y="23"/>
                    <a:pt x="260" y="78"/>
                  </a:cubicBezTo>
                  <a:cubicBezTo>
                    <a:pt x="282" y="145"/>
                    <a:pt x="288" y="254"/>
                    <a:pt x="288" y="254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78" y="0"/>
                    <a:pt x="178" y="0"/>
                    <a:pt x="178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6" name="Freeform 185">
              <a:extLst>
                <a:ext uri="{FF2B5EF4-FFF2-40B4-BE49-F238E27FC236}">
                  <a16:creationId xmlns:a16="http://schemas.microsoft.com/office/drawing/2014/main" id="{EAD3B52F-5D53-4BBF-A3D6-D362D3069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0508" y="5593306"/>
              <a:ext cx="374688" cy="310192"/>
            </a:xfrm>
            <a:custGeom>
              <a:avLst/>
              <a:gdLst>
                <a:gd name="T0" fmla="*/ 29 w 130"/>
                <a:gd name="T1" fmla="*/ 0 h 108"/>
                <a:gd name="T2" fmla="*/ 128 w 130"/>
                <a:gd name="T3" fmla="*/ 71 h 108"/>
                <a:gd name="T4" fmla="*/ 114 w 130"/>
                <a:gd name="T5" fmla="*/ 108 h 108"/>
                <a:gd name="T6" fmla="*/ 35 w 130"/>
                <a:gd name="T7" fmla="*/ 61 h 108"/>
                <a:gd name="T8" fmla="*/ 3 w 130"/>
                <a:gd name="T9" fmla="*/ 24 h 108"/>
                <a:gd name="T10" fmla="*/ 0 w 130"/>
                <a:gd name="T11" fmla="*/ 5 h 108"/>
                <a:gd name="T12" fmla="*/ 29 w 130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08">
                  <a:moveTo>
                    <a:pt x="29" y="0"/>
                  </a:moveTo>
                  <a:cubicBezTo>
                    <a:pt x="29" y="0"/>
                    <a:pt x="125" y="40"/>
                    <a:pt x="128" y="71"/>
                  </a:cubicBezTo>
                  <a:cubicBezTo>
                    <a:pt x="130" y="101"/>
                    <a:pt x="114" y="108"/>
                    <a:pt x="114" y="108"/>
                  </a:cubicBezTo>
                  <a:cubicBezTo>
                    <a:pt x="114" y="108"/>
                    <a:pt x="60" y="84"/>
                    <a:pt x="35" y="61"/>
                  </a:cubicBezTo>
                  <a:cubicBezTo>
                    <a:pt x="11" y="38"/>
                    <a:pt x="3" y="24"/>
                    <a:pt x="3" y="24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7" name="Freeform 186">
              <a:extLst>
                <a:ext uri="{FF2B5EF4-FFF2-40B4-BE49-F238E27FC236}">
                  <a16:creationId xmlns:a16="http://schemas.microsoft.com/office/drawing/2014/main" id="{D34B343D-DAE3-4983-BA2A-E109554C9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6799" y="5171015"/>
              <a:ext cx="165845" cy="468359"/>
            </a:xfrm>
            <a:custGeom>
              <a:avLst/>
              <a:gdLst>
                <a:gd name="T0" fmla="*/ 0 w 58"/>
                <a:gd name="T1" fmla="*/ 17 h 163"/>
                <a:gd name="T2" fmla="*/ 26 w 58"/>
                <a:gd name="T3" fmla="*/ 152 h 163"/>
                <a:gd name="T4" fmla="*/ 55 w 58"/>
                <a:gd name="T5" fmla="*/ 152 h 163"/>
                <a:gd name="T6" fmla="*/ 58 w 58"/>
                <a:gd name="T7" fmla="*/ 0 h 163"/>
                <a:gd name="T8" fmla="*/ 0 w 58"/>
                <a:gd name="T9" fmla="*/ 1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63">
                  <a:moveTo>
                    <a:pt x="0" y="17"/>
                  </a:moveTo>
                  <a:cubicBezTo>
                    <a:pt x="26" y="152"/>
                    <a:pt x="26" y="152"/>
                    <a:pt x="26" y="152"/>
                  </a:cubicBezTo>
                  <a:cubicBezTo>
                    <a:pt x="26" y="152"/>
                    <a:pt x="36" y="163"/>
                    <a:pt x="55" y="15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0" y="17"/>
                    <a:pt x="0" y="17"/>
                    <a:pt x="0" y="17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8" name="Freeform 187">
              <a:extLst>
                <a:ext uri="{FF2B5EF4-FFF2-40B4-BE49-F238E27FC236}">
                  <a16:creationId xmlns:a16="http://schemas.microsoft.com/office/drawing/2014/main" id="{425EA1EF-8229-4B77-B5FD-0E8E0618E2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9721" y="5668550"/>
              <a:ext cx="319405" cy="244162"/>
            </a:xfrm>
            <a:custGeom>
              <a:avLst/>
              <a:gdLst>
                <a:gd name="T0" fmla="*/ 0 w 111"/>
                <a:gd name="T1" fmla="*/ 0 h 85"/>
                <a:gd name="T2" fmla="*/ 2 w 111"/>
                <a:gd name="T3" fmla="*/ 12 h 85"/>
                <a:gd name="T4" fmla="*/ 95 w 111"/>
                <a:gd name="T5" fmla="*/ 85 h 85"/>
                <a:gd name="T6" fmla="*/ 111 w 111"/>
                <a:gd name="T7" fmla="*/ 82 h 85"/>
                <a:gd name="T8" fmla="*/ 37 w 111"/>
                <a:gd name="T9" fmla="*/ 36 h 85"/>
                <a:gd name="T10" fmla="*/ 0 w 111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5">
                  <a:moveTo>
                    <a:pt x="0" y="0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44" y="72"/>
                    <a:pt x="95" y="85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67" y="63"/>
                    <a:pt x="37" y="36"/>
                  </a:cubicBezTo>
                  <a:cubicBezTo>
                    <a:pt x="8" y="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89" name="Freeform 188">
              <a:extLst>
                <a:ext uri="{FF2B5EF4-FFF2-40B4-BE49-F238E27FC236}">
                  <a16:creationId xmlns:a16="http://schemas.microsoft.com/office/drawing/2014/main" id="{E0B7A948-C08D-4D13-BD11-A19DCEDC2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8664" y="5705405"/>
              <a:ext cx="374688" cy="230340"/>
            </a:xfrm>
            <a:custGeom>
              <a:avLst/>
              <a:gdLst>
                <a:gd name="T0" fmla="*/ 130 w 130"/>
                <a:gd name="T1" fmla="*/ 0 h 80"/>
                <a:gd name="T2" fmla="*/ 130 w 130"/>
                <a:gd name="T3" fmla="*/ 17 h 80"/>
                <a:gd name="T4" fmla="*/ 8 w 130"/>
                <a:gd name="T5" fmla="*/ 80 h 80"/>
                <a:gd name="T6" fmla="*/ 0 w 130"/>
                <a:gd name="T7" fmla="*/ 75 h 80"/>
                <a:gd name="T8" fmla="*/ 79 w 130"/>
                <a:gd name="T9" fmla="*/ 33 h 80"/>
                <a:gd name="T10" fmla="*/ 130 w 130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0">
                  <a:moveTo>
                    <a:pt x="130" y="0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130" y="17"/>
                    <a:pt x="55" y="74"/>
                    <a:pt x="8" y="8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34" y="61"/>
                    <a:pt x="79" y="33"/>
                  </a:cubicBezTo>
                  <a:cubicBezTo>
                    <a:pt x="123" y="6"/>
                    <a:pt x="130" y="0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0" name="Freeform 189">
              <a:extLst>
                <a:ext uri="{FF2B5EF4-FFF2-40B4-BE49-F238E27FC236}">
                  <a16:creationId xmlns:a16="http://schemas.microsoft.com/office/drawing/2014/main" id="{2AB8409F-FB2B-4FCC-BF59-324ADBA525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59078" y="5645517"/>
              <a:ext cx="98279" cy="46068"/>
            </a:xfrm>
            <a:custGeom>
              <a:avLst/>
              <a:gdLst>
                <a:gd name="T0" fmla="*/ 2 w 34"/>
                <a:gd name="T1" fmla="*/ 5 h 16"/>
                <a:gd name="T2" fmla="*/ 2 w 34"/>
                <a:gd name="T3" fmla="*/ 5 h 16"/>
                <a:gd name="T4" fmla="*/ 8 w 34"/>
                <a:gd name="T5" fmla="*/ 4 h 16"/>
                <a:gd name="T6" fmla="*/ 19 w 34"/>
                <a:gd name="T7" fmla="*/ 6 h 16"/>
                <a:gd name="T8" fmla="*/ 30 w 34"/>
                <a:gd name="T9" fmla="*/ 15 h 16"/>
                <a:gd name="T10" fmla="*/ 33 w 34"/>
                <a:gd name="T11" fmla="*/ 15 h 16"/>
                <a:gd name="T12" fmla="*/ 34 w 34"/>
                <a:gd name="T13" fmla="*/ 12 h 16"/>
                <a:gd name="T14" fmla="*/ 20 w 34"/>
                <a:gd name="T15" fmla="*/ 2 h 16"/>
                <a:gd name="T16" fmla="*/ 8 w 34"/>
                <a:gd name="T17" fmla="*/ 0 h 16"/>
                <a:gd name="T18" fmla="*/ 1 w 34"/>
                <a:gd name="T19" fmla="*/ 1 h 16"/>
                <a:gd name="T20" fmla="*/ 0 w 34"/>
                <a:gd name="T21" fmla="*/ 3 h 16"/>
                <a:gd name="T22" fmla="*/ 2 w 34"/>
                <a:gd name="T23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16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5" y="4"/>
                    <a:pt x="8" y="4"/>
                  </a:cubicBezTo>
                  <a:cubicBezTo>
                    <a:pt x="11" y="4"/>
                    <a:pt x="15" y="5"/>
                    <a:pt x="19" y="6"/>
                  </a:cubicBezTo>
                  <a:cubicBezTo>
                    <a:pt x="23" y="8"/>
                    <a:pt x="27" y="10"/>
                    <a:pt x="30" y="15"/>
                  </a:cubicBezTo>
                  <a:cubicBezTo>
                    <a:pt x="31" y="16"/>
                    <a:pt x="32" y="16"/>
                    <a:pt x="33" y="15"/>
                  </a:cubicBezTo>
                  <a:cubicBezTo>
                    <a:pt x="34" y="14"/>
                    <a:pt x="34" y="13"/>
                    <a:pt x="34" y="12"/>
                  </a:cubicBezTo>
                  <a:cubicBezTo>
                    <a:pt x="30" y="7"/>
                    <a:pt x="25" y="4"/>
                    <a:pt x="20" y="2"/>
                  </a:cubicBezTo>
                  <a:cubicBezTo>
                    <a:pt x="16" y="1"/>
                    <a:pt x="11" y="0"/>
                    <a:pt x="8" y="0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1" name="Freeform 190">
              <a:extLst>
                <a:ext uri="{FF2B5EF4-FFF2-40B4-BE49-F238E27FC236}">
                  <a16:creationId xmlns:a16="http://schemas.microsoft.com/office/drawing/2014/main" id="{3AE93498-876A-4B7F-9177-3393FA389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2224" y="5674692"/>
              <a:ext cx="85994" cy="50675"/>
            </a:xfrm>
            <a:custGeom>
              <a:avLst/>
              <a:gdLst>
                <a:gd name="T0" fmla="*/ 1 w 30"/>
                <a:gd name="T1" fmla="*/ 4 h 18"/>
                <a:gd name="T2" fmla="*/ 2 w 30"/>
                <a:gd name="T3" fmla="*/ 4 h 18"/>
                <a:gd name="T4" fmla="*/ 14 w 30"/>
                <a:gd name="T5" fmla="*/ 8 h 18"/>
                <a:gd name="T6" fmla="*/ 26 w 30"/>
                <a:gd name="T7" fmla="*/ 17 h 18"/>
                <a:gd name="T8" fmla="*/ 29 w 30"/>
                <a:gd name="T9" fmla="*/ 18 h 18"/>
                <a:gd name="T10" fmla="*/ 29 w 30"/>
                <a:gd name="T11" fmla="*/ 15 h 18"/>
                <a:gd name="T12" fmla="*/ 22 w 30"/>
                <a:gd name="T13" fmla="*/ 8 h 18"/>
                <a:gd name="T14" fmla="*/ 2 w 30"/>
                <a:gd name="T15" fmla="*/ 0 h 18"/>
                <a:gd name="T16" fmla="*/ 0 w 30"/>
                <a:gd name="T17" fmla="*/ 2 h 18"/>
                <a:gd name="T18" fmla="*/ 1 w 30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1" y="4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4" y="5"/>
                    <a:pt x="9" y="6"/>
                    <a:pt x="14" y="8"/>
                  </a:cubicBezTo>
                  <a:cubicBezTo>
                    <a:pt x="19" y="10"/>
                    <a:pt x="24" y="13"/>
                    <a:pt x="26" y="17"/>
                  </a:cubicBezTo>
                  <a:cubicBezTo>
                    <a:pt x="26" y="18"/>
                    <a:pt x="28" y="18"/>
                    <a:pt x="29" y="18"/>
                  </a:cubicBezTo>
                  <a:cubicBezTo>
                    <a:pt x="30" y="17"/>
                    <a:pt x="30" y="16"/>
                    <a:pt x="29" y="15"/>
                  </a:cubicBezTo>
                  <a:cubicBezTo>
                    <a:pt x="28" y="12"/>
                    <a:pt x="25" y="10"/>
                    <a:pt x="22" y="8"/>
                  </a:cubicBezTo>
                  <a:cubicBezTo>
                    <a:pt x="14" y="2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2" name="Freeform 191">
              <a:extLst>
                <a:ext uri="{FF2B5EF4-FFF2-40B4-BE49-F238E27FC236}">
                  <a16:creationId xmlns:a16="http://schemas.microsoft.com/office/drawing/2014/main" id="{5EE4F1CF-2F56-4E97-B91C-96DB2C3C02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084" y="5702333"/>
              <a:ext cx="75245" cy="52211"/>
            </a:xfrm>
            <a:custGeom>
              <a:avLst/>
              <a:gdLst>
                <a:gd name="T0" fmla="*/ 2 w 26"/>
                <a:gd name="T1" fmla="*/ 4 h 18"/>
                <a:gd name="T2" fmla="*/ 2 w 26"/>
                <a:gd name="T3" fmla="*/ 4 h 18"/>
                <a:gd name="T4" fmla="*/ 11 w 26"/>
                <a:gd name="T5" fmla="*/ 7 h 18"/>
                <a:gd name="T6" fmla="*/ 22 w 26"/>
                <a:gd name="T7" fmla="*/ 17 h 18"/>
                <a:gd name="T8" fmla="*/ 25 w 26"/>
                <a:gd name="T9" fmla="*/ 18 h 18"/>
                <a:gd name="T10" fmla="*/ 26 w 26"/>
                <a:gd name="T11" fmla="*/ 15 h 18"/>
                <a:gd name="T12" fmla="*/ 20 w 26"/>
                <a:gd name="T13" fmla="*/ 7 h 18"/>
                <a:gd name="T14" fmla="*/ 2 w 26"/>
                <a:gd name="T15" fmla="*/ 0 h 18"/>
                <a:gd name="T16" fmla="*/ 0 w 26"/>
                <a:gd name="T17" fmla="*/ 2 h 18"/>
                <a:gd name="T18" fmla="*/ 2 w 26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8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7" y="5"/>
                    <a:pt x="11" y="7"/>
                  </a:cubicBezTo>
                  <a:cubicBezTo>
                    <a:pt x="16" y="9"/>
                    <a:pt x="21" y="12"/>
                    <a:pt x="22" y="17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26" y="17"/>
                    <a:pt x="26" y="16"/>
                    <a:pt x="26" y="15"/>
                  </a:cubicBezTo>
                  <a:cubicBezTo>
                    <a:pt x="25" y="12"/>
                    <a:pt x="23" y="9"/>
                    <a:pt x="20" y="7"/>
                  </a:cubicBezTo>
                  <a:cubicBezTo>
                    <a:pt x="13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3" name="Freeform 192">
              <a:extLst>
                <a:ext uri="{FF2B5EF4-FFF2-40B4-BE49-F238E27FC236}">
                  <a16:creationId xmlns:a16="http://schemas.microsoft.com/office/drawing/2014/main" id="{327C0EDD-DE28-4ED8-A7DA-3017EA3445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4744" y="5714618"/>
              <a:ext cx="121313" cy="66032"/>
            </a:xfrm>
            <a:custGeom>
              <a:avLst/>
              <a:gdLst>
                <a:gd name="T0" fmla="*/ 4 w 42"/>
                <a:gd name="T1" fmla="*/ 22 h 23"/>
                <a:gd name="T2" fmla="*/ 4 w 42"/>
                <a:gd name="T3" fmla="*/ 22 h 23"/>
                <a:gd name="T4" fmla="*/ 40 w 42"/>
                <a:gd name="T5" fmla="*/ 4 h 23"/>
                <a:gd name="T6" fmla="*/ 41 w 42"/>
                <a:gd name="T7" fmla="*/ 2 h 23"/>
                <a:gd name="T8" fmla="*/ 39 w 42"/>
                <a:gd name="T9" fmla="*/ 0 h 23"/>
                <a:gd name="T10" fmla="*/ 0 w 42"/>
                <a:gd name="T11" fmla="*/ 20 h 23"/>
                <a:gd name="T12" fmla="*/ 1 w 42"/>
                <a:gd name="T13" fmla="*/ 23 h 23"/>
                <a:gd name="T14" fmla="*/ 4 w 4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3">
                  <a:moveTo>
                    <a:pt x="4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14" y="7"/>
                    <a:pt x="40" y="4"/>
                  </a:cubicBezTo>
                  <a:cubicBezTo>
                    <a:pt x="41" y="4"/>
                    <a:pt x="42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1" y="4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3"/>
                    <a:pt x="3" y="23"/>
                    <a:pt x="4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4" name="Freeform 193">
              <a:extLst>
                <a:ext uri="{FF2B5EF4-FFF2-40B4-BE49-F238E27FC236}">
                  <a16:creationId xmlns:a16="http://schemas.microsoft.com/office/drawing/2014/main" id="{AC11EBC3-DEB8-48C4-ABFB-73113EA1EE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1747" y="5674692"/>
              <a:ext cx="98279" cy="59889"/>
            </a:xfrm>
            <a:custGeom>
              <a:avLst/>
              <a:gdLst>
                <a:gd name="T0" fmla="*/ 4 w 34"/>
                <a:gd name="T1" fmla="*/ 20 h 21"/>
                <a:gd name="T2" fmla="*/ 4 w 34"/>
                <a:gd name="T3" fmla="*/ 20 h 21"/>
                <a:gd name="T4" fmla="*/ 12 w 34"/>
                <a:gd name="T5" fmla="*/ 12 h 21"/>
                <a:gd name="T6" fmla="*/ 32 w 34"/>
                <a:gd name="T7" fmla="*/ 4 h 21"/>
                <a:gd name="T8" fmla="*/ 34 w 34"/>
                <a:gd name="T9" fmla="*/ 2 h 21"/>
                <a:gd name="T10" fmla="*/ 31 w 34"/>
                <a:gd name="T11" fmla="*/ 0 h 21"/>
                <a:gd name="T12" fmla="*/ 9 w 34"/>
                <a:gd name="T13" fmla="*/ 10 h 21"/>
                <a:gd name="T14" fmla="*/ 1 w 34"/>
                <a:gd name="T15" fmla="*/ 18 h 21"/>
                <a:gd name="T16" fmla="*/ 2 w 34"/>
                <a:gd name="T17" fmla="*/ 21 h 21"/>
                <a:gd name="T18" fmla="*/ 4 w 34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1">
                  <a:moveTo>
                    <a:pt x="4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5" y="19"/>
                    <a:pt x="8" y="16"/>
                    <a:pt x="12" y="12"/>
                  </a:cubicBezTo>
                  <a:cubicBezTo>
                    <a:pt x="17" y="9"/>
                    <a:pt x="24" y="5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3" y="1"/>
                    <a:pt x="33" y="0"/>
                    <a:pt x="31" y="0"/>
                  </a:cubicBezTo>
                  <a:cubicBezTo>
                    <a:pt x="22" y="1"/>
                    <a:pt x="14" y="6"/>
                    <a:pt x="9" y="10"/>
                  </a:cubicBezTo>
                  <a:cubicBezTo>
                    <a:pt x="4" y="14"/>
                    <a:pt x="1" y="18"/>
                    <a:pt x="1" y="18"/>
                  </a:cubicBezTo>
                  <a:cubicBezTo>
                    <a:pt x="0" y="19"/>
                    <a:pt x="1" y="20"/>
                    <a:pt x="2" y="21"/>
                  </a:cubicBezTo>
                  <a:cubicBezTo>
                    <a:pt x="3" y="21"/>
                    <a:pt x="4" y="21"/>
                    <a:pt x="4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5" name="Freeform 194">
              <a:extLst>
                <a:ext uri="{FF2B5EF4-FFF2-40B4-BE49-F238E27FC236}">
                  <a16:creationId xmlns:a16="http://schemas.microsoft.com/office/drawing/2014/main" id="{6B3C4008-CF3F-46D6-B461-82DEF902F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9537" y="5636303"/>
              <a:ext cx="81387" cy="49139"/>
            </a:xfrm>
            <a:custGeom>
              <a:avLst/>
              <a:gdLst>
                <a:gd name="T0" fmla="*/ 4 w 28"/>
                <a:gd name="T1" fmla="*/ 16 h 17"/>
                <a:gd name="T2" fmla="*/ 4 w 28"/>
                <a:gd name="T3" fmla="*/ 16 h 17"/>
                <a:gd name="T4" fmla="*/ 4 w 28"/>
                <a:gd name="T5" fmla="*/ 16 h 17"/>
                <a:gd name="T6" fmla="*/ 4 w 28"/>
                <a:gd name="T7" fmla="*/ 16 h 17"/>
                <a:gd name="T8" fmla="*/ 4 w 28"/>
                <a:gd name="T9" fmla="*/ 16 h 17"/>
                <a:gd name="T10" fmla="*/ 4 w 28"/>
                <a:gd name="T11" fmla="*/ 16 h 17"/>
                <a:gd name="T12" fmla="*/ 9 w 28"/>
                <a:gd name="T13" fmla="*/ 10 h 17"/>
                <a:gd name="T14" fmla="*/ 26 w 28"/>
                <a:gd name="T15" fmla="*/ 4 h 17"/>
                <a:gd name="T16" fmla="*/ 28 w 28"/>
                <a:gd name="T17" fmla="*/ 2 h 17"/>
                <a:gd name="T18" fmla="*/ 26 w 28"/>
                <a:gd name="T19" fmla="*/ 0 h 17"/>
                <a:gd name="T20" fmla="*/ 6 w 28"/>
                <a:gd name="T21" fmla="*/ 8 h 17"/>
                <a:gd name="T22" fmla="*/ 0 w 28"/>
                <a:gd name="T23" fmla="*/ 14 h 17"/>
                <a:gd name="T24" fmla="*/ 1 w 28"/>
                <a:gd name="T25" fmla="*/ 17 h 17"/>
                <a:gd name="T26" fmla="*/ 4 w 28"/>
                <a:gd name="T2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5" y="13"/>
                    <a:pt x="9" y="10"/>
                  </a:cubicBezTo>
                  <a:cubicBezTo>
                    <a:pt x="12" y="8"/>
                    <a:pt x="18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16" y="1"/>
                    <a:pt x="10" y="4"/>
                    <a:pt x="6" y="8"/>
                  </a:cubicBezTo>
                  <a:cubicBezTo>
                    <a:pt x="2" y="11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7"/>
                    <a:pt x="3" y="17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6" name="Freeform 195">
              <a:extLst>
                <a:ext uri="{FF2B5EF4-FFF2-40B4-BE49-F238E27FC236}">
                  <a16:creationId xmlns:a16="http://schemas.microsoft.com/office/drawing/2014/main" id="{4B3FC90B-8592-4994-87AE-93A89ADCD5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17803" y="3124055"/>
              <a:ext cx="135133" cy="185808"/>
            </a:xfrm>
            <a:custGeom>
              <a:avLst/>
              <a:gdLst>
                <a:gd name="T0" fmla="*/ 40 w 47"/>
                <a:gd name="T1" fmla="*/ 11 h 65"/>
                <a:gd name="T2" fmla="*/ 21 w 47"/>
                <a:gd name="T3" fmla="*/ 0 h 65"/>
                <a:gd name="T4" fmla="*/ 24 w 47"/>
                <a:gd name="T5" fmla="*/ 8 h 65"/>
                <a:gd name="T6" fmla="*/ 2 w 47"/>
                <a:gd name="T7" fmla="*/ 12 h 65"/>
                <a:gd name="T8" fmla="*/ 10 w 47"/>
                <a:gd name="T9" fmla="*/ 50 h 65"/>
                <a:gd name="T10" fmla="*/ 47 w 47"/>
                <a:gd name="T11" fmla="*/ 50 h 65"/>
                <a:gd name="T12" fmla="*/ 40 w 47"/>
                <a:gd name="T13" fmla="*/ 1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65">
                  <a:moveTo>
                    <a:pt x="40" y="11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0" y="35"/>
                    <a:pt x="10" y="50"/>
                  </a:cubicBezTo>
                  <a:cubicBezTo>
                    <a:pt x="21" y="65"/>
                    <a:pt x="47" y="50"/>
                    <a:pt x="47" y="50"/>
                  </a:cubicBezTo>
                  <a:lnTo>
                    <a:pt x="40" y="11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7" name="Freeform 196">
              <a:extLst>
                <a:ext uri="{FF2B5EF4-FFF2-40B4-BE49-F238E27FC236}">
                  <a16:creationId xmlns:a16="http://schemas.microsoft.com/office/drawing/2014/main" id="{1AB640E1-16DC-4D8D-A43B-291A2FBE9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7462" y="3962496"/>
              <a:ext cx="89065" cy="254910"/>
            </a:xfrm>
            <a:custGeom>
              <a:avLst/>
              <a:gdLst>
                <a:gd name="T0" fmla="*/ 0 w 31"/>
                <a:gd name="T1" fmla="*/ 0 h 89"/>
                <a:gd name="T2" fmla="*/ 11 w 31"/>
                <a:gd name="T3" fmla="*/ 68 h 89"/>
                <a:gd name="T4" fmla="*/ 28 w 31"/>
                <a:gd name="T5" fmla="*/ 87 h 89"/>
                <a:gd name="T6" fmla="*/ 22 w 31"/>
                <a:gd name="T7" fmla="*/ 36 h 89"/>
                <a:gd name="T8" fmla="*/ 31 w 31"/>
                <a:gd name="T9" fmla="*/ 48 h 89"/>
                <a:gd name="T10" fmla="*/ 31 w 31"/>
                <a:gd name="T11" fmla="*/ 8 h 89"/>
                <a:gd name="T12" fmla="*/ 0 w 31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89">
                  <a:moveTo>
                    <a:pt x="0" y="0"/>
                  </a:moveTo>
                  <a:cubicBezTo>
                    <a:pt x="0" y="0"/>
                    <a:pt x="0" y="46"/>
                    <a:pt x="11" y="68"/>
                  </a:cubicBezTo>
                  <a:cubicBezTo>
                    <a:pt x="22" y="89"/>
                    <a:pt x="28" y="87"/>
                    <a:pt x="28" y="87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30" y="53"/>
                    <a:pt x="31" y="48"/>
                  </a:cubicBezTo>
                  <a:cubicBezTo>
                    <a:pt x="31" y="43"/>
                    <a:pt x="31" y="8"/>
                    <a:pt x="31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8" name="Freeform 197">
              <a:extLst>
                <a:ext uri="{FF2B5EF4-FFF2-40B4-BE49-F238E27FC236}">
                  <a16:creationId xmlns:a16="http://schemas.microsoft.com/office/drawing/2014/main" id="{5032C75A-981B-4B74-9C62-4AEA8C76D4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7877" y="2975102"/>
              <a:ext cx="109028" cy="182737"/>
            </a:xfrm>
            <a:custGeom>
              <a:avLst/>
              <a:gdLst>
                <a:gd name="T0" fmla="*/ 30 w 71"/>
                <a:gd name="T1" fmla="*/ 119 h 119"/>
                <a:gd name="T2" fmla="*/ 0 w 71"/>
                <a:gd name="T3" fmla="*/ 7 h 119"/>
                <a:gd name="T4" fmla="*/ 49 w 71"/>
                <a:gd name="T5" fmla="*/ 0 h 119"/>
                <a:gd name="T6" fmla="*/ 71 w 71"/>
                <a:gd name="T7" fmla="*/ 112 h 119"/>
                <a:gd name="T8" fmla="*/ 30 w 71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9">
                  <a:moveTo>
                    <a:pt x="30" y="119"/>
                  </a:moveTo>
                  <a:lnTo>
                    <a:pt x="0" y="7"/>
                  </a:lnTo>
                  <a:lnTo>
                    <a:pt x="49" y="0"/>
                  </a:lnTo>
                  <a:lnTo>
                    <a:pt x="71" y="112"/>
                  </a:lnTo>
                  <a:lnTo>
                    <a:pt x="30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99" name="Freeform 198">
              <a:extLst>
                <a:ext uri="{FF2B5EF4-FFF2-40B4-BE49-F238E27FC236}">
                  <a16:creationId xmlns:a16="http://schemas.microsoft.com/office/drawing/2014/main" id="{26C406AB-5F77-47A9-8C75-FF58644FA0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0799" y="3279151"/>
              <a:ext cx="107492" cy="211913"/>
            </a:xfrm>
            <a:custGeom>
              <a:avLst/>
              <a:gdLst>
                <a:gd name="T0" fmla="*/ 0 w 37"/>
                <a:gd name="T1" fmla="*/ 0 h 74"/>
                <a:gd name="T2" fmla="*/ 9 w 37"/>
                <a:gd name="T3" fmla="*/ 67 h 74"/>
                <a:gd name="T4" fmla="*/ 37 w 37"/>
                <a:gd name="T5" fmla="*/ 64 h 74"/>
                <a:gd name="T6" fmla="*/ 22 w 37"/>
                <a:gd name="T7" fmla="*/ 0 h 74"/>
                <a:gd name="T8" fmla="*/ 0 w 37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4">
                  <a:moveTo>
                    <a:pt x="0" y="0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24" y="74"/>
                    <a:pt x="37" y="6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11" y="5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0" name="Freeform 199">
              <a:extLst>
                <a:ext uri="{FF2B5EF4-FFF2-40B4-BE49-F238E27FC236}">
                  <a16:creationId xmlns:a16="http://schemas.microsoft.com/office/drawing/2014/main" id="{4152506D-871E-4767-9E05-9201285A5A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4019" y="2979709"/>
              <a:ext cx="66032" cy="15356"/>
            </a:xfrm>
            <a:custGeom>
              <a:avLst/>
              <a:gdLst>
                <a:gd name="T0" fmla="*/ 0 w 23"/>
                <a:gd name="T1" fmla="*/ 3 h 5"/>
                <a:gd name="T2" fmla="*/ 11 w 23"/>
                <a:gd name="T3" fmla="*/ 5 h 5"/>
                <a:gd name="T4" fmla="*/ 12 w 23"/>
                <a:gd name="T5" fmla="*/ 5 h 5"/>
                <a:gd name="T6" fmla="*/ 18 w 23"/>
                <a:gd name="T7" fmla="*/ 5 h 5"/>
                <a:gd name="T8" fmla="*/ 13 w 23"/>
                <a:gd name="T9" fmla="*/ 4 h 5"/>
                <a:gd name="T10" fmla="*/ 23 w 23"/>
                <a:gd name="T11" fmla="*/ 0 h 5"/>
                <a:gd name="T12" fmla="*/ 11 w 23"/>
                <a:gd name="T13" fmla="*/ 3 h 5"/>
                <a:gd name="T14" fmla="*/ 0 w 2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5">
                  <a:moveTo>
                    <a:pt x="0" y="3"/>
                  </a:moveTo>
                  <a:cubicBezTo>
                    <a:pt x="0" y="3"/>
                    <a:pt x="4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20" y="3"/>
                    <a:pt x="23" y="0"/>
                  </a:cubicBezTo>
                  <a:cubicBezTo>
                    <a:pt x="23" y="0"/>
                    <a:pt x="17" y="2"/>
                    <a:pt x="11" y="3"/>
                  </a:cubicBezTo>
                  <a:cubicBezTo>
                    <a:pt x="5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1" name="Freeform 200">
              <a:extLst>
                <a:ext uri="{FF2B5EF4-FFF2-40B4-BE49-F238E27FC236}">
                  <a16:creationId xmlns:a16="http://schemas.microsoft.com/office/drawing/2014/main" id="{EA9BBD49-034F-4D16-BC2B-E091034B1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0874" y="3137876"/>
              <a:ext cx="66032" cy="19964"/>
            </a:xfrm>
            <a:custGeom>
              <a:avLst/>
              <a:gdLst>
                <a:gd name="T0" fmla="*/ 43 w 43"/>
                <a:gd name="T1" fmla="*/ 6 h 13"/>
                <a:gd name="T2" fmla="*/ 2 w 43"/>
                <a:gd name="T3" fmla="*/ 13 h 13"/>
                <a:gd name="T4" fmla="*/ 0 w 43"/>
                <a:gd name="T5" fmla="*/ 6 h 13"/>
                <a:gd name="T6" fmla="*/ 43 w 43"/>
                <a:gd name="T7" fmla="*/ 0 h 13"/>
                <a:gd name="T8" fmla="*/ 43 w 43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3">
                  <a:moveTo>
                    <a:pt x="43" y="6"/>
                  </a:moveTo>
                  <a:lnTo>
                    <a:pt x="2" y="13"/>
                  </a:lnTo>
                  <a:lnTo>
                    <a:pt x="0" y="6"/>
                  </a:lnTo>
                  <a:lnTo>
                    <a:pt x="43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2" name="Freeform 201">
              <a:extLst>
                <a:ext uri="{FF2B5EF4-FFF2-40B4-BE49-F238E27FC236}">
                  <a16:creationId xmlns:a16="http://schemas.microsoft.com/office/drawing/2014/main" id="{641728DC-8EF4-4BD8-BE55-2C3F6E68CD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0874" y="3153232"/>
              <a:ext cx="12285" cy="238019"/>
            </a:xfrm>
            <a:custGeom>
              <a:avLst/>
              <a:gdLst>
                <a:gd name="T0" fmla="*/ 0 w 8"/>
                <a:gd name="T1" fmla="*/ 0 h 155"/>
                <a:gd name="T2" fmla="*/ 0 w 8"/>
                <a:gd name="T3" fmla="*/ 155 h 155"/>
                <a:gd name="T4" fmla="*/ 8 w 8"/>
                <a:gd name="T5" fmla="*/ 155 h 155"/>
                <a:gd name="T6" fmla="*/ 0 w 8"/>
                <a:gd name="T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5">
                  <a:moveTo>
                    <a:pt x="0" y="0"/>
                  </a:moveTo>
                  <a:lnTo>
                    <a:pt x="0" y="155"/>
                  </a:lnTo>
                  <a:lnTo>
                    <a:pt x="8" y="1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3" name="Freeform 202">
              <a:extLst>
                <a:ext uri="{FF2B5EF4-FFF2-40B4-BE49-F238E27FC236}">
                  <a16:creationId xmlns:a16="http://schemas.microsoft.com/office/drawing/2014/main" id="{4796F57C-F053-45DC-92C3-081EFF68E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87511" y="3054953"/>
              <a:ext cx="181201" cy="148954"/>
            </a:xfrm>
            <a:custGeom>
              <a:avLst/>
              <a:gdLst>
                <a:gd name="T0" fmla="*/ 0 w 63"/>
                <a:gd name="T1" fmla="*/ 0 h 52"/>
                <a:gd name="T2" fmla="*/ 63 w 63"/>
                <a:gd name="T3" fmla="*/ 52 h 52"/>
                <a:gd name="T4" fmla="*/ 0 w 6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52">
                  <a:moveTo>
                    <a:pt x="0" y="0"/>
                  </a:moveTo>
                  <a:cubicBezTo>
                    <a:pt x="0" y="0"/>
                    <a:pt x="50" y="15"/>
                    <a:pt x="63" y="52"/>
                  </a:cubicBezTo>
                  <a:cubicBezTo>
                    <a:pt x="63" y="52"/>
                    <a:pt x="33" y="9"/>
                    <a:pt x="0" y="0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4" name="Freeform 203">
              <a:extLst>
                <a:ext uri="{FF2B5EF4-FFF2-40B4-BE49-F238E27FC236}">
                  <a16:creationId xmlns:a16="http://schemas.microsoft.com/office/drawing/2014/main" id="{855BEF6A-102C-47CC-A30C-96243A065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87511" y="3005814"/>
              <a:ext cx="161239" cy="49139"/>
            </a:xfrm>
            <a:custGeom>
              <a:avLst/>
              <a:gdLst>
                <a:gd name="T0" fmla="*/ 0 w 56"/>
                <a:gd name="T1" fmla="*/ 17 h 17"/>
                <a:gd name="T2" fmla="*/ 56 w 56"/>
                <a:gd name="T3" fmla="*/ 17 h 17"/>
                <a:gd name="T4" fmla="*/ 0 w 56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7">
                  <a:moveTo>
                    <a:pt x="0" y="17"/>
                  </a:moveTo>
                  <a:cubicBezTo>
                    <a:pt x="0" y="17"/>
                    <a:pt x="27" y="0"/>
                    <a:pt x="56" y="17"/>
                  </a:cubicBezTo>
                  <a:cubicBezTo>
                    <a:pt x="56" y="17"/>
                    <a:pt x="17" y="10"/>
                    <a:pt x="0" y="17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05" name="Freeform 204">
              <a:extLst>
                <a:ext uri="{FF2B5EF4-FFF2-40B4-BE49-F238E27FC236}">
                  <a16:creationId xmlns:a16="http://schemas.microsoft.com/office/drawing/2014/main" id="{5D2748C4-078A-4741-A692-5516088636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5183" y="2595809"/>
              <a:ext cx="368545" cy="313263"/>
            </a:xfrm>
            <a:custGeom>
              <a:avLst/>
              <a:gdLst>
                <a:gd name="T0" fmla="*/ 10 w 128"/>
                <a:gd name="T1" fmla="*/ 9 h 109"/>
                <a:gd name="T2" fmla="*/ 0 w 128"/>
                <a:gd name="T3" fmla="*/ 14 h 109"/>
                <a:gd name="T4" fmla="*/ 24 w 128"/>
                <a:gd name="T5" fmla="*/ 109 h 109"/>
                <a:gd name="T6" fmla="*/ 128 w 128"/>
                <a:gd name="T7" fmla="*/ 3 h 109"/>
                <a:gd name="T8" fmla="*/ 121 w 128"/>
                <a:gd name="T9" fmla="*/ 0 h 109"/>
                <a:gd name="T10" fmla="*/ 25 w 128"/>
                <a:gd name="T11" fmla="*/ 99 h 109"/>
                <a:gd name="T12" fmla="*/ 10 w 128"/>
                <a:gd name="T13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09">
                  <a:moveTo>
                    <a:pt x="10" y="9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23" y="108"/>
                    <a:pt x="24" y="109"/>
                  </a:cubicBezTo>
                  <a:cubicBezTo>
                    <a:pt x="25" y="109"/>
                    <a:pt x="128" y="3"/>
                    <a:pt x="128" y="3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10" y="9"/>
                    <a:pt x="10" y="9"/>
                    <a:pt x="10" y="9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" name="Freeform 206">
              <a:extLst>
                <a:ext uri="{FF2B5EF4-FFF2-40B4-BE49-F238E27FC236}">
                  <a16:creationId xmlns:a16="http://schemas.microsoft.com/office/drawing/2014/main" id="{6862E74E-4259-4D59-AE86-A5E02BC9A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406" y="4000885"/>
              <a:ext cx="640347" cy="631134"/>
            </a:xfrm>
            <a:custGeom>
              <a:avLst/>
              <a:gdLst>
                <a:gd name="T0" fmla="*/ 0 w 223"/>
                <a:gd name="T1" fmla="*/ 0 h 220"/>
                <a:gd name="T2" fmla="*/ 161 w 223"/>
                <a:gd name="T3" fmla="*/ 181 h 220"/>
                <a:gd name="T4" fmla="*/ 0 w 223"/>
                <a:gd name="T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3" h="220">
                  <a:moveTo>
                    <a:pt x="0" y="0"/>
                  </a:moveTo>
                  <a:cubicBezTo>
                    <a:pt x="0" y="0"/>
                    <a:pt x="99" y="141"/>
                    <a:pt x="161" y="181"/>
                  </a:cubicBezTo>
                  <a:cubicBezTo>
                    <a:pt x="223" y="220"/>
                    <a:pt x="26" y="58"/>
                    <a:pt x="0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" name="Freeform 207">
              <a:extLst>
                <a:ext uri="{FF2B5EF4-FFF2-40B4-BE49-F238E27FC236}">
                  <a16:creationId xmlns:a16="http://schemas.microsoft.com/office/drawing/2014/main" id="{A6CB02D3-28EC-4A06-B8A1-65C56A8EB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4979" y="1170769"/>
              <a:ext cx="609635" cy="356261"/>
            </a:xfrm>
            <a:custGeom>
              <a:avLst/>
              <a:gdLst>
                <a:gd name="T0" fmla="*/ 210 w 212"/>
                <a:gd name="T1" fmla="*/ 124 h 124"/>
                <a:gd name="T2" fmla="*/ 212 w 212"/>
                <a:gd name="T3" fmla="*/ 105 h 124"/>
                <a:gd name="T4" fmla="*/ 106 w 212"/>
                <a:gd name="T5" fmla="*/ 0 h 124"/>
                <a:gd name="T6" fmla="*/ 0 w 212"/>
                <a:gd name="T7" fmla="*/ 105 h 124"/>
                <a:gd name="T8" fmla="*/ 2 w 212"/>
                <a:gd name="T9" fmla="*/ 124 h 124"/>
                <a:gd name="T10" fmla="*/ 210 w 212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24">
                  <a:moveTo>
                    <a:pt x="210" y="124"/>
                  </a:moveTo>
                  <a:cubicBezTo>
                    <a:pt x="211" y="118"/>
                    <a:pt x="212" y="112"/>
                    <a:pt x="212" y="105"/>
                  </a:cubicBezTo>
                  <a:cubicBezTo>
                    <a:pt x="212" y="47"/>
                    <a:pt x="164" y="0"/>
                    <a:pt x="106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12"/>
                    <a:pt x="1" y="118"/>
                    <a:pt x="2" y="124"/>
                  </a:cubicBezTo>
                  <a:lnTo>
                    <a:pt x="210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" name="Freeform 208">
              <a:extLst>
                <a:ext uri="{FF2B5EF4-FFF2-40B4-BE49-F238E27FC236}">
                  <a16:creationId xmlns:a16="http://schemas.microsoft.com/office/drawing/2014/main" id="{F53DA866-B2BD-440E-88EA-A66BDD55C2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5208" y="1348899"/>
              <a:ext cx="492929" cy="178130"/>
            </a:xfrm>
            <a:custGeom>
              <a:avLst/>
              <a:gdLst>
                <a:gd name="T0" fmla="*/ 171 w 171"/>
                <a:gd name="T1" fmla="*/ 62 h 62"/>
                <a:gd name="T2" fmla="*/ 86 w 171"/>
                <a:gd name="T3" fmla="*/ 0 h 62"/>
                <a:gd name="T4" fmla="*/ 0 w 171"/>
                <a:gd name="T5" fmla="*/ 62 h 62"/>
                <a:gd name="T6" fmla="*/ 171 w 171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" h="62">
                  <a:moveTo>
                    <a:pt x="171" y="62"/>
                  </a:moveTo>
                  <a:cubicBezTo>
                    <a:pt x="159" y="26"/>
                    <a:pt x="126" y="0"/>
                    <a:pt x="86" y="0"/>
                  </a:cubicBezTo>
                  <a:cubicBezTo>
                    <a:pt x="46" y="0"/>
                    <a:pt x="12" y="26"/>
                    <a:pt x="0" y="62"/>
                  </a:cubicBezTo>
                  <a:lnTo>
                    <a:pt x="171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" name="Freeform 209">
              <a:extLst>
                <a:ext uri="{FF2B5EF4-FFF2-40B4-BE49-F238E27FC236}">
                  <a16:creationId xmlns:a16="http://schemas.microsoft.com/office/drawing/2014/main" id="{B3895ECE-4057-4BA2-9714-E988A6A59C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7821" y="1398038"/>
              <a:ext cx="482180" cy="128991"/>
            </a:xfrm>
            <a:custGeom>
              <a:avLst/>
              <a:gdLst>
                <a:gd name="T0" fmla="*/ 168 w 168"/>
                <a:gd name="T1" fmla="*/ 45 h 45"/>
                <a:gd name="T2" fmla="*/ 84 w 168"/>
                <a:gd name="T3" fmla="*/ 0 h 45"/>
                <a:gd name="T4" fmla="*/ 0 w 168"/>
                <a:gd name="T5" fmla="*/ 45 h 45"/>
                <a:gd name="T6" fmla="*/ 168 w 168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" h="45">
                  <a:moveTo>
                    <a:pt x="168" y="45"/>
                  </a:moveTo>
                  <a:cubicBezTo>
                    <a:pt x="150" y="18"/>
                    <a:pt x="119" y="0"/>
                    <a:pt x="84" y="0"/>
                  </a:cubicBezTo>
                  <a:cubicBezTo>
                    <a:pt x="49" y="0"/>
                    <a:pt x="18" y="18"/>
                    <a:pt x="0" y="45"/>
                  </a:cubicBezTo>
                  <a:lnTo>
                    <a:pt x="168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" name="Freeform 212">
              <a:extLst>
                <a:ext uri="{FF2B5EF4-FFF2-40B4-BE49-F238E27FC236}">
                  <a16:creationId xmlns:a16="http://schemas.microsoft.com/office/drawing/2014/main" id="{C4A508E6-FECE-4EB2-9525-A8CCBB7356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5115" y="1869468"/>
              <a:ext cx="119777" cy="277945"/>
            </a:xfrm>
            <a:custGeom>
              <a:avLst/>
              <a:gdLst>
                <a:gd name="T0" fmla="*/ 0 w 42"/>
                <a:gd name="T1" fmla="*/ 97 h 97"/>
                <a:gd name="T2" fmla="*/ 31 w 42"/>
                <a:gd name="T3" fmla="*/ 93 h 97"/>
                <a:gd name="T4" fmla="*/ 8 w 42"/>
                <a:gd name="T5" fmla="*/ 0 h 97"/>
                <a:gd name="T6" fmla="*/ 12 w 42"/>
                <a:gd name="T7" fmla="*/ 75 h 97"/>
                <a:gd name="T8" fmla="*/ 0 w 42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97">
                  <a:moveTo>
                    <a:pt x="0" y="97"/>
                  </a:moveTo>
                  <a:cubicBezTo>
                    <a:pt x="31" y="93"/>
                    <a:pt x="31" y="93"/>
                    <a:pt x="31" y="93"/>
                  </a:cubicBezTo>
                  <a:cubicBezTo>
                    <a:pt x="31" y="93"/>
                    <a:pt x="42" y="28"/>
                    <a:pt x="8" y="0"/>
                  </a:cubicBezTo>
                  <a:cubicBezTo>
                    <a:pt x="8" y="0"/>
                    <a:pt x="31" y="36"/>
                    <a:pt x="12" y="75"/>
                  </a:cubicBezTo>
                  <a:cubicBezTo>
                    <a:pt x="6" y="87"/>
                    <a:pt x="2" y="93"/>
                    <a:pt x="0" y="97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" name="Freeform 213">
              <a:extLst>
                <a:ext uri="{FF2B5EF4-FFF2-40B4-BE49-F238E27FC236}">
                  <a16:creationId xmlns:a16="http://schemas.microsoft.com/office/drawing/2014/main" id="{E988BAF2-7138-4C9A-9686-9F59E042D8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9759" y="2147413"/>
              <a:ext cx="15356" cy="23034"/>
            </a:xfrm>
            <a:custGeom>
              <a:avLst/>
              <a:gdLst>
                <a:gd name="T0" fmla="*/ 5 w 5"/>
                <a:gd name="T1" fmla="*/ 0 h 8"/>
                <a:gd name="T2" fmla="*/ 3 w 5"/>
                <a:gd name="T3" fmla="*/ 0 h 8"/>
                <a:gd name="T4" fmla="*/ 5 w 5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8"/>
                    <a:pt x="5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" name="Freeform 214">
              <a:extLst>
                <a:ext uri="{FF2B5EF4-FFF2-40B4-BE49-F238E27FC236}">
                  <a16:creationId xmlns:a16="http://schemas.microsoft.com/office/drawing/2014/main" id="{8B4BB0F2-F547-4640-99C9-7C9090D64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21666" y="2222656"/>
              <a:ext cx="9214" cy="221127"/>
            </a:xfrm>
            <a:custGeom>
              <a:avLst/>
              <a:gdLst>
                <a:gd name="T0" fmla="*/ 3 w 3"/>
                <a:gd name="T1" fmla="*/ 0 h 77"/>
                <a:gd name="T2" fmla="*/ 2 w 3"/>
                <a:gd name="T3" fmla="*/ 77 h 77"/>
                <a:gd name="T4" fmla="*/ 2 w 3"/>
                <a:gd name="T5" fmla="*/ 77 h 77"/>
                <a:gd name="T6" fmla="*/ 3 w 3"/>
                <a:gd name="T7" fmla="*/ 0 h 77"/>
                <a:gd name="T8" fmla="*/ 3 w 3"/>
                <a:gd name="T9" fmla="*/ 0 h 77"/>
                <a:gd name="T10" fmla="*/ 3 w 3"/>
                <a:gd name="T11" fmla="*/ 0 h 77"/>
                <a:gd name="T12" fmla="*/ 3 w 3"/>
                <a:gd name="T13" fmla="*/ 0 h 77"/>
                <a:gd name="T14" fmla="*/ 3 w 3"/>
                <a:gd name="T15" fmla="*/ 0 h 77"/>
                <a:gd name="T16" fmla="*/ 3 w 3"/>
                <a:gd name="T17" fmla="*/ 0 h 77"/>
                <a:gd name="T18" fmla="*/ 3 w 3"/>
                <a:gd name="T19" fmla="*/ 0 h 77"/>
                <a:gd name="T20" fmla="*/ 3 w 3"/>
                <a:gd name="T21" fmla="*/ 0 h 77"/>
                <a:gd name="T22" fmla="*/ 3 w 3"/>
                <a:gd name="T23" fmla="*/ 0 h 77"/>
                <a:gd name="T24" fmla="*/ 3 w 3"/>
                <a:gd name="T25" fmla="*/ 0 h 77"/>
                <a:gd name="T26" fmla="*/ 3 w 3"/>
                <a:gd name="T27" fmla="*/ 0 h 77"/>
                <a:gd name="T28" fmla="*/ 0 w 3"/>
                <a:gd name="T29" fmla="*/ 10 h 77"/>
                <a:gd name="T30" fmla="*/ 3 w 3"/>
                <a:gd name="T31" fmla="*/ 0 h 77"/>
                <a:gd name="T32" fmla="*/ 0 w 3"/>
                <a:gd name="T33" fmla="*/ 9 h 77"/>
                <a:gd name="T34" fmla="*/ 3 w 3"/>
                <a:gd name="T35" fmla="*/ 0 h 77"/>
                <a:gd name="T36" fmla="*/ 3 w 3"/>
                <a:gd name="T37" fmla="*/ 0 h 77"/>
                <a:gd name="T38" fmla="*/ 3 w 3"/>
                <a:gd name="T39" fmla="*/ 0 h 77"/>
                <a:gd name="T40" fmla="*/ 3 w 3"/>
                <a:gd name="T41" fmla="*/ 0 h 77"/>
                <a:gd name="T42" fmla="*/ 3 w 3"/>
                <a:gd name="T43" fmla="*/ 0 h 77"/>
                <a:gd name="T44" fmla="*/ 3 w 3"/>
                <a:gd name="T45" fmla="*/ 0 h 77"/>
                <a:gd name="T46" fmla="*/ 3 w 3"/>
                <a:gd name="T4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77">
                  <a:moveTo>
                    <a:pt x="3" y="0"/>
                  </a:moveTo>
                  <a:cubicBezTo>
                    <a:pt x="3" y="1"/>
                    <a:pt x="1" y="43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43"/>
                    <a:pt x="3" y="1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2" y="2"/>
                    <a:pt x="0" y="10"/>
                  </a:cubicBezTo>
                  <a:cubicBezTo>
                    <a:pt x="1" y="7"/>
                    <a:pt x="2" y="4"/>
                    <a:pt x="3" y="0"/>
                  </a:cubicBezTo>
                  <a:cubicBezTo>
                    <a:pt x="2" y="3"/>
                    <a:pt x="1" y="6"/>
                    <a:pt x="0" y="9"/>
                  </a:cubicBezTo>
                  <a:cubicBezTo>
                    <a:pt x="2" y="2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E3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" name="Freeform 215">
              <a:extLst>
                <a:ext uri="{FF2B5EF4-FFF2-40B4-BE49-F238E27FC236}">
                  <a16:creationId xmlns:a16="http://schemas.microsoft.com/office/drawing/2014/main" id="{78016326-FAC5-48D5-B4BC-9F0CFF2A06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43350" y="2098273"/>
              <a:ext cx="110564" cy="236483"/>
            </a:xfrm>
            <a:custGeom>
              <a:avLst/>
              <a:gdLst>
                <a:gd name="T0" fmla="*/ 30 w 38"/>
                <a:gd name="T1" fmla="*/ 43 h 82"/>
                <a:gd name="T2" fmla="*/ 30 w 38"/>
                <a:gd name="T3" fmla="*/ 43 h 82"/>
                <a:gd name="T4" fmla="*/ 30 w 38"/>
                <a:gd name="T5" fmla="*/ 43 h 82"/>
                <a:gd name="T6" fmla="*/ 30 w 38"/>
                <a:gd name="T7" fmla="*/ 43 h 82"/>
                <a:gd name="T8" fmla="*/ 24 w 38"/>
                <a:gd name="T9" fmla="*/ 10 h 82"/>
                <a:gd name="T10" fmla="*/ 22 w 38"/>
                <a:gd name="T11" fmla="*/ 14 h 82"/>
                <a:gd name="T12" fmla="*/ 23 w 38"/>
                <a:gd name="T13" fmla="*/ 11 h 82"/>
                <a:gd name="T14" fmla="*/ 24 w 38"/>
                <a:gd name="T15" fmla="*/ 10 h 82"/>
                <a:gd name="T16" fmla="*/ 24 w 38"/>
                <a:gd name="T17" fmla="*/ 8 h 82"/>
                <a:gd name="T18" fmla="*/ 23 w 38"/>
                <a:gd name="T19" fmla="*/ 11 h 82"/>
                <a:gd name="T20" fmla="*/ 24 w 38"/>
                <a:gd name="T21" fmla="*/ 8 h 82"/>
                <a:gd name="T22" fmla="*/ 18 w 38"/>
                <a:gd name="T23" fmla="*/ 7 h 82"/>
                <a:gd name="T24" fmla="*/ 4 w 38"/>
                <a:gd name="T25" fmla="*/ 11 h 82"/>
                <a:gd name="T26" fmla="*/ 7 w 38"/>
                <a:gd name="T27" fmla="*/ 64 h 82"/>
                <a:gd name="T28" fmla="*/ 15 w 38"/>
                <a:gd name="T29" fmla="*/ 82 h 82"/>
                <a:gd name="T30" fmla="*/ 27 w 38"/>
                <a:gd name="T31" fmla="*/ 53 h 82"/>
                <a:gd name="T32" fmla="*/ 30 w 38"/>
                <a:gd name="T33" fmla="*/ 43 h 82"/>
                <a:gd name="T34" fmla="*/ 30 w 38"/>
                <a:gd name="T35" fmla="*/ 43 h 82"/>
                <a:gd name="T36" fmla="*/ 30 w 38"/>
                <a:gd name="T37" fmla="*/ 43 h 82"/>
                <a:gd name="T38" fmla="*/ 30 w 38"/>
                <a:gd name="T39" fmla="*/ 43 h 82"/>
                <a:gd name="T40" fmla="*/ 31 w 38"/>
                <a:gd name="T41" fmla="*/ 43 h 82"/>
                <a:gd name="T42" fmla="*/ 38 w 38"/>
                <a:gd name="T43" fmla="*/ 42 h 82"/>
                <a:gd name="T44" fmla="*/ 35 w 38"/>
                <a:gd name="T45" fmla="*/ 42 h 82"/>
                <a:gd name="T46" fmla="*/ 21 w 38"/>
                <a:gd name="T47" fmla="*/ 25 h 82"/>
                <a:gd name="T48" fmla="*/ 21 w 38"/>
                <a:gd name="T49" fmla="*/ 27 h 82"/>
                <a:gd name="T50" fmla="*/ 21 w 38"/>
                <a:gd name="T51" fmla="*/ 27 h 82"/>
                <a:gd name="T52" fmla="*/ 18 w 38"/>
                <a:gd name="T53" fmla="*/ 13 h 82"/>
                <a:gd name="T54" fmla="*/ 18 w 38"/>
                <a:gd name="T55" fmla="*/ 7 h 82"/>
                <a:gd name="T56" fmla="*/ 6 w 38"/>
                <a:gd name="T57" fmla="*/ 0 h 82"/>
                <a:gd name="T58" fmla="*/ 5 w 38"/>
                <a:gd name="T59" fmla="*/ 8 h 82"/>
                <a:gd name="T60" fmla="*/ 17 w 38"/>
                <a:gd name="T61" fmla="*/ 5 h 82"/>
                <a:gd name="T62" fmla="*/ 10 w 38"/>
                <a:gd name="T63" fmla="*/ 0 h 82"/>
                <a:gd name="T64" fmla="*/ 9 w 38"/>
                <a:gd name="T65" fmla="*/ 0 h 82"/>
                <a:gd name="T66" fmla="*/ 6 w 38"/>
                <a:gd name="T6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" h="82">
                  <a:moveTo>
                    <a:pt x="30" y="43"/>
                  </a:move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moveTo>
                    <a:pt x="24" y="10"/>
                  </a:moveTo>
                  <a:cubicBezTo>
                    <a:pt x="23" y="11"/>
                    <a:pt x="23" y="13"/>
                    <a:pt x="22" y="14"/>
                  </a:cubicBezTo>
                  <a:cubicBezTo>
                    <a:pt x="22" y="13"/>
                    <a:pt x="23" y="12"/>
                    <a:pt x="23" y="11"/>
                  </a:cubicBezTo>
                  <a:cubicBezTo>
                    <a:pt x="24" y="10"/>
                    <a:pt x="24" y="10"/>
                    <a:pt x="24" y="10"/>
                  </a:cubicBezTo>
                  <a:moveTo>
                    <a:pt x="24" y="8"/>
                  </a:moveTo>
                  <a:cubicBezTo>
                    <a:pt x="24" y="9"/>
                    <a:pt x="23" y="10"/>
                    <a:pt x="23" y="11"/>
                  </a:cubicBezTo>
                  <a:cubicBezTo>
                    <a:pt x="24" y="10"/>
                    <a:pt x="24" y="9"/>
                    <a:pt x="24" y="8"/>
                  </a:cubicBezTo>
                  <a:moveTo>
                    <a:pt x="18" y="7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1" y="30"/>
                    <a:pt x="0" y="48"/>
                    <a:pt x="7" y="64"/>
                  </a:cubicBezTo>
                  <a:cubicBezTo>
                    <a:pt x="10" y="70"/>
                    <a:pt x="12" y="76"/>
                    <a:pt x="15" y="82"/>
                  </a:cubicBezTo>
                  <a:cubicBezTo>
                    <a:pt x="19" y="75"/>
                    <a:pt x="23" y="65"/>
                    <a:pt x="27" y="53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1" y="43"/>
                  </a:cubicBezTo>
                  <a:cubicBezTo>
                    <a:pt x="32" y="43"/>
                    <a:pt x="35" y="43"/>
                    <a:pt x="38" y="42"/>
                  </a:cubicBezTo>
                  <a:cubicBezTo>
                    <a:pt x="37" y="42"/>
                    <a:pt x="36" y="42"/>
                    <a:pt x="35" y="42"/>
                  </a:cubicBezTo>
                  <a:cubicBezTo>
                    <a:pt x="26" y="42"/>
                    <a:pt x="22" y="34"/>
                    <a:pt x="21" y="25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18" y="27"/>
                    <a:pt x="18" y="13"/>
                  </a:cubicBezTo>
                  <a:cubicBezTo>
                    <a:pt x="18" y="10"/>
                    <a:pt x="18" y="9"/>
                    <a:pt x="18" y="7"/>
                  </a:cubicBezTo>
                  <a:moveTo>
                    <a:pt x="6" y="0"/>
                  </a:moveTo>
                  <a:cubicBezTo>
                    <a:pt x="6" y="3"/>
                    <a:pt x="5" y="6"/>
                    <a:pt x="5" y="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</a:path>
              </a:pathLst>
            </a:custGeom>
            <a:solidFill>
              <a:srgbClr val="966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" name="Freeform 216">
              <a:extLst>
                <a:ext uri="{FF2B5EF4-FFF2-40B4-BE49-F238E27FC236}">
                  <a16:creationId xmlns:a16="http://schemas.microsoft.com/office/drawing/2014/main" id="{DB7FBB90-A9D4-42AA-91BB-9492590EB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7883" y="2222656"/>
              <a:ext cx="42997" cy="221127"/>
            </a:xfrm>
            <a:custGeom>
              <a:avLst/>
              <a:gdLst>
                <a:gd name="T0" fmla="*/ 15 w 15"/>
                <a:gd name="T1" fmla="*/ 0 h 77"/>
                <a:gd name="T2" fmla="*/ 15 w 15"/>
                <a:gd name="T3" fmla="*/ 0 h 77"/>
                <a:gd name="T4" fmla="*/ 15 w 15"/>
                <a:gd name="T5" fmla="*/ 0 h 77"/>
                <a:gd name="T6" fmla="*/ 12 w 15"/>
                <a:gd name="T7" fmla="*/ 10 h 77"/>
                <a:gd name="T8" fmla="*/ 0 w 15"/>
                <a:gd name="T9" fmla="*/ 39 h 77"/>
                <a:gd name="T10" fmla="*/ 14 w 15"/>
                <a:gd name="T11" fmla="*/ 77 h 77"/>
                <a:gd name="T12" fmla="*/ 15 w 15"/>
                <a:gd name="T13" fmla="*/ 0 h 77"/>
                <a:gd name="T14" fmla="*/ 15 w 15"/>
                <a:gd name="T15" fmla="*/ 0 h 77"/>
                <a:gd name="T16" fmla="*/ 15 w 15"/>
                <a:gd name="T17" fmla="*/ 0 h 77"/>
                <a:gd name="T18" fmla="*/ 15 w 15"/>
                <a:gd name="T19" fmla="*/ 0 h 77"/>
                <a:gd name="T20" fmla="*/ 15 w 15"/>
                <a:gd name="T21" fmla="*/ 0 h 77"/>
                <a:gd name="T22" fmla="*/ 15 w 15"/>
                <a:gd name="T23" fmla="*/ 0 h 77"/>
                <a:gd name="T24" fmla="*/ 15 w 15"/>
                <a:gd name="T25" fmla="*/ 0 h 77"/>
                <a:gd name="T26" fmla="*/ 15 w 15"/>
                <a:gd name="T27" fmla="*/ 0 h 77"/>
                <a:gd name="T28" fmla="*/ 15 w 15"/>
                <a:gd name="T29" fmla="*/ 0 h 77"/>
                <a:gd name="T30" fmla="*/ 15 w 15"/>
                <a:gd name="T3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77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3" y="7"/>
                    <a:pt x="12" y="10"/>
                  </a:cubicBezTo>
                  <a:cubicBezTo>
                    <a:pt x="8" y="22"/>
                    <a:pt x="4" y="32"/>
                    <a:pt x="0" y="39"/>
                  </a:cubicBezTo>
                  <a:cubicBezTo>
                    <a:pt x="5" y="52"/>
                    <a:pt x="9" y="64"/>
                    <a:pt x="14" y="77"/>
                  </a:cubicBezTo>
                  <a:cubicBezTo>
                    <a:pt x="13" y="43"/>
                    <a:pt x="15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965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" name="Freeform 217">
              <a:extLst>
                <a:ext uri="{FF2B5EF4-FFF2-40B4-BE49-F238E27FC236}">
                  <a16:creationId xmlns:a16="http://schemas.microsoft.com/office/drawing/2014/main" id="{4168CD55-5C82-471F-A167-F22F0F4E50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04775" y="2107487"/>
              <a:ext cx="82922" cy="112099"/>
            </a:xfrm>
            <a:custGeom>
              <a:avLst/>
              <a:gdLst>
                <a:gd name="T0" fmla="*/ 7 w 29"/>
                <a:gd name="T1" fmla="*/ 32 h 39"/>
                <a:gd name="T2" fmla="*/ 7 w 29"/>
                <a:gd name="T3" fmla="*/ 31 h 39"/>
                <a:gd name="T4" fmla="*/ 13 w 29"/>
                <a:gd name="T5" fmla="*/ 8 h 39"/>
                <a:gd name="T6" fmla="*/ 14 w 29"/>
                <a:gd name="T7" fmla="*/ 7 h 39"/>
                <a:gd name="T8" fmla="*/ 15 w 29"/>
                <a:gd name="T9" fmla="*/ 7 h 39"/>
                <a:gd name="T10" fmla="*/ 15 w 29"/>
                <a:gd name="T11" fmla="*/ 9 h 39"/>
                <a:gd name="T12" fmla="*/ 10 w 29"/>
                <a:gd name="T13" fmla="*/ 28 h 39"/>
                <a:gd name="T14" fmla="*/ 14 w 29"/>
                <a:gd name="T15" fmla="*/ 25 h 39"/>
                <a:gd name="T16" fmla="*/ 14 w 29"/>
                <a:gd name="T17" fmla="*/ 25 h 39"/>
                <a:gd name="T18" fmla="*/ 15 w 29"/>
                <a:gd name="T19" fmla="*/ 25 h 39"/>
                <a:gd name="T20" fmla="*/ 15 w 29"/>
                <a:gd name="T21" fmla="*/ 27 h 39"/>
                <a:gd name="T22" fmla="*/ 8 w 29"/>
                <a:gd name="T23" fmla="*/ 32 h 39"/>
                <a:gd name="T24" fmla="*/ 7 w 29"/>
                <a:gd name="T25" fmla="*/ 32 h 39"/>
                <a:gd name="T26" fmla="*/ 15 w 29"/>
                <a:gd name="T27" fmla="*/ 0 h 39"/>
                <a:gd name="T28" fmla="*/ 3 w 29"/>
                <a:gd name="T29" fmla="*/ 5 h 39"/>
                <a:gd name="T30" fmla="*/ 2 w 29"/>
                <a:gd name="T31" fmla="*/ 8 h 39"/>
                <a:gd name="T32" fmla="*/ 2 w 29"/>
                <a:gd name="T33" fmla="*/ 8 h 39"/>
                <a:gd name="T34" fmla="*/ 2 w 29"/>
                <a:gd name="T35" fmla="*/ 8 h 39"/>
                <a:gd name="T36" fmla="*/ 1 w 29"/>
                <a:gd name="T37" fmla="*/ 11 h 39"/>
                <a:gd name="T38" fmla="*/ 0 w 29"/>
                <a:gd name="T39" fmla="*/ 22 h 39"/>
                <a:gd name="T40" fmla="*/ 14 w 29"/>
                <a:gd name="T41" fmla="*/ 39 h 39"/>
                <a:gd name="T42" fmla="*/ 17 w 29"/>
                <a:gd name="T43" fmla="*/ 39 h 39"/>
                <a:gd name="T44" fmla="*/ 17 w 29"/>
                <a:gd name="T45" fmla="*/ 39 h 39"/>
                <a:gd name="T46" fmla="*/ 17 w 29"/>
                <a:gd name="T47" fmla="*/ 39 h 39"/>
                <a:gd name="T48" fmla="*/ 29 w 29"/>
                <a:gd name="T49" fmla="*/ 22 h 39"/>
                <a:gd name="T50" fmla="*/ 18 w 29"/>
                <a:gd name="T51" fmla="*/ 0 h 39"/>
                <a:gd name="T52" fmla="*/ 18 w 29"/>
                <a:gd name="T53" fmla="*/ 0 h 39"/>
                <a:gd name="T54" fmla="*/ 18 w 29"/>
                <a:gd name="T55" fmla="*/ 0 h 39"/>
                <a:gd name="T56" fmla="*/ 15 w 29"/>
                <a:gd name="T5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39">
                  <a:moveTo>
                    <a:pt x="7" y="32"/>
                  </a:moveTo>
                  <a:cubicBezTo>
                    <a:pt x="7" y="31"/>
                    <a:pt x="7" y="31"/>
                    <a:pt x="7" y="3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7"/>
                    <a:pt x="14" y="7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7"/>
                    <a:pt x="15" y="27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moveTo>
                    <a:pt x="15" y="0"/>
                  </a:moveTo>
                  <a:cubicBezTo>
                    <a:pt x="12" y="0"/>
                    <a:pt x="6" y="0"/>
                    <a:pt x="3" y="5"/>
                  </a:cubicBezTo>
                  <a:cubicBezTo>
                    <a:pt x="3" y="6"/>
                    <a:pt x="3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0" y="15"/>
                    <a:pt x="0" y="20"/>
                    <a:pt x="0" y="22"/>
                  </a:cubicBezTo>
                  <a:cubicBezTo>
                    <a:pt x="1" y="31"/>
                    <a:pt x="5" y="39"/>
                    <a:pt x="14" y="39"/>
                  </a:cubicBezTo>
                  <a:cubicBezTo>
                    <a:pt x="15" y="39"/>
                    <a:pt x="16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25" y="38"/>
                    <a:pt x="29" y="30"/>
                    <a:pt x="29" y="22"/>
                  </a:cubicBezTo>
                  <a:cubicBezTo>
                    <a:pt x="29" y="12"/>
                    <a:pt x="24" y="1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5" y="0"/>
                  </a:cubicBezTo>
                </a:path>
              </a:pathLst>
            </a:custGeom>
            <a:solidFill>
              <a:srgbClr val="964B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" name="Freeform 218">
              <a:extLst>
                <a:ext uri="{FF2B5EF4-FFF2-40B4-BE49-F238E27FC236}">
                  <a16:creationId xmlns:a16="http://schemas.microsoft.com/office/drawing/2014/main" id="{DD880302-3273-4934-8B97-DF95776F5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24737" y="2127449"/>
              <a:ext cx="23034" cy="72174"/>
            </a:xfrm>
            <a:custGeom>
              <a:avLst/>
              <a:gdLst>
                <a:gd name="T0" fmla="*/ 7 w 8"/>
                <a:gd name="T1" fmla="*/ 0 h 25"/>
                <a:gd name="T2" fmla="*/ 6 w 8"/>
                <a:gd name="T3" fmla="*/ 1 h 25"/>
                <a:gd name="T4" fmla="*/ 0 w 8"/>
                <a:gd name="T5" fmla="*/ 24 h 25"/>
                <a:gd name="T6" fmla="*/ 0 w 8"/>
                <a:gd name="T7" fmla="*/ 25 h 25"/>
                <a:gd name="T8" fmla="*/ 1 w 8"/>
                <a:gd name="T9" fmla="*/ 25 h 25"/>
                <a:gd name="T10" fmla="*/ 8 w 8"/>
                <a:gd name="T11" fmla="*/ 20 h 25"/>
                <a:gd name="T12" fmla="*/ 8 w 8"/>
                <a:gd name="T13" fmla="*/ 18 h 25"/>
                <a:gd name="T14" fmla="*/ 7 w 8"/>
                <a:gd name="T15" fmla="*/ 18 h 25"/>
                <a:gd name="T16" fmla="*/ 7 w 8"/>
                <a:gd name="T17" fmla="*/ 18 h 25"/>
                <a:gd name="T18" fmla="*/ 3 w 8"/>
                <a:gd name="T19" fmla="*/ 21 h 25"/>
                <a:gd name="T20" fmla="*/ 8 w 8"/>
                <a:gd name="T21" fmla="*/ 2 h 25"/>
                <a:gd name="T22" fmla="*/ 8 w 8"/>
                <a:gd name="T23" fmla="*/ 0 h 25"/>
                <a:gd name="T24" fmla="*/ 7 w 8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7" y="0"/>
                    <a:pt x="7" y="1"/>
                    <a:pt x="6" y="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" name="Freeform 219">
              <a:extLst>
                <a:ext uri="{FF2B5EF4-FFF2-40B4-BE49-F238E27FC236}">
                  <a16:creationId xmlns:a16="http://schemas.microsoft.com/office/drawing/2014/main" id="{0630BC6F-BABF-4A74-8D15-3B1C3BB40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5635" y="2113629"/>
              <a:ext cx="39926" cy="16892"/>
            </a:xfrm>
            <a:custGeom>
              <a:avLst/>
              <a:gdLst>
                <a:gd name="T0" fmla="*/ 13 w 14"/>
                <a:gd name="T1" fmla="*/ 0 h 6"/>
                <a:gd name="T2" fmla="*/ 1 w 14"/>
                <a:gd name="T3" fmla="*/ 3 h 6"/>
                <a:gd name="T4" fmla="*/ 0 w 14"/>
                <a:gd name="T5" fmla="*/ 6 h 6"/>
                <a:gd name="T6" fmla="*/ 14 w 14"/>
                <a:gd name="T7" fmla="*/ 2 h 6"/>
                <a:gd name="T8" fmla="*/ 13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3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3" y="1"/>
                    <a:pt x="13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" name="Freeform 220">
              <a:extLst>
                <a:ext uri="{FF2B5EF4-FFF2-40B4-BE49-F238E27FC236}">
                  <a16:creationId xmlns:a16="http://schemas.microsoft.com/office/drawing/2014/main" id="{DA2B5C71-0E33-46B1-8289-8D96EBA476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597" y="1883289"/>
              <a:ext cx="69102" cy="132061"/>
            </a:xfrm>
            <a:custGeom>
              <a:avLst/>
              <a:gdLst>
                <a:gd name="T0" fmla="*/ 24 w 24"/>
                <a:gd name="T1" fmla="*/ 0 h 46"/>
                <a:gd name="T2" fmla="*/ 0 w 24"/>
                <a:gd name="T3" fmla="*/ 2 h 46"/>
                <a:gd name="T4" fmla="*/ 0 w 24"/>
                <a:gd name="T5" fmla="*/ 3 h 46"/>
                <a:gd name="T6" fmla="*/ 0 w 24"/>
                <a:gd name="T7" fmla="*/ 46 h 46"/>
                <a:gd name="T8" fmla="*/ 21 w 24"/>
                <a:gd name="T9" fmla="*/ 43 h 46"/>
                <a:gd name="T10" fmla="*/ 21 w 24"/>
                <a:gd name="T11" fmla="*/ 43 h 46"/>
                <a:gd name="T12" fmla="*/ 21 w 24"/>
                <a:gd name="T13" fmla="*/ 43 h 46"/>
                <a:gd name="T14" fmla="*/ 24 w 24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6">
                  <a:moveTo>
                    <a:pt x="24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3" y="18"/>
                    <a:pt x="2" y="32"/>
                    <a:pt x="0" y="46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4" y="0"/>
                    <a:pt x="24" y="0"/>
                    <a:pt x="24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" name="Freeform 221">
              <a:extLst>
                <a:ext uri="{FF2B5EF4-FFF2-40B4-BE49-F238E27FC236}">
                  <a16:creationId xmlns:a16="http://schemas.microsoft.com/office/drawing/2014/main" id="{623313E1-19E5-44F3-8D7F-C64228170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2527" y="1857183"/>
              <a:ext cx="319405" cy="32248"/>
            </a:xfrm>
            <a:custGeom>
              <a:avLst/>
              <a:gdLst>
                <a:gd name="T0" fmla="*/ 108 w 111"/>
                <a:gd name="T1" fmla="*/ 0 h 11"/>
                <a:gd name="T2" fmla="*/ 108 w 111"/>
                <a:gd name="T3" fmla="*/ 0 h 11"/>
                <a:gd name="T4" fmla="*/ 0 w 111"/>
                <a:gd name="T5" fmla="*/ 8 h 11"/>
                <a:gd name="T6" fmla="*/ 1 w 111"/>
                <a:gd name="T7" fmla="*/ 11 h 11"/>
                <a:gd name="T8" fmla="*/ 25 w 111"/>
                <a:gd name="T9" fmla="*/ 9 h 11"/>
                <a:gd name="T10" fmla="*/ 99 w 111"/>
                <a:gd name="T11" fmla="*/ 4 h 11"/>
                <a:gd name="T12" fmla="*/ 99 w 111"/>
                <a:gd name="T13" fmla="*/ 4 h 11"/>
                <a:gd name="T14" fmla="*/ 99 w 111"/>
                <a:gd name="T15" fmla="*/ 4 h 11"/>
                <a:gd name="T16" fmla="*/ 99 w 111"/>
                <a:gd name="T17" fmla="*/ 4 h 11"/>
                <a:gd name="T18" fmla="*/ 99 w 111"/>
                <a:gd name="T19" fmla="*/ 4 h 11"/>
                <a:gd name="T20" fmla="*/ 111 w 111"/>
                <a:gd name="T21" fmla="*/ 4 h 11"/>
                <a:gd name="T22" fmla="*/ 108 w 111"/>
                <a:gd name="T2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11">
                  <a:moveTo>
                    <a:pt x="108" y="0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1" y="11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" name="Freeform 222">
              <a:extLst>
                <a:ext uri="{FF2B5EF4-FFF2-40B4-BE49-F238E27FC236}">
                  <a16:creationId xmlns:a16="http://schemas.microsoft.com/office/drawing/2014/main" id="{D475983F-C5E0-4C0B-83CD-5F06157027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1778" y="2007671"/>
              <a:ext cx="73709" cy="168917"/>
            </a:xfrm>
            <a:custGeom>
              <a:avLst/>
              <a:gdLst>
                <a:gd name="T0" fmla="*/ 26 w 26"/>
                <a:gd name="T1" fmla="*/ 0 h 59"/>
                <a:gd name="T2" fmla="*/ 5 w 26"/>
                <a:gd name="T3" fmla="*/ 3 h 59"/>
                <a:gd name="T4" fmla="*/ 0 w 26"/>
                <a:gd name="T5" fmla="*/ 32 h 59"/>
                <a:gd name="T6" fmla="*/ 3 w 26"/>
                <a:gd name="T7" fmla="*/ 32 h 59"/>
                <a:gd name="T8" fmla="*/ 4 w 26"/>
                <a:gd name="T9" fmla="*/ 32 h 59"/>
                <a:gd name="T10" fmla="*/ 11 w 26"/>
                <a:gd name="T11" fmla="*/ 37 h 59"/>
                <a:gd name="T12" fmla="*/ 12 w 26"/>
                <a:gd name="T13" fmla="*/ 39 h 59"/>
                <a:gd name="T14" fmla="*/ 12 w 26"/>
                <a:gd name="T15" fmla="*/ 45 h 59"/>
                <a:gd name="T16" fmla="*/ 15 w 26"/>
                <a:gd name="T17" fmla="*/ 59 h 59"/>
                <a:gd name="T18" fmla="*/ 15 w 26"/>
                <a:gd name="T19" fmla="*/ 59 h 59"/>
                <a:gd name="T20" fmla="*/ 15 w 26"/>
                <a:gd name="T21" fmla="*/ 57 h 59"/>
                <a:gd name="T22" fmla="*/ 16 w 26"/>
                <a:gd name="T23" fmla="*/ 46 h 59"/>
                <a:gd name="T24" fmla="*/ 18 w 26"/>
                <a:gd name="T25" fmla="*/ 42 h 59"/>
                <a:gd name="T26" fmla="*/ 26 w 26"/>
                <a:gd name="T2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9">
                  <a:moveTo>
                    <a:pt x="26" y="0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4" y="13"/>
                    <a:pt x="2" y="2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6" y="32"/>
                    <a:pt x="9" y="32"/>
                    <a:pt x="11" y="37"/>
                  </a:cubicBezTo>
                  <a:cubicBezTo>
                    <a:pt x="11" y="38"/>
                    <a:pt x="11" y="38"/>
                    <a:pt x="12" y="39"/>
                  </a:cubicBezTo>
                  <a:cubicBezTo>
                    <a:pt x="12" y="41"/>
                    <a:pt x="12" y="42"/>
                    <a:pt x="12" y="45"/>
                  </a:cubicBezTo>
                  <a:cubicBezTo>
                    <a:pt x="12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7"/>
                  </a:cubicBezTo>
                  <a:cubicBezTo>
                    <a:pt x="15" y="55"/>
                    <a:pt x="15" y="50"/>
                    <a:pt x="16" y="46"/>
                  </a:cubicBezTo>
                  <a:cubicBezTo>
                    <a:pt x="17" y="45"/>
                    <a:pt x="17" y="43"/>
                    <a:pt x="18" y="42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5" name="Freeform 223">
              <a:extLst>
                <a:ext uri="{FF2B5EF4-FFF2-40B4-BE49-F238E27FC236}">
                  <a16:creationId xmlns:a16="http://schemas.microsoft.com/office/drawing/2014/main" id="{055BA65D-5C22-4693-B303-FF26224B13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10917" y="2007671"/>
              <a:ext cx="47605" cy="122848"/>
            </a:xfrm>
            <a:custGeom>
              <a:avLst/>
              <a:gdLst>
                <a:gd name="T0" fmla="*/ 16 w 17"/>
                <a:gd name="T1" fmla="*/ 35 h 43"/>
                <a:gd name="T2" fmla="*/ 16 w 17"/>
                <a:gd name="T3" fmla="*/ 35 h 43"/>
                <a:gd name="T4" fmla="*/ 16 w 17"/>
                <a:gd name="T5" fmla="*/ 35 h 43"/>
                <a:gd name="T6" fmla="*/ 16 w 17"/>
                <a:gd name="T7" fmla="*/ 35 h 43"/>
                <a:gd name="T8" fmla="*/ 16 w 17"/>
                <a:gd name="T9" fmla="*/ 35 h 43"/>
                <a:gd name="T10" fmla="*/ 9 w 17"/>
                <a:gd name="T11" fmla="*/ 0 h 43"/>
                <a:gd name="T12" fmla="*/ 9 w 17"/>
                <a:gd name="T13" fmla="*/ 0 h 43"/>
                <a:gd name="T14" fmla="*/ 1 w 17"/>
                <a:gd name="T15" fmla="*/ 42 h 43"/>
                <a:gd name="T16" fmla="*/ 0 w 17"/>
                <a:gd name="T17" fmla="*/ 43 h 43"/>
                <a:gd name="T18" fmla="*/ 0 w 17"/>
                <a:gd name="T19" fmla="*/ 43 h 43"/>
                <a:gd name="T20" fmla="*/ 0 w 17"/>
                <a:gd name="T21" fmla="*/ 43 h 43"/>
                <a:gd name="T22" fmla="*/ 1 w 17"/>
                <a:gd name="T23" fmla="*/ 40 h 43"/>
                <a:gd name="T24" fmla="*/ 13 w 17"/>
                <a:gd name="T25" fmla="*/ 35 h 43"/>
                <a:gd name="T26" fmla="*/ 16 w 17"/>
                <a:gd name="T27" fmla="*/ 35 h 43"/>
                <a:gd name="T28" fmla="*/ 16 w 17"/>
                <a:gd name="T29" fmla="*/ 35 h 43"/>
                <a:gd name="T30" fmla="*/ 17 w 17"/>
                <a:gd name="T31" fmla="*/ 26 h 43"/>
                <a:gd name="T32" fmla="*/ 9 w 17"/>
                <a:gd name="T33" fmla="*/ 0 h 43"/>
                <a:gd name="T34" fmla="*/ 9 w 17"/>
                <a:gd name="T3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43">
                  <a:moveTo>
                    <a:pt x="16" y="35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2"/>
                    <a:pt x="1" y="41"/>
                    <a:pt x="1" y="40"/>
                  </a:cubicBezTo>
                  <a:cubicBezTo>
                    <a:pt x="4" y="35"/>
                    <a:pt x="10" y="35"/>
                    <a:pt x="13" y="35"/>
                  </a:cubicBezTo>
                  <a:cubicBezTo>
                    <a:pt x="15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2"/>
                    <a:pt x="17" y="29"/>
                    <a:pt x="17" y="26"/>
                  </a:cubicBezTo>
                  <a:cubicBezTo>
                    <a:pt x="17" y="13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6" name="Oval 224">
              <a:extLst>
                <a:ext uri="{FF2B5EF4-FFF2-40B4-BE49-F238E27FC236}">
                  <a16:creationId xmlns:a16="http://schemas.microsoft.com/office/drawing/2014/main" id="{03CB2982-2260-41AE-9ABE-12DBB031B1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58148" y="1869468"/>
              <a:ext cx="1536" cy="1536"/>
            </a:xfrm>
            <a:prstGeom prst="ellipse">
              <a:avLst/>
            </a:prstGeom>
            <a:solidFill>
              <a:srgbClr val="2324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7" name="Freeform 225">
              <a:extLst>
                <a:ext uri="{FF2B5EF4-FFF2-40B4-BE49-F238E27FC236}">
                  <a16:creationId xmlns:a16="http://schemas.microsoft.com/office/drawing/2014/main" id="{5AC01E0D-B292-419B-B538-8C8D095DE0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67734" y="2572774"/>
              <a:ext cx="98279" cy="36854"/>
            </a:xfrm>
            <a:custGeom>
              <a:avLst/>
              <a:gdLst>
                <a:gd name="T0" fmla="*/ 27 w 34"/>
                <a:gd name="T1" fmla="*/ 10 h 13"/>
                <a:gd name="T2" fmla="*/ 26 w 34"/>
                <a:gd name="T3" fmla="*/ 12 h 13"/>
                <a:gd name="T4" fmla="*/ 26 w 34"/>
                <a:gd name="T5" fmla="*/ 12 h 13"/>
                <a:gd name="T6" fmla="*/ 27 w 34"/>
                <a:gd name="T7" fmla="*/ 10 h 13"/>
                <a:gd name="T8" fmla="*/ 34 w 34"/>
                <a:gd name="T9" fmla="*/ 13 h 13"/>
                <a:gd name="T10" fmla="*/ 34 w 34"/>
                <a:gd name="T11" fmla="*/ 13 h 13"/>
                <a:gd name="T12" fmla="*/ 27 w 34"/>
                <a:gd name="T13" fmla="*/ 10 h 13"/>
                <a:gd name="T14" fmla="*/ 0 w 34"/>
                <a:gd name="T15" fmla="*/ 0 h 13"/>
                <a:gd name="T16" fmla="*/ 0 w 34"/>
                <a:gd name="T17" fmla="*/ 0 h 13"/>
                <a:gd name="T18" fmla="*/ 20 w 34"/>
                <a:gd name="T19" fmla="*/ 10 h 13"/>
                <a:gd name="T20" fmla="*/ 0 w 34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3">
                  <a:moveTo>
                    <a:pt x="27" y="10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27" y="10"/>
                    <a:pt x="27" y="10"/>
                    <a:pt x="27" y="1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14" y="7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8" name="Freeform 226">
              <a:extLst>
                <a:ext uri="{FF2B5EF4-FFF2-40B4-BE49-F238E27FC236}">
                  <a16:creationId xmlns:a16="http://schemas.microsoft.com/office/drawing/2014/main" id="{2A49F188-0DF6-4F2B-B4CA-D98B37DB10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93840" y="2609629"/>
              <a:ext cx="152025" cy="451468"/>
            </a:xfrm>
            <a:custGeom>
              <a:avLst/>
              <a:gdLst>
                <a:gd name="T0" fmla="*/ 25 w 53"/>
                <a:gd name="T1" fmla="*/ 0 h 157"/>
                <a:gd name="T2" fmla="*/ 25 w 53"/>
                <a:gd name="T3" fmla="*/ 0 h 157"/>
                <a:gd name="T4" fmla="*/ 0 w 53"/>
                <a:gd name="T5" fmla="*/ 25 h 157"/>
                <a:gd name="T6" fmla="*/ 16 w 53"/>
                <a:gd name="T7" fmla="*/ 157 h 157"/>
                <a:gd name="T8" fmla="*/ 37 w 53"/>
                <a:gd name="T9" fmla="*/ 157 h 157"/>
                <a:gd name="T10" fmla="*/ 37 w 53"/>
                <a:gd name="T11" fmla="*/ 157 h 157"/>
                <a:gd name="T12" fmla="*/ 37 w 53"/>
                <a:gd name="T13" fmla="*/ 157 h 157"/>
                <a:gd name="T14" fmla="*/ 37 w 53"/>
                <a:gd name="T15" fmla="*/ 157 h 157"/>
                <a:gd name="T16" fmla="*/ 37 w 53"/>
                <a:gd name="T17" fmla="*/ 157 h 157"/>
                <a:gd name="T18" fmla="*/ 53 w 53"/>
                <a:gd name="T19" fmla="*/ 9 h 157"/>
                <a:gd name="T20" fmla="*/ 25 w 53"/>
                <a:gd name="T21" fmla="*/ 0 h 157"/>
                <a:gd name="T22" fmla="*/ 25 w 53"/>
                <a:gd name="T23" fmla="*/ 0 h 157"/>
                <a:gd name="T24" fmla="*/ 25 w 53"/>
                <a:gd name="T25" fmla="*/ 0 h 157"/>
                <a:gd name="T26" fmla="*/ 25 w 53"/>
                <a:gd name="T2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157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10"/>
                    <a:pt x="0" y="25"/>
                  </a:cubicBezTo>
                  <a:cubicBezTo>
                    <a:pt x="10" y="69"/>
                    <a:pt x="16" y="113"/>
                    <a:pt x="16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42" y="3"/>
                    <a:pt x="31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9" name="Freeform 227">
              <a:extLst>
                <a:ext uri="{FF2B5EF4-FFF2-40B4-BE49-F238E27FC236}">
                  <a16:creationId xmlns:a16="http://schemas.microsoft.com/office/drawing/2014/main" id="{7E81E8A3-3328-495A-81AF-6B9F2C50E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7734" y="2572774"/>
              <a:ext cx="75245" cy="85994"/>
            </a:xfrm>
            <a:custGeom>
              <a:avLst/>
              <a:gdLst>
                <a:gd name="T0" fmla="*/ 0 w 26"/>
                <a:gd name="T1" fmla="*/ 0 h 30"/>
                <a:gd name="T2" fmla="*/ 7 w 26"/>
                <a:gd name="T3" fmla="*/ 30 h 30"/>
                <a:gd name="T4" fmla="*/ 26 w 26"/>
                <a:gd name="T5" fmla="*/ 12 h 30"/>
                <a:gd name="T6" fmla="*/ 26 w 26"/>
                <a:gd name="T7" fmla="*/ 12 h 30"/>
                <a:gd name="T8" fmla="*/ 26 w 26"/>
                <a:gd name="T9" fmla="*/ 12 h 30"/>
                <a:gd name="T10" fmla="*/ 20 w 26"/>
                <a:gd name="T11" fmla="*/ 10 h 30"/>
                <a:gd name="T12" fmla="*/ 0 w 26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0"/>
                  </a:moveTo>
                  <a:cubicBezTo>
                    <a:pt x="2" y="10"/>
                    <a:pt x="5" y="20"/>
                    <a:pt x="7" y="30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1"/>
                    <a:pt x="22" y="10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9854AC51-FE90-4057-8D3D-F26488EE0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3133" y="2833827"/>
              <a:ext cx="89065" cy="531318"/>
            </a:xfrm>
            <a:custGeom>
              <a:avLst/>
              <a:gdLst>
                <a:gd name="T0" fmla="*/ 0 w 31"/>
                <a:gd name="T1" fmla="*/ 0 h 185"/>
                <a:gd name="T2" fmla="*/ 0 w 31"/>
                <a:gd name="T3" fmla="*/ 0 h 185"/>
                <a:gd name="T4" fmla="*/ 3 w 31"/>
                <a:gd name="T5" fmla="*/ 9 h 185"/>
                <a:gd name="T6" fmla="*/ 31 w 31"/>
                <a:gd name="T7" fmla="*/ 185 h 185"/>
                <a:gd name="T8" fmla="*/ 31 w 31"/>
                <a:gd name="T9" fmla="*/ 185 h 185"/>
                <a:gd name="T10" fmla="*/ 3 w 31"/>
                <a:gd name="T11" fmla="*/ 9 h 185"/>
                <a:gd name="T12" fmla="*/ 0 w 31"/>
                <a:gd name="T1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8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3" y="9"/>
                  </a:cubicBezTo>
                  <a:cubicBezTo>
                    <a:pt x="25" y="75"/>
                    <a:pt x="31" y="184"/>
                    <a:pt x="31" y="185"/>
                  </a:cubicBezTo>
                  <a:cubicBezTo>
                    <a:pt x="31" y="185"/>
                    <a:pt x="31" y="185"/>
                    <a:pt x="31" y="185"/>
                  </a:cubicBezTo>
                  <a:cubicBezTo>
                    <a:pt x="31" y="185"/>
                    <a:pt x="25" y="76"/>
                    <a:pt x="3" y="9"/>
                  </a:cubicBezTo>
                  <a:cubicBezTo>
                    <a:pt x="2" y="6"/>
                    <a:pt x="1" y="3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1" name="Freeform 229">
              <a:extLst>
                <a:ext uri="{FF2B5EF4-FFF2-40B4-BE49-F238E27FC236}">
                  <a16:creationId xmlns:a16="http://schemas.microsoft.com/office/drawing/2014/main" id="{C7FA8BF6-7893-4CEB-8469-21CA86065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6168" y="3724476"/>
              <a:ext cx="72174" cy="517498"/>
            </a:xfrm>
            <a:custGeom>
              <a:avLst/>
              <a:gdLst>
                <a:gd name="T0" fmla="*/ 25 w 25"/>
                <a:gd name="T1" fmla="*/ 180 h 180"/>
                <a:gd name="T2" fmla="*/ 7 w 25"/>
                <a:gd name="T3" fmla="*/ 51 h 180"/>
                <a:gd name="T4" fmla="*/ 7 w 25"/>
                <a:gd name="T5" fmla="*/ 51 h 180"/>
                <a:gd name="T6" fmla="*/ 6 w 25"/>
                <a:gd name="T7" fmla="*/ 45 h 180"/>
                <a:gd name="T8" fmla="*/ 6 w 25"/>
                <a:gd name="T9" fmla="*/ 45 h 180"/>
                <a:gd name="T10" fmla="*/ 6 w 25"/>
                <a:gd name="T11" fmla="*/ 45 h 180"/>
                <a:gd name="T12" fmla="*/ 6 w 25"/>
                <a:gd name="T13" fmla="*/ 45 h 180"/>
                <a:gd name="T14" fmla="*/ 6 w 25"/>
                <a:gd name="T15" fmla="*/ 45 h 180"/>
                <a:gd name="T16" fmla="*/ 6 w 25"/>
                <a:gd name="T17" fmla="*/ 44 h 180"/>
                <a:gd name="T18" fmla="*/ 5 w 25"/>
                <a:gd name="T19" fmla="*/ 39 h 180"/>
                <a:gd name="T20" fmla="*/ 5 w 25"/>
                <a:gd name="T21" fmla="*/ 39 h 180"/>
                <a:gd name="T22" fmla="*/ 5 w 25"/>
                <a:gd name="T23" fmla="*/ 39 h 180"/>
                <a:gd name="T24" fmla="*/ 4 w 25"/>
                <a:gd name="T25" fmla="*/ 34 h 180"/>
                <a:gd name="T26" fmla="*/ 4 w 25"/>
                <a:gd name="T27" fmla="*/ 34 h 180"/>
                <a:gd name="T28" fmla="*/ 4 w 25"/>
                <a:gd name="T29" fmla="*/ 34 h 180"/>
                <a:gd name="T30" fmla="*/ 4 w 25"/>
                <a:gd name="T31" fmla="*/ 31 h 180"/>
                <a:gd name="T32" fmla="*/ 4 w 25"/>
                <a:gd name="T33" fmla="*/ 31 h 180"/>
                <a:gd name="T34" fmla="*/ 4 w 25"/>
                <a:gd name="T35" fmla="*/ 30 h 180"/>
                <a:gd name="T36" fmla="*/ 3 w 25"/>
                <a:gd name="T37" fmla="*/ 27 h 180"/>
                <a:gd name="T38" fmla="*/ 3 w 25"/>
                <a:gd name="T39" fmla="*/ 27 h 180"/>
                <a:gd name="T40" fmla="*/ 3 w 25"/>
                <a:gd name="T41" fmla="*/ 26 h 180"/>
                <a:gd name="T42" fmla="*/ 3 w 25"/>
                <a:gd name="T43" fmla="*/ 24 h 180"/>
                <a:gd name="T44" fmla="*/ 3 w 25"/>
                <a:gd name="T45" fmla="*/ 24 h 180"/>
                <a:gd name="T46" fmla="*/ 3 w 25"/>
                <a:gd name="T47" fmla="*/ 23 h 180"/>
                <a:gd name="T48" fmla="*/ 3 w 25"/>
                <a:gd name="T49" fmla="*/ 22 h 180"/>
                <a:gd name="T50" fmla="*/ 3 w 25"/>
                <a:gd name="T51" fmla="*/ 22 h 180"/>
                <a:gd name="T52" fmla="*/ 2 w 25"/>
                <a:gd name="T53" fmla="*/ 19 h 180"/>
                <a:gd name="T54" fmla="*/ 2 w 25"/>
                <a:gd name="T55" fmla="*/ 18 h 180"/>
                <a:gd name="T56" fmla="*/ 2 w 25"/>
                <a:gd name="T57" fmla="*/ 18 h 180"/>
                <a:gd name="T58" fmla="*/ 0 w 25"/>
                <a:gd name="T59" fmla="*/ 7 h 180"/>
                <a:gd name="T60" fmla="*/ 0 w 25"/>
                <a:gd name="T61" fmla="*/ 0 h 180"/>
                <a:gd name="T62" fmla="*/ 0 w 25"/>
                <a:gd name="T63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" h="180">
                  <a:moveTo>
                    <a:pt x="7" y="51"/>
                  </a:moveTo>
                  <a:cubicBezTo>
                    <a:pt x="13" y="94"/>
                    <a:pt x="19" y="138"/>
                    <a:pt x="25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19" y="138"/>
                    <a:pt x="13" y="94"/>
                    <a:pt x="7" y="51"/>
                  </a:cubicBezTo>
                  <a:moveTo>
                    <a:pt x="6" y="48"/>
                  </a:moveTo>
                  <a:cubicBezTo>
                    <a:pt x="6" y="49"/>
                    <a:pt x="7" y="50"/>
                    <a:pt x="7" y="51"/>
                  </a:cubicBezTo>
                  <a:cubicBezTo>
                    <a:pt x="7" y="50"/>
                    <a:pt x="6" y="49"/>
                    <a:pt x="6" y="48"/>
                  </a:cubicBezTo>
                  <a:moveTo>
                    <a:pt x="6" y="45"/>
                  </a:moveTo>
                  <a:cubicBezTo>
                    <a:pt x="6" y="46"/>
                    <a:pt x="6" y="47"/>
                    <a:pt x="6" y="47"/>
                  </a:cubicBezTo>
                  <a:cubicBezTo>
                    <a:pt x="6" y="47"/>
                    <a:pt x="6" y="46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3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3"/>
                  </a:cubicBezTo>
                  <a:moveTo>
                    <a:pt x="5" y="39"/>
                  </a:moveTo>
                  <a:cubicBezTo>
                    <a:pt x="5" y="40"/>
                    <a:pt x="5" y="42"/>
                    <a:pt x="6" y="43"/>
                  </a:cubicBezTo>
                  <a:cubicBezTo>
                    <a:pt x="5" y="42"/>
                    <a:pt x="5" y="40"/>
                    <a:pt x="5" y="39"/>
                  </a:cubicBezTo>
                  <a:moveTo>
                    <a:pt x="5" y="38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8"/>
                  </a:cubicBezTo>
                  <a:moveTo>
                    <a:pt x="4" y="34"/>
                  </a:moveTo>
                  <a:cubicBezTo>
                    <a:pt x="5" y="36"/>
                    <a:pt x="5" y="37"/>
                    <a:pt x="5" y="38"/>
                  </a:cubicBezTo>
                  <a:cubicBezTo>
                    <a:pt x="5" y="37"/>
                    <a:pt x="5" y="36"/>
                    <a:pt x="4" y="34"/>
                  </a:cubicBezTo>
                  <a:moveTo>
                    <a:pt x="4" y="33"/>
                  </a:moveTo>
                  <a:cubicBezTo>
                    <a:pt x="4" y="33"/>
                    <a:pt x="4" y="34"/>
                    <a:pt x="4" y="34"/>
                  </a:cubicBezTo>
                  <a:cubicBezTo>
                    <a:pt x="4" y="34"/>
                    <a:pt x="4" y="33"/>
                    <a:pt x="4" y="33"/>
                  </a:cubicBezTo>
                  <a:moveTo>
                    <a:pt x="4" y="31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moveTo>
                    <a:pt x="4" y="30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moveTo>
                    <a:pt x="3" y="27"/>
                  </a:moveTo>
                  <a:cubicBezTo>
                    <a:pt x="3" y="27"/>
                    <a:pt x="3" y="27"/>
                    <a:pt x="3" y="28"/>
                  </a:cubicBezTo>
                  <a:cubicBezTo>
                    <a:pt x="3" y="27"/>
                    <a:pt x="3" y="27"/>
                    <a:pt x="3" y="27"/>
                  </a:cubicBezTo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moveTo>
                    <a:pt x="3" y="24"/>
                  </a:moveTo>
                  <a:cubicBezTo>
                    <a:pt x="3" y="24"/>
                    <a:pt x="3" y="25"/>
                    <a:pt x="3" y="26"/>
                  </a:cubicBezTo>
                  <a:cubicBezTo>
                    <a:pt x="3" y="25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2" y="18"/>
                  </a:moveTo>
                  <a:cubicBezTo>
                    <a:pt x="2" y="18"/>
                    <a:pt x="2" y="19"/>
                    <a:pt x="2" y="19"/>
                  </a:cubicBezTo>
                  <a:cubicBezTo>
                    <a:pt x="2" y="19"/>
                    <a:pt x="2" y="18"/>
                    <a:pt x="2" y="18"/>
                  </a:cubicBezTo>
                  <a:moveTo>
                    <a:pt x="2" y="18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moveTo>
                    <a:pt x="0" y="6"/>
                  </a:move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2" name="Freeform 230">
              <a:extLst>
                <a:ext uri="{FF2B5EF4-FFF2-40B4-BE49-F238E27FC236}">
                  <a16:creationId xmlns:a16="http://schemas.microsoft.com/office/drawing/2014/main" id="{04360F6D-0FDD-4BCE-984D-EF8434F07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341" y="4241975"/>
              <a:ext cx="98279" cy="706378"/>
            </a:xfrm>
            <a:custGeom>
              <a:avLst/>
              <a:gdLst>
                <a:gd name="T0" fmla="*/ 0 w 34"/>
                <a:gd name="T1" fmla="*/ 0 h 246"/>
                <a:gd name="T2" fmla="*/ 0 w 34"/>
                <a:gd name="T3" fmla="*/ 0 h 246"/>
                <a:gd name="T4" fmla="*/ 34 w 34"/>
                <a:gd name="T5" fmla="*/ 246 h 246"/>
                <a:gd name="T6" fmla="*/ 0 w 34"/>
                <a:gd name="T7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09"/>
                    <a:pt x="28" y="204"/>
                    <a:pt x="34" y="246"/>
                  </a:cubicBezTo>
                  <a:cubicBezTo>
                    <a:pt x="28" y="204"/>
                    <a:pt x="15" y="109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3" name="Freeform 231">
              <a:extLst>
                <a:ext uri="{FF2B5EF4-FFF2-40B4-BE49-F238E27FC236}">
                  <a16:creationId xmlns:a16="http://schemas.microsoft.com/office/drawing/2014/main" id="{21E1DE2B-AE85-4181-B49F-F98E65F2F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091" y="4261937"/>
              <a:ext cx="19964" cy="624991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4" name="Freeform 232">
              <a:extLst>
                <a:ext uri="{FF2B5EF4-FFF2-40B4-BE49-F238E27FC236}">
                  <a16:creationId xmlns:a16="http://schemas.microsoft.com/office/drawing/2014/main" id="{9FB3382B-DC2E-407D-AA60-2D708B5336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091" y="4261937"/>
              <a:ext cx="19964" cy="624991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5" name="Freeform 233">
              <a:extLst>
                <a:ext uri="{FF2B5EF4-FFF2-40B4-BE49-F238E27FC236}">
                  <a16:creationId xmlns:a16="http://schemas.microsoft.com/office/drawing/2014/main" id="{D872B27C-4FD7-489F-A368-800362F2D5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6620" y="4951424"/>
              <a:ext cx="7679" cy="67566"/>
            </a:xfrm>
            <a:custGeom>
              <a:avLst/>
              <a:gdLst>
                <a:gd name="T0" fmla="*/ 3 w 3"/>
                <a:gd name="T1" fmla="*/ 24 h 24"/>
                <a:gd name="T2" fmla="*/ 3 w 3"/>
                <a:gd name="T3" fmla="*/ 24 h 24"/>
                <a:gd name="T4" fmla="*/ 3 w 3"/>
                <a:gd name="T5" fmla="*/ 24 h 24"/>
                <a:gd name="T6" fmla="*/ 3 w 3"/>
                <a:gd name="T7" fmla="*/ 24 h 24"/>
                <a:gd name="T8" fmla="*/ 3 w 3"/>
                <a:gd name="T9" fmla="*/ 24 h 24"/>
                <a:gd name="T10" fmla="*/ 3 w 3"/>
                <a:gd name="T11" fmla="*/ 24 h 24"/>
                <a:gd name="T12" fmla="*/ 3 w 3"/>
                <a:gd name="T13" fmla="*/ 24 h 24"/>
                <a:gd name="T14" fmla="*/ 3 w 3"/>
                <a:gd name="T15" fmla="*/ 24 h 24"/>
                <a:gd name="T16" fmla="*/ 3 w 3"/>
                <a:gd name="T17" fmla="*/ 24 h 24"/>
                <a:gd name="T18" fmla="*/ 3 w 3"/>
                <a:gd name="T19" fmla="*/ 24 h 24"/>
                <a:gd name="T20" fmla="*/ 3 w 3"/>
                <a:gd name="T21" fmla="*/ 24 h 24"/>
                <a:gd name="T22" fmla="*/ 3 w 3"/>
                <a:gd name="T23" fmla="*/ 24 h 24"/>
                <a:gd name="T24" fmla="*/ 3 w 3"/>
                <a:gd name="T25" fmla="*/ 24 h 24"/>
                <a:gd name="T26" fmla="*/ 3 w 3"/>
                <a:gd name="T27" fmla="*/ 24 h 24"/>
                <a:gd name="T28" fmla="*/ 3 w 3"/>
                <a:gd name="T29" fmla="*/ 24 h 24"/>
                <a:gd name="T30" fmla="*/ 3 w 3"/>
                <a:gd name="T31" fmla="*/ 24 h 24"/>
                <a:gd name="T32" fmla="*/ 3 w 3"/>
                <a:gd name="T33" fmla="*/ 24 h 24"/>
                <a:gd name="T34" fmla="*/ 3 w 3"/>
                <a:gd name="T35" fmla="*/ 24 h 24"/>
                <a:gd name="T36" fmla="*/ 3 w 3"/>
                <a:gd name="T37" fmla="*/ 24 h 24"/>
                <a:gd name="T38" fmla="*/ 3 w 3"/>
                <a:gd name="T39" fmla="*/ 23 h 24"/>
                <a:gd name="T40" fmla="*/ 3 w 3"/>
                <a:gd name="T41" fmla="*/ 23 h 24"/>
                <a:gd name="T42" fmla="*/ 3 w 3"/>
                <a:gd name="T43" fmla="*/ 23 h 24"/>
                <a:gd name="T44" fmla="*/ 3 w 3"/>
                <a:gd name="T45" fmla="*/ 23 h 24"/>
                <a:gd name="T46" fmla="*/ 3 w 3"/>
                <a:gd name="T47" fmla="*/ 23 h 24"/>
                <a:gd name="T48" fmla="*/ 3 w 3"/>
                <a:gd name="T49" fmla="*/ 23 h 24"/>
                <a:gd name="T50" fmla="*/ 3 w 3"/>
                <a:gd name="T51" fmla="*/ 23 h 24"/>
                <a:gd name="T52" fmla="*/ 3 w 3"/>
                <a:gd name="T53" fmla="*/ 23 h 24"/>
                <a:gd name="T54" fmla="*/ 3 w 3"/>
                <a:gd name="T55" fmla="*/ 23 h 24"/>
                <a:gd name="T56" fmla="*/ 3 w 3"/>
                <a:gd name="T57" fmla="*/ 23 h 24"/>
                <a:gd name="T58" fmla="*/ 3 w 3"/>
                <a:gd name="T59" fmla="*/ 23 h 24"/>
                <a:gd name="T60" fmla="*/ 3 w 3"/>
                <a:gd name="T61" fmla="*/ 23 h 24"/>
                <a:gd name="T62" fmla="*/ 3 w 3"/>
                <a:gd name="T63" fmla="*/ 23 h 24"/>
                <a:gd name="T64" fmla="*/ 3 w 3"/>
                <a:gd name="T65" fmla="*/ 23 h 24"/>
                <a:gd name="T66" fmla="*/ 3 w 3"/>
                <a:gd name="T67" fmla="*/ 22 h 24"/>
                <a:gd name="T68" fmla="*/ 3 w 3"/>
                <a:gd name="T69" fmla="*/ 21 h 24"/>
                <a:gd name="T70" fmla="*/ 3 w 3"/>
                <a:gd name="T71" fmla="*/ 21 h 24"/>
                <a:gd name="T72" fmla="*/ 3 w 3"/>
                <a:gd name="T73" fmla="*/ 21 h 24"/>
                <a:gd name="T74" fmla="*/ 3 w 3"/>
                <a:gd name="T75" fmla="*/ 21 h 24"/>
                <a:gd name="T76" fmla="*/ 3 w 3"/>
                <a:gd name="T77" fmla="*/ 21 h 24"/>
                <a:gd name="T78" fmla="*/ 3 w 3"/>
                <a:gd name="T79" fmla="*/ 21 h 24"/>
                <a:gd name="T80" fmla="*/ 3 w 3"/>
                <a:gd name="T81" fmla="*/ 20 h 24"/>
                <a:gd name="T82" fmla="*/ 3 w 3"/>
                <a:gd name="T83" fmla="*/ 20 h 24"/>
                <a:gd name="T84" fmla="*/ 2 w 3"/>
                <a:gd name="T85" fmla="*/ 17 h 24"/>
                <a:gd name="T86" fmla="*/ 2 w 3"/>
                <a:gd name="T87" fmla="*/ 17 h 24"/>
                <a:gd name="T88" fmla="*/ 2 w 3"/>
                <a:gd name="T89" fmla="*/ 16 h 24"/>
                <a:gd name="T90" fmla="*/ 2 w 3"/>
                <a:gd name="T91" fmla="*/ 16 h 24"/>
                <a:gd name="T92" fmla="*/ 2 w 3"/>
                <a:gd name="T93" fmla="*/ 15 h 24"/>
                <a:gd name="T94" fmla="*/ 2 w 3"/>
                <a:gd name="T95" fmla="*/ 15 h 24"/>
                <a:gd name="T96" fmla="*/ 2 w 3"/>
                <a:gd name="T97" fmla="*/ 14 h 24"/>
                <a:gd name="T98" fmla="*/ 2 w 3"/>
                <a:gd name="T99" fmla="*/ 13 h 24"/>
                <a:gd name="T100" fmla="*/ 2 w 3"/>
                <a:gd name="T101" fmla="*/ 13 h 24"/>
                <a:gd name="T102" fmla="*/ 1 w 3"/>
                <a:gd name="T103" fmla="*/ 11 h 24"/>
                <a:gd name="T104" fmla="*/ 1 w 3"/>
                <a:gd name="T10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2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0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0"/>
                  </a:cubicBezTo>
                  <a:moveTo>
                    <a:pt x="3" y="20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2" y="17"/>
                  </a:moveTo>
                  <a:cubicBezTo>
                    <a:pt x="2" y="18"/>
                    <a:pt x="3" y="19"/>
                    <a:pt x="3" y="20"/>
                  </a:cubicBezTo>
                  <a:cubicBezTo>
                    <a:pt x="3" y="19"/>
                    <a:pt x="2" y="18"/>
                    <a:pt x="2" y="17"/>
                  </a:cubicBezTo>
                  <a:moveTo>
                    <a:pt x="2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moveTo>
                    <a:pt x="2" y="16"/>
                  </a:moveTo>
                  <a:cubicBezTo>
                    <a:pt x="2" y="16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moveTo>
                    <a:pt x="2" y="15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5"/>
                  </a:cubicBezTo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moveTo>
                    <a:pt x="2" y="14"/>
                  </a:moveTo>
                  <a:cubicBezTo>
                    <a:pt x="2" y="14"/>
                    <a:pt x="2" y="14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moveTo>
                    <a:pt x="2" y="13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3"/>
                  </a:cubicBezTo>
                  <a:moveTo>
                    <a:pt x="2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moveTo>
                    <a:pt x="1" y="11"/>
                  </a:moveTo>
                  <a:cubicBezTo>
                    <a:pt x="2" y="12"/>
                    <a:pt x="2" y="12"/>
                    <a:pt x="2" y="13"/>
                  </a:cubicBezTo>
                  <a:cubicBezTo>
                    <a:pt x="2" y="12"/>
                    <a:pt x="2" y="12"/>
                    <a:pt x="1" y="11"/>
                  </a:cubicBezTo>
                  <a:moveTo>
                    <a:pt x="1" y="6"/>
                  </a:moveTo>
                  <a:cubicBezTo>
                    <a:pt x="1" y="8"/>
                    <a:pt x="1" y="9"/>
                    <a:pt x="1" y="11"/>
                  </a:cubicBezTo>
                  <a:cubicBezTo>
                    <a:pt x="1" y="9"/>
                    <a:pt x="1" y="8"/>
                    <a:pt x="1" y="6"/>
                  </a:cubicBezTo>
                  <a:moveTo>
                    <a:pt x="0" y="0"/>
                  </a:moveTo>
                  <a:cubicBezTo>
                    <a:pt x="0" y="2"/>
                    <a:pt x="0" y="4"/>
                    <a:pt x="1" y="6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6" name="Freeform 234">
              <a:extLst>
                <a:ext uri="{FF2B5EF4-FFF2-40B4-BE49-F238E27FC236}">
                  <a16:creationId xmlns:a16="http://schemas.microsoft.com/office/drawing/2014/main" id="{C3439D51-8C8B-4F43-95E9-463B215D69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9412" y="4886929"/>
              <a:ext cx="7679" cy="198093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69 h 69"/>
                <a:gd name="T4" fmla="*/ 1 w 3"/>
                <a:gd name="T5" fmla="*/ 69 h 69"/>
                <a:gd name="T6" fmla="*/ 1 w 3"/>
                <a:gd name="T7" fmla="*/ 68 h 69"/>
                <a:gd name="T8" fmla="*/ 1 w 3"/>
                <a:gd name="T9" fmla="*/ 69 h 69"/>
                <a:gd name="T10" fmla="*/ 1 w 3"/>
                <a:gd name="T11" fmla="*/ 68 h 69"/>
                <a:gd name="T12" fmla="*/ 1 w 3"/>
                <a:gd name="T13" fmla="*/ 68 h 69"/>
                <a:gd name="T14" fmla="*/ 1 w 3"/>
                <a:gd name="T15" fmla="*/ 68 h 69"/>
                <a:gd name="T16" fmla="*/ 1 w 3"/>
                <a:gd name="T17" fmla="*/ 68 h 69"/>
                <a:gd name="T18" fmla="*/ 1 w 3"/>
                <a:gd name="T19" fmla="*/ 68 h 69"/>
                <a:gd name="T20" fmla="*/ 1 w 3"/>
                <a:gd name="T21" fmla="*/ 68 h 69"/>
                <a:gd name="T22" fmla="*/ 1 w 3"/>
                <a:gd name="T23" fmla="*/ 68 h 69"/>
                <a:gd name="T24" fmla="*/ 1 w 3"/>
                <a:gd name="T25" fmla="*/ 68 h 69"/>
                <a:gd name="T26" fmla="*/ 1 w 3"/>
                <a:gd name="T27" fmla="*/ 68 h 69"/>
                <a:gd name="T28" fmla="*/ 1 w 3"/>
                <a:gd name="T29" fmla="*/ 68 h 69"/>
                <a:gd name="T30" fmla="*/ 1 w 3"/>
                <a:gd name="T31" fmla="*/ 68 h 69"/>
                <a:gd name="T32" fmla="*/ 1 w 3"/>
                <a:gd name="T33" fmla="*/ 68 h 69"/>
                <a:gd name="T34" fmla="*/ 1 w 3"/>
                <a:gd name="T35" fmla="*/ 68 h 69"/>
                <a:gd name="T36" fmla="*/ 1 w 3"/>
                <a:gd name="T37" fmla="*/ 68 h 69"/>
                <a:gd name="T38" fmla="*/ 1 w 3"/>
                <a:gd name="T39" fmla="*/ 68 h 69"/>
                <a:gd name="T40" fmla="*/ 1 w 3"/>
                <a:gd name="T41" fmla="*/ 68 h 69"/>
                <a:gd name="T42" fmla="*/ 0 w 3"/>
                <a:gd name="T43" fmla="*/ 68 h 69"/>
                <a:gd name="T44" fmla="*/ 0 w 3"/>
                <a:gd name="T45" fmla="*/ 68 h 69"/>
                <a:gd name="T46" fmla="*/ 0 w 3"/>
                <a:gd name="T47" fmla="*/ 68 h 69"/>
                <a:gd name="T48" fmla="*/ 3 w 3"/>
                <a:gd name="T49" fmla="*/ 0 h 69"/>
                <a:gd name="T50" fmla="*/ 0 w 3"/>
                <a:gd name="T51" fmla="*/ 67 h 69"/>
                <a:gd name="T52" fmla="*/ 0 w 3"/>
                <a:gd name="T53" fmla="*/ 67 h 69"/>
                <a:gd name="T54" fmla="*/ 3 w 3"/>
                <a:gd name="T55" fmla="*/ 0 h 69"/>
                <a:gd name="T56" fmla="*/ 3 w 3"/>
                <a:gd name="T5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9"/>
                  </a:cubicBezTo>
                  <a:moveTo>
                    <a:pt x="1" y="68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0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moveTo>
                    <a:pt x="3" y="0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1314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7" name="Freeform 235">
              <a:extLst>
                <a:ext uri="{FF2B5EF4-FFF2-40B4-BE49-F238E27FC236}">
                  <a16:creationId xmlns:a16="http://schemas.microsoft.com/office/drawing/2014/main" id="{E3795FCC-F62F-4602-A4A4-BEBFA84C34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412" y="3397394"/>
              <a:ext cx="1094885" cy="1835046"/>
            </a:xfrm>
            <a:custGeom>
              <a:avLst/>
              <a:gdLst>
                <a:gd name="T0" fmla="*/ 105 w 381"/>
                <a:gd name="T1" fmla="*/ 173 h 639"/>
                <a:gd name="T2" fmla="*/ 202 w 381"/>
                <a:gd name="T3" fmla="*/ 397 h 639"/>
                <a:gd name="T4" fmla="*/ 53 w 381"/>
                <a:gd name="T5" fmla="*/ 243 h 639"/>
                <a:gd name="T6" fmla="*/ 0 w 381"/>
                <a:gd name="T7" fmla="*/ 586 h 639"/>
                <a:gd name="T8" fmla="*/ 1 w 381"/>
                <a:gd name="T9" fmla="*/ 587 h 639"/>
                <a:gd name="T10" fmla="*/ 1 w 381"/>
                <a:gd name="T11" fmla="*/ 587 h 639"/>
                <a:gd name="T12" fmla="*/ 1 w 381"/>
                <a:gd name="T13" fmla="*/ 587 h 639"/>
                <a:gd name="T14" fmla="*/ 1 w 381"/>
                <a:gd name="T15" fmla="*/ 587 h 639"/>
                <a:gd name="T16" fmla="*/ 1 w 381"/>
                <a:gd name="T17" fmla="*/ 588 h 639"/>
                <a:gd name="T18" fmla="*/ 89 w 381"/>
                <a:gd name="T19" fmla="*/ 636 h 639"/>
                <a:gd name="T20" fmla="*/ 205 w 381"/>
                <a:gd name="T21" fmla="*/ 637 h 639"/>
                <a:gd name="T22" fmla="*/ 381 w 381"/>
                <a:gd name="T23" fmla="*/ 565 h 639"/>
                <a:gd name="T24" fmla="*/ 381 w 381"/>
                <a:gd name="T25" fmla="*/ 565 h 639"/>
                <a:gd name="T26" fmla="*/ 381 w 381"/>
                <a:gd name="T27" fmla="*/ 565 h 639"/>
                <a:gd name="T28" fmla="*/ 381 w 381"/>
                <a:gd name="T29" fmla="*/ 565 h 639"/>
                <a:gd name="T30" fmla="*/ 381 w 381"/>
                <a:gd name="T31" fmla="*/ 565 h 639"/>
                <a:gd name="T32" fmla="*/ 381 w 381"/>
                <a:gd name="T33" fmla="*/ 565 h 639"/>
                <a:gd name="T34" fmla="*/ 381 w 381"/>
                <a:gd name="T35" fmla="*/ 565 h 639"/>
                <a:gd name="T36" fmla="*/ 381 w 381"/>
                <a:gd name="T37" fmla="*/ 565 h 639"/>
                <a:gd name="T38" fmla="*/ 381 w 381"/>
                <a:gd name="T39" fmla="*/ 565 h 639"/>
                <a:gd name="T40" fmla="*/ 381 w 381"/>
                <a:gd name="T41" fmla="*/ 565 h 639"/>
                <a:gd name="T42" fmla="*/ 381 w 381"/>
                <a:gd name="T43" fmla="*/ 565 h 639"/>
                <a:gd name="T44" fmla="*/ 381 w 381"/>
                <a:gd name="T45" fmla="*/ 565 h 639"/>
                <a:gd name="T46" fmla="*/ 381 w 381"/>
                <a:gd name="T47" fmla="*/ 565 h 639"/>
                <a:gd name="T48" fmla="*/ 381 w 381"/>
                <a:gd name="T49" fmla="*/ 564 h 639"/>
                <a:gd name="T50" fmla="*/ 381 w 381"/>
                <a:gd name="T51" fmla="*/ 564 h 639"/>
                <a:gd name="T52" fmla="*/ 381 w 381"/>
                <a:gd name="T53" fmla="*/ 564 h 639"/>
                <a:gd name="T54" fmla="*/ 381 w 381"/>
                <a:gd name="T55" fmla="*/ 564 h 639"/>
                <a:gd name="T56" fmla="*/ 381 w 381"/>
                <a:gd name="T57" fmla="*/ 564 h 639"/>
                <a:gd name="T58" fmla="*/ 381 w 381"/>
                <a:gd name="T59" fmla="*/ 564 h 639"/>
                <a:gd name="T60" fmla="*/ 381 w 381"/>
                <a:gd name="T61" fmla="*/ 564 h 639"/>
                <a:gd name="T62" fmla="*/ 381 w 381"/>
                <a:gd name="T63" fmla="*/ 564 h 639"/>
                <a:gd name="T64" fmla="*/ 381 w 381"/>
                <a:gd name="T65" fmla="*/ 564 h 639"/>
                <a:gd name="T66" fmla="*/ 381 w 381"/>
                <a:gd name="T67" fmla="*/ 563 h 639"/>
                <a:gd name="T68" fmla="*/ 381 w 381"/>
                <a:gd name="T69" fmla="*/ 562 h 639"/>
                <a:gd name="T70" fmla="*/ 381 w 381"/>
                <a:gd name="T71" fmla="*/ 562 h 639"/>
                <a:gd name="T72" fmla="*/ 381 w 381"/>
                <a:gd name="T73" fmla="*/ 562 h 639"/>
                <a:gd name="T74" fmla="*/ 381 w 381"/>
                <a:gd name="T75" fmla="*/ 562 h 639"/>
                <a:gd name="T76" fmla="*/ 381 w 381"/>
                <a:gd name="T77" fmla="*/ 561 h 639"/>
                <a:gd name="T78" fmla="*/ 380 w 381"/>
                <a:gd name="T79" fmla="*/ 558 h 639"/>
                <a:gd name="T80" fmla="*/ 380 w 381"/>
                <a:gd name="T81" fmla="*/ 557 h 639"/>
                <a:gd name="T82" fmla="*/ 380 w 381"/>
                <a:gd name="T83" fmla="*/ 557 h 639"/>
                <a:gd name="T84" fmla="*/ 380 w 381"/>
                <a:gd name="T85" fmla="*/ 556 h 639"/>
                <a:gd name="T86" fmla="*/ 380 w 381"/>
                <a:gd name="T87" fmla="*/ 555 h 639"/>
                <a:gd name="T88" fmla="*/ 380 w 381"/>
                <a:gd name="T89" fmla="*/ 554 h 639"/>
                <a:gd name="T90" fmla="*/ 379 w 381"/>
                <a:gd name="T91" fmla="*/ 552 h 639"/>
                <a:gd name="T92" fmla="*/ 378 w 381"/>
                <a:gd name="T93" fmla="*/ 541 h 639"/>
                <a:gd name="T94" fmla="*/ 344 w 381"/>
                <a:gd name="T95" fmla="*/ 294 h 639"/>
                <a:gd name="T96" fmla="*/ 325 w 381"/>
                <a:gd name="T97" fmla="*/ 162 h 639"/>
                <a:gd name="T98" fmla="*/ 325 w 381"/>
                <a:gd name="T99" fmla="*/ 159 h 639"/>
                <a:gd name="T100" fmla="*/ 325 w 381"/>
                <a:gd name="T101" fmla="*/ 159 h 639"/>
                <a:gd name="T102" fmla="*/ 325 w 381"/>
                <a:gd name="T103" fmla="*/ 157 h 639"/>
                <a:gd name="T104" fmla="*/ 324 w 381"/>
                <a:gd name="T105" fmla="*/ 152 h 639"/>
                <a:gd name="T106" fmla="*/ 323 w 381"/>
                <a:gd name="T107" fmla="*/ 148 h 639"/>
                <a:gd name="T108" fmla="*/ 323 w 381"/>
                <a:gd name="T109" fmla="*/ 145 h 639"/>
                <a:gd name="T110" fmla="*/ 322 w 381"/>
                <a:gd name="T111" fmla="*/ 142 h 639"/>
                <a:gd name="T112" fmla="*/ 322 w 381"/>
                <a:gd name="T113" fmla="*/ 140 h 639"/>
                <a:gd name="T114" fmla="*/ 322 w 381"/>
                <a:gd name="T115" fmla="*/ 137 h 639"/>
                <a:gd name="T116" fmla="*/ 322 w 381"/>
                <a:gd name="T117" fmla="*/ 136 h 639"/>
                <a:gd name="T118" fmla="*/ 321 w 381"/>
                <a:gd name="T119" fmla="*/ 132 h 639"/>
                <a:gd name="T120" fmla="*/ 319 w 381"/>
                <a:gd name="T121" fmla="*/ 120 h 639"/>
                <a:gd name="T122" fmla="*/ 302 w 381"/>
                <a:gd name="T123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1" h="639">
                  <a:moveTo>
                    <a:pt x="302" y="0"/>
                  </a:moveTo>
                  <a:cubicBezTo>
                    <a:pt x="173" y="38"/>
                    <a:pt x="173" y="38"/>
                    <a:pt x="173" y="38"/>
                  </a:cubicBezTo>
                  <a:cubicBezTo>
                    <a:pt x="159" y="85"/>
                    <a:pt x="137" y="130"/>
                    <a:pt x="105" y="173"/>
                  </a:cubicBezTo>
                  <a:cubicBezTo>
                    <a:pt x="88" y="196"/>
                    <a:pt x="71" y="219"/>
                    <a:pt x="54" y="242"/>
                  </a:cubicBezTo>
                  <a:cubicBezTo>
                    <a:pt x="57" y="247"/>
                    <a:pt x="61" y="253"/>
                    <a:pt x="66" y="258"/>
                  </a:cubicBezTo>
                  <a:cubicBezTo>
                    <a:pt x="119" y="318"/>
                    <a:pt x="210" y="397"/>
                    <a:pt x="202" y="397"/>
                  </a:cubicBezTo>
                  <a:cubicBezTo>
                    <a:pt x="201" y="397"/>
                    <a:pt x="197" y="395"/>
                    <a:pt x="191" y="391"/>
                  </a:cubicBezTo>
                  <a:cubicBezTo>
                    <a:pt x="152" y="366"/>
                    <a:pt x="100" y="303"/>
                    <a:pt x="66" y="258"/>
                  </a:cubicBezTo>
                  <a:cubicBezTo>
                    <a:pt x="61" y="253"/>
                    <a:pt x="57" y="248"/>
                    <a:pt x="53" y="243"/>
                  </a:cubicBezTo>
                  <a:cubicBezTo>
                    <a:pt x="38" y="263"/>
                    <a:pt x="24" y="282"/>
                    <a:pt x="10" y="301"/>
                  </a:cubicBezTo>
                  <a:cubicBezTo>
                    <a:pt x="3" y="519"/>
                    <a:pt x="3" y="519"/>
                    <a:pt x="3" y="519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0" y="586"/>
                    <a:pt x="0" y="587"/>
                    <a:pt x="0" y="58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0" y="587"/>
                    <a:pt x="0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22" y="614"/>
                    <a:pt x="48" y="629"/>
                    <a:pt x="76" y="638"/>
                  </a:cubicBezTo>
                  <a:cubicBezTo>
                    <a:pt x="80" y="637"/>
                    <a:pt x="85" y="636"/>
                    <a:pt x="89" y="636"/>
                  </a:cubicBezTo>
                  <a:cubicBezTo>
                    <a:pt x="100" y="633"/>
                    <a:pt x="110" y="632"/>
                    <a:pt x="121" y="632"/>
                  </a:cubicBezTo>
                  <a:cubicBezTo>
                    <a:pt x="146" y="632"/>
                    <a:pt x="170" y="637"/>
                    <a:pt x="194" y="639"/>
                  </a:cubicBezTo>
                  <a:cubicBezTo>
                    <a:pt x="197" y="639"/>
                    <a:pt x="201" y="638"/>
                    <a:pt x="205" y="637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328" y="597"/>
                    <a:pt x="378" y="567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0"/>
                    <a:pt x="380" y="559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3"/>
                    <a:pt x="380" y="553"/>
                    <a:pt x="379" y="552"/>
                  </a:cubicBezTo>
                  <a:cubicBezTo>
                    <a:pt x="379" y="552"/>
                    <a:pt x="379" y="552"/>
                    <a:pt x="379" y="552"/>
                  </a:cubicBezTo>
                  <a:cubicBezTo>
                    <a:pt x="379" y="550"/>
                    <a:pt x="379" y="549"/>
                    <a:pt x="379" y="547"/>
                  </a:cubicBezTo>
                  <a:cubicBezTo>
                    <a:pt x="379" y="547"/>
                    <a:pt x="379" y="547"/>
                    <a:pt x="379" y="547"/>
                  </a:cubicBezTo>
                  <a:cubicBezTo>
                    <a:pt x="378" y="545"/>
                    <a:pt x="378" y="543"/>
                    <a:pt x="378" y="541"/>
                  </a:cubicBezTo>
                  <a:cubicBezTo>
                    <a:pt x="378" y="541"/>
                    <a:pt x="378" y="541"/>
                    <a:pt x="378" y="540"/>
                  </a:cubicBezTo>
                  <a:cubicBezTo>
                    <a:pt x="372" y="498"/>
                    <a:pt x="359" y="403"/>
                    <a:pt x="344" y="294"/>
                  </a:cubicBezTo>
                  <a:cubicBezTo>
                    <a:pt x="344" y="294"/>
                    <a:pt x="344" y="294"/>
                    <a:pt x="344" y="294"/>
                  </a:cubicBezTo>
                  <a:cubicBezTo>
                    <a:pt x="338" y="252"/>
                    <a:pt x="332" y="208"/>
                    <a:pt x="326" y="165"/>
                  </a:cubicBezTo>
                  <a:cubicBezTo>
                    <a:pt x="326" y="165"/>
                    <a:pt x="326" y="165"/>
                    <a:pt x="326" y="165"/>
                  </a:cubicBezTo>
                  <a:cubicBezTo>
                    <a:pt x="326" y="164"/>
                    <a:pt x="325" y="163"/>
                    <a:pt x="325" y="162"/>
                  </a:cubicBezTo>
                  <a:cubicBezTo>
                    <a:pt x="325" y="162"/>
                    <a:pt x="325" y="161"/>
                    <a:pt x="325" y="161"/>
                  </a:cubicBezTo>
                  <a:cubicBezTo>
                    <a:pt x="325" y="161"/>
                    <a:pt x="325" y="160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8"/>
                    <a:pt x="325" y="158"/>
                    <a:pt x="325" y="158"/>
                  </a:cubicBezTo>
                  <a:cubicBezTo>
                    <a:pt x="325" y="158"/>
                    <a:pt x="325" y="158"/>
                    <a:pt x="325" y="157"/>
                  </a:cubicBezTo>
                  <a:cubicBezTo>
                    <a:pt x="325" y="157"/>
                    <a:pt x="325" y="157"/>
                    <a:pt x="325" y="157"/>
                  </a:cubicBezTo>
                  <a:cubicBezTo>
                    <a:pt x="324" y="156"/>
                    <a:pt x="324" y="154"/>
                    <a:pt x="324" y="153"/>
                  </a:cubicBezTo>
                  <a:cubicBezTo>
                    <a:pt x="324" y="153"/>
                    <a:pt x="324" y="153"/>
                    <a:pt x="324" y="153"/>
                  </a:cubicBezTo>
                  <a:cubicBezTo>
                    <a:pt x="324" y="153"/>
                    <a:pt x="324" y="153"/>
                    <a:pt x="324" y="152"/>
                  </a:cubicBezTo>
                  <a:cubicBezTo>
                    <a:pt x="324" y="152"/>
                    <a:pt x="324" y="152"/>
                    <a:pt x="324" y="152"/>
                  </a:cubicBezTo>
                  <a:cubicBezTo>
                    <a:pt x="324" y="151"/>
                    <a:pt x="324" y="150"/>
                    <a:pt x="323" y="148"/>
                  </a:cubicBezTo>
                  <a:cubicBezTo>
                    <a:pt x="323" y="148"/>
                    <a:pt x="323" y="148"/>
                    <a:pt x="323" y="148"/>
                  </a:cubicBezTo>
                  <a:cubicBezTo>
                    <a:pt x="323" y="148"/>
                    <a:pt x="323" y="147"/>
                    <a:pt x="323" y="147"/>
                  </a:cubicBezTo>
                  <a:cubicBezTo>
                    <a:pt x="323" y="146"/>
                    <a:pt x="323" y="145"/>
                    <a:pt x="323" y="145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3" y="145"/>
                    <a:pt x="323" y="144"/>
                    <a:pt x="323" y="144"/>
                  </a:cubicBezTo>
                  <a:cubicBezTo>
                    <a:pt x="323" y="144"/>
                    <a:pt x="323" y="144"/>
                    <a:pt x="323" y="144"/>
                  </a:cubicBezTo>
                  <a:cubicBezTo>
                    <a:pt x="323" y="143"/>
                    <a:pt x="323" y="142"/>
                    <a:pt x="322" y="142"/>
                  </a:cubicBezTo>
                  <a:cubicBezTo>
                    <a:pt x="322" y="141"/>
                    <a:pt x="322" y="141"/>
                    <a:pt x="322" y="141"/>
                  </a:cubicBezTo>
                  <a:cubicBezTo>
                    <a:pt x="322" y="141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39"/>
                    <a:pt x="322" y="138"/>
                    <a:pt x="322" y="138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6"/>
                    <a:pt x="322" y="136"/>
                  </a:cubicBezTo>
                  <a:cubicBezTo>
                    <a:pt x="322" y="136"/>
                    <a:pt x="322" y="136"/>
                    <a:pt x="322" y="136"/>
                  </a:cubicBezTo>
                  <a:cubicBezTo>
                    <a:pt x="321" y="135"/>
                    <a:pt x="321" y="134"/>
                    <a:pt x="321" y="133"/>
                  </a:cubicBezTo>
                  <a:cubicBezTo>
                    <a:pt x="321" y="133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28"/>
                    <a:pt x="320" y="124"/>
                    <a:pt x="319" y="121"/>
                  </a:cubicBezTo>
                  <a:cubicBezTo>
                    <a:pt x="319" y="121"/>
                    <a:pt x="319" y="120"/>
                    <a:pt x="319" y="120"/>
                  </a:cubicBezTo>
                  <a:cubicBezTo>
                    <a:pt x="319" y="118"/>
                    <a:pt x="319" y="117"/>
                    <a:pt x="319" y="115"/>
                  </a:cubicBezTo>
                  <a:cubicBezTo>
                    <a:pt x="319" y="114"/>
                    <a:pt x="319" y="114"/>
                    <a:pt x="319" y="114"/>
                  </a:cubicBezTo>
                  <a:cubicBezTo>
                    <a:pt x="313" y="75"/>
                    <a:pt x="308" y="36"/>
                    <a:pt x="302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8" name="Freeform 236">
              <a:extLst>
                <a:ext uri="{FF2B5EF4-FFF2-40B4-BE49-F238E27FC236}">
                  <a16:creationId xmlns:a16="http://schemas.microsoft.com/office/drawing/2014/main" id="{EA3C0C35-928E-4A61-8B7C-E74D9DE91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6948" y="2635735"/>
              <a:ext cx="485250" cy="870687"/>
            </a:xfrm>
            <a:custGeom>
              <a:avLst/>
              <a:gdLst>
                <a:gd name="T0" fmla="*/ 59 w 169"/>
                <a:gd name="T1" fmla="*/ 0 h 303"/>
                <a:gd name="T2" fmla="*/ 59 w 169"/>
                <a:gd name="T3" fmla="*/ 0 h 303"/>
                <a:gd name="T4" fmla="*/ 59 w 169"/>
                <a:gd name="T5" fmla="*/ 0 h 303"/>
                <a:gd name="T6" fmla="*/ 43 w 169"/>
                <a:gd name="T7" fmla="*/ 148 h 303"/>
                <a:gd name="T8" fmla="*/ 72 w 169"/>
                <a:gd name="T9" fmla="*/ 140 h 303"/>
                <a:gd name="T10" fmla="*/ 99 w 169"/>
                <a:gd name="T11" fmla="*/ 148 h 303"/>
                <a:gd name="T12" fmla="*/ 65 w 169"/>
                <a:gd name="T13" fmla="*/ 145 h 303"/>
                <a:gd name="T14" fmla="*/ 43 w 169"/>
                <a:gd name="T15" fmla="*/ 148 h 303"/>
                <a:gd name="T16" fmla="*/ 43 w 169"/>
                <a:gd name="T17" fmla="*/ 148 h 303"/>
                <a:gd name="T18" fmla="*/ 55 w 169"/>
                <a:gd name="T19" fmla="*/ 153 h 303"/>
                <a:gd name="T20" fmla="*/ 106 w 169"/>
                <a:gd name="T21" fmla="*/ 200 h 303"/>
                <a:gd name="T22" fmla="*/ 55 w 169"/>
                <a:gd name="T23" fmla="*/ 153 h 303"/>
                <a:gd name="T24" fmla="*/ 43 w 169"/>
                <a:gd name="T25" fmla="*/ 148 h 303"/>
                <a:gd name="T26" fmla="*/ 43 w 169"/>
                <a:gd name="T27" fmla="*/ 148 h 303"/>
                <a:gd name="T28" fmla="*/ 22 w 169"/>
                <a:gd name="T29" fmla="*/ 148 h 303"/>
                <a:gd name="T30" fmla="*/ 0 w 169"/>
                <a:gd name="T31" fmla="*/ 303 h 303"/>
                <a:gd name="T32" fmla="*/ 129 w 169"/>
                <a:gd name="T33" fmla="*/ 265 h 303"/>
                <a:gd name="T34" fmla="*/ 129 w 169"/>
                <a:gd name="T35" fmla="*/ 265 h 303"/>
                <a:gd name="T36" fmla="*/ 169 w 169"/>
                <a:gd name="T37" fmla="*/ 254 h 303"/>
                <a:gd name="T38" fmla="*/ 141 w 169"/>
                <a:gd name="T39" fmla="*/ 78 h 303"/>
                <a:gd name="T40" fmla="*/ 138 w 169"/>
                <a:gd name="T41" fmla="*/ 69 h 303"/>
                <a:gd name="T42" fmla="*/ 138 w 169"/>
                <a:gd name="T43" fmla="*/ 69 h 303"/>
                <a:gd name="T44" fmla="*/ 59 w 169"/>
                <a:gd name="T45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303"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8"/>
                    <a:pt x="55" y="140"/>
                    <a:pt x="72" y="140"/>
                  </a:cubicBezTo>
                  <a:cubicBezTo>
                    <a:pt x="80" y="140"/>
                    <a:pt x="89" y="142"/>
                    <a:pt x="99" y="148"/>
                  </a:cubicBezTo>
                  <a:cubicBezTo>
                    <a:pt x="99" y="148"/>
                    <a:pt x="82" y="145"/>
                    <a:pt x="65" y="145"/>
                  </a:cubicBezTo>
                  <a:cubicBezTo>
                    <a:pt x="57" y="145"/>
                    <a:pt x="49" y="146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7" y="149"/>
                    <a:pt x="51" y="151"/>
                    <a:pt x="55" y="153"/>
                  </a:cubicBezTo>
                  <a:cubicBezTo>
                    <a:pt x="71" y="160"/>
                    <a:pt x="97" y="175"/>
                    <a:pt x="106" y="200"/>
                  </a:cubicBezTo>
                  <a:cubicBezTo>
                    <a:pt x="106" y="200"/>
                    <a:pt x="83" y="167"/>
                    <a:pt x="55" y="153"/>
                  </a:cubicBezTo>
                  <a:cubicBezTo>
                    <a:pt x="48" y="149"/>
                    <a:pt x="43" y="148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23" y="201"/>
                    <a:pt x="16" y="253"/>
                    <a:pt x="0" y="303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69" y="253"/>
                    <a:pt x="163" y="144"/>
                    <a:pt x="141" y="78"/>
                  </a:cubicBezTo>
                  <a:cubicBezTo>
                    <a:pt x="140" y="75"/>
                    <a:pt x="139" y="72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16" y="20"/>
                    <a:pt x="59" y="0"/>
                    <a:pt x="5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99" name="Freeform 237">
              <a:extLst>
                <a:ext uri="{FF2B5EF4-FFF2-40B4-BE49-F238E27FC236}">
                  <a16:creationId xmlns:a16="http://schemas.microsoft.com/office/drawing/2014/main" id="{A1C15E09-DDF7-4779-A908-35C4A8133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084" y="5177157"/>
              <a:ext cx="165845" cy="61424"/>
            </a:xfrm>
            <a:custGeom>
              <a:avLst/>
              <a:gdLst>
                <a:gd name="T0" fmla="*/ 58 w 58"/>
                <a:gd name="T1" fmla="*/ 0 h 21"/>
                <a:gd name="T2" fmla="*/ 0 w 58"/>
                <a:gd name="T3" fmla="*/ 17 h 21"/>
                <a:gd name="T4" fmla="*/ 0 w 58"/>
                <a:gd name="T5" fmla="*/ 17 h 21"/>
                <a:gd name="T6" fmla="*/ 0 w 58"/>
                <a:gd name="T7" fmla="*/ 17 h 21"/>
                <a:gd name="T8" fmla="*/ 0 w 58"/>
                <a:gd name="T9" fmla="*/ 20 h 21"/>
                <a:gd name="T10" fmla="*/ 14 w 58"/>
                <a:gd name="T11" fmla="*/ 21 h 21"/>
                <a:gd name="T12" fmla="*/ 52 w 58"/>
                <a:gd name="T13" fmla="*/ 16 h 21"/>
                <a:gd name="T14" fmla="*/ 58 w 58"/>
                <a:gd name="T15" fmla="*/ 13 h 21"/>
                <a:gd name="T16" fmla="*/ 58 w 58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1">
                  <a:moveTo>
                    <a:pt x="58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1"/>
                    <a:pt x="9" y="21"/>
                    <a:pt x="14" y="21"/>
                  </a:cubicBezTo>
                  <a:cubicBezTo>
                    <a:pt x="27" y="21"/>
                    <a:pt x="39" y="19"/>
                    <a:pt x="52" y="16"/>
                  </a:cubicBezTo>
                  <a:cubicBezTo>
                    <a:pt x="54" y="15"/>
                    <a:pt x="56" y="14"/>
                    <a:pt x="58" y="13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418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0" name="Freeform 238">
              <a:extLst>
                <a:ext uri="{FF2B5EF4-FFF2-40B4-BE49-F238E27FC236}">
                  <a16:creationId xmlns:a16="http://schemas.microsoft.com/office/drawing/2014/main" id="{AA35ECF1-1131-466D-A225-17DAE2E590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9797" y="3061095"/>
              <a:ext cx="181201" cy="148954"/>
            </a:xfrm>
            <a:custGeom>
              <a:avLst/>
              <a:gdLst>
                <a:gd name="T0" fmla="*/ 12 w 63"/>
                <a:gd name="T1" fmla="*/ 5 h 52"/>
                <a:gd name="T2" fmla="*/ 63 w 63"/>
                <a:gd name="T3" fmla="*/ 52 h 52"/>
                <a:gd name="T4" fmla="*/ 12 w 63"/>
                <a:gd name="T5" fmla="*/ 5 h 52"/>
                <a:gd name="T6" fmla="*/ 0 w 63"/>
                <a:gd name="T7" fmla="*/ 0 h 52"/>
                <a:gd name="T8" fmla="*/ 0 w 63"/>
                <a:gd name="T9" fmla="*/ 0 h 52"/>
                <a:gd name="T10" fmla="*/ 12 w 63"/>
                <a:gd name="T11" fmla="*/ 5 h 52"/>
                <a:gd name="T12" fmla="*/ 0 w 63"/>
                <a:gd name="T13" fmla="*/ 0 h 52"/>
                <a:gd name="T14" fmla="*/ 0 w 63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2">
                  <a:moveTo>
                    <a:pt x="12" y="5"/>
                  </a:moveTo>
                  <a:cubicBezTo>
                    <a:pt x="40" y="19"/>
                    <a:pt x="63" y="52"/>
                    <a:pt x="63" y="52"/>
                  </a:cubicBezTo>
                  <a:cubicBezTo>
                    <a:pt x="54" y="27"/>
                    <a:pt x="28" y="12"/>
                    <a:pt x="12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" y="1"/>
                    <a:pt x="12" y="5"/>
                  </a:cubicBezTo>
                  <a:cubicBezTo>
                    <a:pt x="8" y="3"/>
                    <a:pt x="4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3" name="Freeform 239">
              <a:extLst>
                <a:ext uri="{FF2B5EF4-FFF2-40B4-BE49-F238E27FC236}">
                  <a16:creationId xmlns:a16="http://schemas.microsoft.com/office/drawing/2014/main" id="{970338D4-20C7-4E5A-86FD-D2E794305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9797" y="3038062"/>
              <a:ext cx="161239" cy="23034"/>
            </a:xfrm>
            <a:custGeom>
              <a:avLst/>
              <a:gdLst>
                <a:gd name="T0" fmla="*/ 29 w 56"/>
                <a:gd name="T1" fmla="*/ 0 h 8"/>
                <a:gd name="T2" fmla="*/ 0 w 56"/>
                <a:gd name="T3" fmla="*/ 8 h 8"/>
                <a:gd name="T4" fmla="*/ 0 w 56"/>
                <a:gd name="T5" fmla="*/ 8 h 8"/>
                <a:gd name="T6" fmla="*/ 0 w 56"/>
                <a:gd name="T7" fmla="*/ 8 h 8"/>
                <a:gd name="T8" fmla="*/ 22 w 56"/>
                <a:gd name="T9" fmla="*/ 5 h 8"/>
                <a:gd name="T10" fmla="*/ 56 w 56"/>
                <a:gd name="T11" fmla="*/ 8 h 8"/>
                <a:gd name="T12" fmla="*/ 29 w 5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8">
                  <a:moveTo>
                    <a:pt x="29" y="0"/>
                  </a:moveTo>
                  <a:cubicBezTo>
                    <a:pt x="12" y="0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6" y="6"/>
                    <a:pt x="14" y="5"/>
                    <a:pt x="22" y="5"/>
                  </a:cubicBezTo>
                  <a:cubicBezTo>
                    <a:pt x="39" y="5"/>
                    <a:pt x="56" y="8"/>
                    <a:pt x="56" y="8"/>
                  </a:cubicBezTo>
                  <a:cubicBezTo>
                    <a:pt x="46" y="2"/>
                    <a:pt x="37" y="0"/>
                    <a:pt x="29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4" name="Freeform 240">
              <a:extLst>
                <a:ext uri="{FF2B5EF4-FFF2-40B4-BE49-F238E27FC236}">
                  <a16:creationId xmlns:a16="http://schemas.microsoft.com/office/drawing/2014/main" id="{BCAB3CDD-FD3D-4780-AB90-F88DD48FE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698" y="2601951"/>
              <a:ext cx="78317" cy="79852"/>
            </a:xfrm>
            <a:custGeom>
              <a:avLst/>
              <a:gdLst>
                <a:gd name="T0" fmla="*/ 20 w 27"/>
                <a:gd name="T1" fmla="*/ 0 h 28"/>
                <a:gd name="T2" fmla="*/ 19 w 27"/>
                <a:gd name="T3" fmla="*/ 2 h 28"/>
                <a:gd name="T4" fmla="*/ 0 w 27"/>
                <a:gd name="T5" fmla="*/ 20 h 28"/>
                <a:gd name="T6" fmla="*/ 2 w 27"/>
                <a:gd name="T7" fmla="*/ 28 h 28"/>
                <a:gd name="T8" fmla="*/ 27 w 27"/>
                <a:gd name="T9" fmla="*/ 3 h 28"/>
                <a:gd name="T10" fmla="*/ 27 w 27"/>
                <a:gd name="T11" fmla="*/ 3 h 28"/>
                <a:gd name="T12" fmla="*/ 20 w 27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20" y="0"/>
                  </a:moveTo>
                  <a:cubicBezTo>
                    <a:pt x="19" y="2"/>
                    <a:pt x="19" y="2"/>
                    <a:pt x="19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2" y="25"/>
                    <a:pt x="2" y="28"/>
                  </a:cubicBezTo>
                  <a:cubicBezTo>
                    <a:pt x="16" y="1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B2A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05" name="Freeform 241">
              <a:extLst>
                <a:ext uri="{FF2B5EF4-FFF2-40B4-BE49-F238E27FC236}">
                  <a16:creationId xmlns:a16="http://schemas.microsoft.com/office/drawing/2014/main" id="{D8CB1490-1AD7-414B-901C-71D109EB35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31437" y="4091486"/>
              <a:ext cx="451468" cy="445325"/>
            </a:xfrm>
            <a:custGeom>
              <a:avLst/>
              <a:gdLst>
                <a:gd name="T0" fmla="*/ 13 w 157"/>
                <a:gd name="T1" fmla="*/ 16 h 155"/>
                <a:gd name="T2" fmla="*/ 138 w 157"/>
                <a:gd name="T3" fmla="*/ 149 h 155"/>
                <a:gd name="T4" fmla="*/ 149 w 157"/>
                <a:gd name="T5" fmla="*/ 155 h 155"/>
                <a:gd name="T6" fmla="*/ 13 w 157"/>
                <a:gd name="T7" fmla="*/ 16 h 155"/>
                <a:gd name="T8" fmla="*/ 1 w 157"/>
                <a:gd name="T9" fmla="*/ 0 h 155"/>
                <a:gd name="T10" fmla="*/ 0 w 157"/>
                <a:gd name="T11" fmla="*/ 1 h 155"/>
                <a:gd name="T12" fmla="*/ 13 w 157"/>
                <a:gd name="T13" fmla="*/ 16 h 155"/>
                <a:gd name="T14" fmla="*/ 1 w 15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55">
                  <a:moveTo>
                    <a:pt x="13" y="16"/>
                  </a:moveTo>
                  <a:cubicBezTo>
                    <a:pt x="47" y="61"/>
                    <a:pt x="99" y="124"/>
                    <a:pt x="138" y="149"/>
                  </a:cubicBezTo>
                  <a:cubicBezTo>
                    <a:pt x="144" y="153"/>
                    <a:pt x="148" y="155"/>
                    <a:pt x="149" y="155"/>
                  </a:cubicBezTo>
                  <a:cubicBezTo>
                    <a:pt x="157" y="155"/>
                    <a:pt x="66" y="76"/>
                    <a:pt x="13" y="16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6"/>
                    <a:pt x="8" y="11"/>
                    <a:pt x="13" y="16"/>
                  </a:cubicBezTo>
                  <a:cubicBezTo>
                    <a:pt x="8" y="11"/>
                    <a:pt x="4" y="5"/>
                    <a:pt x="1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83353" y="4331169"/>
            <a:ext cx="5428713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0188" y="1773940"/>
            <a:ext cx="5428713" cy="2211669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84372" y="5528829"/>
            <a:ext cx="5428715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90185" y="5837833"/>
            <a:ext cx="5428715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43" name="任意多边形: 形状 242">
            <a:extLst>
              <a:ext uri="{FF2B5EF4-FFF2-40B4-BE49-F238E27FC236}">
                <a16:creationId xmlns:a16="http://schemas.microsoft.com/office/drawing/2014/main" id="{41EB48FC-DB87-4808-B14B-00A20F9C5A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8685 w 12192000"/>
              <a:gd name="connsiteY0" fmla="*/ 174172 h 6858000"/>
              <a:gd name="connsiteX1" fmla="*/ 188685 w 12192000"/>
              <a:gd name="connsiteY1" fmla="*/ 6676572 h 6858000"/>
              <a:gd name="connsiteX2" fmla="*/ 11998410 w 12192000"/>
              <a:gd name="connsiteY2" fmla="*/ 6676572 h 6858000"/>
              <a:gd name="connsiteX3" fmla="*/ 11998410 w 12192000"/>
              <a:gd name="connsiteY3" fmla="*/ 17417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88685" y="174172"/>
                </a:moveTo>
                <a:lnTo>
                  <a:pt x="188685" y="6676572"/>
                </a:lnTo>
                <a:lnTo>
                  <a:pt x="11998410" y="6676572"/>
                </a:lnTo>
                <a:lnTo>
                  <a:pt x="11998410" y="1741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等腰三角形 1">
            <a:extLst>
              <a:ext uri="{FF2B5EF4-FFF2-40B4-BE49-F238E27FC236}">
                <a16:creationId xmlns:a16="http://schemas.microsoft.com/office/drawing/2014/main" id="{DE37A085-9269-4E11-B7AD-08FE2BE55F5A}"/>
              </a:ext>
            </a:extLst>
          </p:cNvPr>
          <p:cNvSpPr/>
          <p:nvPr userDrawn="1"/>
        </p:nvSpPr>
        <p:spPr>
          <a:xfrm rot="5400000">
            <a:off x="597257" y="-360897"/>
            <a:ext cx="2234956" cy="3211630"/>
          </a:xfrm>
          <a:custGeom>
            <a:avLst/>
            <a:gdLst>
              <a:gd name="connsiteX0" fmla="*/ 0 w 1931940"/>
              <a:gd name="connsiteY0" fmla="*/ 1472540 h 1472540"/>
              <a:gd name="connsiteX1" fmla="*/ 965970 w 1931940"/>
              <a:gd name="connsiteY1" fmla="*/ 0 h 1472540"/>
              <a:gd name="connsiteX2" fmla="*/ 1931940 w 1931940"/>
              <a:gd name="connsiteY2" fmla="*/ 1472540 h 1472540"/>
              <a:gd name="connsiteX3" fmla="*/ 0 w 1931940"/>
              <a:gd name="connsiteY3" fmla="*/ 1472540 h 1472540"/>
              <a:gd name="connsiteX0" fmla="*/ 11930 w 1943870"/>
              <a:gd name="connsiteY0" fmla="*/ 2793340 h 2793340"/>
              <a:gd name="connsiteX1" fmla="*/ 0 w 1943870"/>
              <a:gd name="connsiteY1" fmla="*/ 0 h 2793340"/>
              <a:gd name="connsiteX2" fmla="*/ 1943870 w 1943870"/>
              <a:gd name="connsiteY2" fmla="*/ 2793340 h 2793340"/>
              <a:gd name="connsiteX3" fmla="*/ 11930 w 1943870"/>
              <a:gd name="connsiteY3" fmla="*/ 2793340 h 279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3870" h="2793340">
                <a:moveTo>
                  <a:pt x="11930" y="2793340"/>
                </a:moveTo>
                <a:cubicBezTo>
                  <a:pt x="7953" y="1862227"/>
                  <a:pt x="3977" y="931113"/>
                  <a:pt x="0" y="0"/>
                </a:cubicBezTo>
                <a:lnTo>
                  <a:pt x="1943870" y="2793340"/>
                </a:lnTo>
                <a:lnTo>
                  <a:pt x="11930" y="279334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形 4">
            <a:extLst>
              <a:ext uri="{FF2B5EF4-FFF2-40B4-BE49-F238E27FC236}">
                <a16:creationId xmlns:a16="http://schemas.microsoft.com/office/drawing/2014/main" id="{7F9F6235-F02D-C844-2C0D-F37F03070E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1558" y="1089379"/>
            <a:ext cx="5763431" cy="695383"/>
          </a:xfrm>
          <a:prstGeom prst="rect">
            <a:avLst/>
          </a:prstGeom>
        </p:spPr>
      </p:pic>
      <p:pic>
        <p:nvPicPr>
          <p:cNvPr id="11" name="图形 10">
            <a:extLst>
              <a:ext uri="{FF2B5EF4-FFF2-40B4-BE49-F238E27FC236}">
                <a16:creationId xmlns:a16="http://schemas.microsoft.com/office/drawing/2014/main" id="{4F5AF3D3-7050-227A-3B21-D9905AA51C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0463" y="431772"/>
            <a:ext cx="1699648" cy="38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10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3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7" name="图形 6">
            <a:extLst>
              <a:ext uri="{FF2B5EF4-FFF2-40B4-BE49-F238E27FC236}">
                <a16:creationId xmlns:a16="http://schemas.microsoft.com/office/drawing/2014/main" id="{7A1CDCC8-626B-C823-0860-EEA2717CD5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9785" y="646709"/>
            <a:ext cx="214091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F67A031C-0D0D-4B00-97AD-4D029487F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4"/>
            <a:ext cx="12192000" cy="685799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8824" y="3469017"/>
            <a:ext cx="5419185" cy="895350"/>
          </a:xfrm>
        </p:spPr>
        <p:txBody>
          <a:bodyPr anchor="b">
            <a:normAutofit/>
          </a:bodyPr>
          <a:lstStyle>
            <a:lvl1pPr algn="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9939" y="4364371"/>
            <a:ext cx="5419185" cy="1015623"/>
          </a:xfrm>
        </p:spPr>
        <p:txBody>
          <a:bodyPr anchor="t">
            <a:normAutofit/>
          </a:bodyPr>
          <a:lstStyle>
            <a:lvl1pPr marL="0" indent="0" algn="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54B3F26-0D5C-4AE3-9393-423FDD785BBA}"/>
              </a:ext>
            </a:extLst>
          </p:cNvPr>
          <p:cNvGrpSpPr/>
          <p:nvPr userDrawn="1"/>
        </p:nvGrpSpPr>
        <p:grpSpPr>
          <a:xfrm>
            <a:off x="6936811" y="956901"/>
            <a:ext cx="5255751" cy="5901098"/>
            <a:chOff x="673099" y="478451"/>
            <a:chExt cx="5255751" cy="5901098"/>
          </a:xfrm>
        </p:grpSpPr>
        <p:sp>
          <p:nvSpPr>
            <p:cNvPr id="6" name="Rectangle 6">
              <a:extLst>
                <a:ext uri="{FF2B5EF4-FFF2-40B4-BE49-F238E27FC236}">
                  <a16:creationId xmlns:a16="http://schemas.microsoft.com/office/drawing/2014/main" id="{002A6EFF-8B69-417F-8DEE-BBD00800BE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73099" y="478451"/>
              <a:ext cx="5255751" cy="590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40CAAECA-B77F-4335-BAE1-9FE8E2964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0651" y="2809631"/>
              <a:ext cx="1367261" cy="1788377"/>
            </a:xfrm>
            <a:custGeom>
              <a:avLst/>
              <a:gdLst>
                <a:gd name="T0" fmla="*/ 534 w 534"/>
                <a:gd name="T1" fmla="*/ 52 h 699"/>
                <a:gd name="T2" fmla="*/ 350 w 534"/>
                <a:gd name="T3" fmla="*/ 0 h 699"/>
                <a:gd name="T4" fmla="*/ 0 w 534"/>
                <a:gd name="T5" fmla="*/ 349 h 699"/>
                <a:gd name="T6" fmla="*/ 350 w 534"/>
                <a:gd name="T7" fmla="*/ 699 h 699"/>
                <a:gd name="T8" fmla="*/ 534 w 534"/>
                <a:gd name="T9" fmla="*/ 646 h 699"/>
                <a:gd name="T10" fmla="*/ 534 w 534"/>
                <a:gd name="T11" fmla="*/ 52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4" h="699">
                  <a:moveTo>
                    <a:pt x="534" y="52"/>
                  </a:moveTo>
                  <a:cubicBezTo>
                    <a:pt x="480" y="19"/>
                    <a:pt x="417" y="0"/>
                    <a:pt x="350" y="0"/>
                  </a:cubicBezTo>
                  <a:cubicBezTo>
                    <a:pt x="157" y="0"/>
                    <a:pt x="0" y="156"/>
                    <a:pt x="0" y="349"/>
                  </a:cubicBezTo>
                  <a:cubicBezTo>
                    <a:pt x="0" y="542"/>
                    <a:pt x="157" y="699"/>
                    <a:pt x="350" y="699"/>
                  </a:cubicBezTo>
                  <a:cubicBezTo>
                    <a:pt x="417" y="699"/>
                    <a:pt x="480" y="679"/>
                    <a:pt x="534" y="646"/>
                  </a:cubicBezTo>
                  <a:lnTo>
                    <a:pt x="534" y="52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33165034-7D1A-4225-83F6-5ECB129602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32535" y="3232114"/>
              <a:ext cx="9571" cy="2112419"/>
            </a:xfrm>
            <a:prstGeom prst="rect">
              <a:avLst/>
            </a:pr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80DD3828-17D9-40C0-A1A1-79526ED7A4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2535" y="3232114"/>
              <a:ext cx="9571" cy="2112419"/>
            </a:xfrm>
            <a:custGeom>
              <a:avLst/>
              <a:gdLst>
                <a:gd name="T0" fmla="*/ 7 w 7"/>
                <a:gd name="T1" fmla="*/ 1545 h 1545"/>
                <a:gd name="T2" fmla="*/ 7 w 7"/>
                <a:gd name="T3" fmla="*/ 0 h 1545"/>
                <a:gd name="T4" fmla="*/ 0 w 7"/>
                <a:gd name="T5" fmla="*/ 0 h 1545"/>
                <a:gd name="T6" fmla="*/ 0 w 7"/>
                <a:gd name="T7" fmla="*/ 1545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45">
                  <a:moveTo>
                    <a:pt x="7" y="1545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15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8F917D79-7E28-45DB-8229-A60476E2A5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2307" y="3807732"/>
              <a:ext cx="607064" cy="608432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  <a:gd name="T8" fmla="*/ 444 w 444"/>
                <a:gd name="T9" fmla="*/ 43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  <a:lnTo>
                    <a:pt x="444" y="43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80E75204-6E1F-4A59-B0E5-A3BCF5A45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2307" y="3807732"/>
              <a:ext cx="607064" cy="608432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A1977C56-A404-42EC-BBFD-2B32A000F8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3902" y="3787222"/>
              <a:ext cx="257045" cy="258413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  <a:gd name="T8" fmla="*/ 4 w 188"/>
                <a:gd name="T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  <a:lnTo>
                    <a:pt x="4" y="18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3F4A510E-98D9-4C7C-BC0B-8BF3EDCBC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3902" y="3787222"/>
              <a:ext cx="257045" cy="258413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ADB15EF1-8A2E-4B12-B153-B420839501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2105" y="3144610"/>
              <a:ext cx="299431" cy="299431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  <a:gd name="T8" fmla="*/ 6 w 219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  <a:lnTo>
                    <a:pt x="6" y="21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07829CC8-8EAD-4215-804F-3351EED8D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2105" y="3144610"/>
              <a:ext cx="299431" cy="299431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D93445E9-1EA0-4979-A7D4-A43AB0E777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99" y="5113465"/>
              <a:ext cx="1103380" cy="287125"/>
            </a:xfrm>
            <a:custGeom>
              <a:avLst/>
              <a:gdLst>
                <a:gd name="T0" fmla="*/ 0 w 431"/>
                <a:gd name="T1" fmla="*/ 112 h 112"/>
                <a:gd name="T2" fmla="*/ 431 w 431"/>
                <a:gd name="T3" fmla="*/ 112 h 112"/>
                <a:gd name="T4" fmla="*/ 336 w 431"/>
                <a:gd name="T5" fmla="*/ 17 h 112"/>
                <a:gd name="T6" fmla="*/ 303 w 431"/>
                <a:gd name="T7" fmla="*/ 17 h 112"/>
                <a:gd name="T8" fmla="*/ 275 w 431"/>
                <a:gd name="T9" fmla="*/ 44 h 112"/>
                <a:gd name="T10" fmla="*/ 242 w 431"/>
                <a:gd name="T11" fmla="*/ 44 h 112"/>
                <a:gd name="T12" fmla="*/ 207 w 431"/>
                <a:gd name="T13" fmla="*/ 9 h 112"/>
                <a:gd name="T14" fmla="*/ 173 w 431"/>
                <a:gd name="T15" fmla="*/ 9 h 112"/>
                <a:gd name="T16" fmla="*/ 124 w 431"/>
                <a:gd name="T17" fmla="*/ 58 h 112"/>
                <a:gd name="T18" fmla="*/ 90 w 431"/>
                <a:gd name="T19" fmla="*/ 58 h 112"/>
                <a:gd name="T20" fmla="*/ 57 w 431"/>
                <a:gd name="T21" fmla="*/ 58 h 112"/>
                <a:gd name="T22" fmla="*/ 0 w 431"/>
                <a:gd name="T2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1" h="112">
                  <a:moveTo>
                    <a:pt x="0" y="112"/>
                  </a:moveTo>
                  <a:cubicBezTo>
                    <a:pt x="431" y="112"/>
                    <a:pt x="431" y="112"/>
                    <a:pt x="431" y="112"/>
                  </a:cubicBezTo>
                  <a:cubicBezTo>
                    <a:pt x="336" y="17"/>
                    <a:pt x="336" y="17"/>
                    <a:pt x="336" y="17"/>
                  </a:cubicBezTo>
                  <a:cubicBezTo>
                    <a:pt x="327" y="8"/>
                    <a:pt x="312" y="8"/>
                    <a:pt x="303" y="17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66" y="54"/>
                    <a:pt x="251" y="54"/>
                    <a:pt x="242" y="44"/>
                  </a:cubicBezTo>
                  <a:cubicBezTo>
                    <a:pt x="207" y="9"/>
                    <a:pt x="207" y="9"/>
                    <a:pt x="207" y="9"/>
                  </a:cubicBezTo>
                  <a:cubicBezTo>
                    <a:pt x="197" y="0"/>
                    <a:pt x="182" y="0"/>
                    <a:pt x="173" y="9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15" y="68"/>
                    <a:pt x="100" y="68"/>
                    <a:pt x="90" y="58"/>
                  </a:cubicBezTo>
                  <a:cubicBezTo>
                    <a:pt x="81" y="49"/>
                    <a:pt x="66" y="49"/>
                    <a:pt x="57" y="58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0D17D49-9DE6-4840-855F-CF7F1887DE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143" y="5071081"/>
              <a:ext cx="1387770" cy="373263"/>
            </a:xfrm>
            <a:custGeom>
              <a:avLst/>
              <a:gdLst>
                <a:gd name="T0" fmla="*/ 542 w 542"/>
                <a:gd name="T1" fmla="*/ 146 h 146"/>
                <a:gd name="T2" fmla="*/ 0 w 542"/>
                <a:gd name="T3" fmla="*/ 146 h 146"/>
                <a:gd name="T4" fmla="*/ 59 w 542"/>
                <a:gd name="T5" fmla="*/ 36 h 146"/>
                <a:gd name="T6" fmla="*/ 149 w 542"/>
                <a:gd name="T7" fmla="*/ 33 h 146"/>
                <a:gd name="T8" fmla="*/ 166 w 542"/>
                <a:gd name="T9" fmla="*/ 60 h 146"/>
                <a:gd name="T10" fmla="*/ 241 w 542"/>
                <a:gd name="T11" fmla="*/ 74 h 146"/>
                <a:gd name="T12" fmla="*/ 302 w 542"/>
                <a:gd name="T13" fmla="*/ 74 h 146"/>
                <a:gd name="T14" fmla="*/ 345 w 542"/>
                <a:gd name="T15" fmla="*/ 104 h 146"/>
                <a:gd name="T16" fmla="*/ 396 w 542"/>
                <a:gd name="T17" fmla="*/ 110 h 146"/>
                <a:gd name="T18" fmla="*/ 410 w 542"/>
                <a:gd name="T19" fmla="*/ 103 h 146"/>
                <a:gd name="T20" fmla="*/ 453 w 542"/>
                <a:gd name="T21" fmla="*/ 104 h 146"/>
                <a:gd name="T22" fmla="*/ 542 w 542"/>
                <a:gd name="T2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146">
                  <a:moveTo>
                    <a:pt x="542" y="146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78" y="1"/>
                    <a:pt x="128" y="0"/>
                    <a:pt x="149" y="33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82" y="86"/>
                    <a:pt x="216" y="92"/>
                    <a:pt x="241" y="74"/>
                  </a:cubicBezTo>
                  <a:cubicBezTo>
                    <a:pt x="259" y="61"/>
                    <a:pt x="283" y="61"/>
                    <a:pt x="302" y="74"/>
                  </a:cubicBezTo>
                  <a:cubicBezTo>
                    <a:pt x="345" y="104"/>
                    <a:pt x="345" y="104"/>
                    <a:pt x="345" y="104"/>
                  </a:cubicBezTo>
                  <a:cubicBezTo>
                    <a:pt x="360" y="115"/>
                    <a:pt x="379" y="117"/>
                    <a:pt x="396" y="110"/>
                  </a:cubicBezTo>
                  <a:cubicBezTo>
                    <a:pt x="410" y="103"/>
                    <a:pt x="410" y="103"/>
                    <a:pt x="410" y="103"/>
                  </a:cubicBezTo>
                  <a:cubicBezTo>
                    <a:pt x="424" y="97"/>
                    <a:pt x="439" y="98"/>
                    <a:pt x="453" y="104"/>
                  </a:cubicBezTo>
                  <a:lnTo>
                    <a:pt x="542" y="146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9219F8BE-8F84-4077-9F6F-5068718EF9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99" y="5550989"/>
              <a:ext cx="1472540" cy="823091"/>
            </a:xfrm>
            <a:custGeom>
              <a:avLst/>
              <a:gdLst>
                <a:gd name="T0" fmla="*/ 832 w 1077"/>
                <a:gd name="T1" fmla="*/ 0 h 602"/>
                <a:gd name="T2" fmla="*/ 0 w 1077"/>
                <a:gd name="T3" fmla="*/ 550 h 602"/>
                <a:gd name="T4" fmla="*/ 0 w 1077"/>
                <a:gd name="T5" fmla="*/ 602 h 602"/>
                <a:gd name="T6" fmla="*/ 223 w 1077"/>
                <a:gd name="T7" fmla="*/ 602 h 602"/>
                <a:gd name="T8" fmla="*/ 1077 w 1077"/>
                <a:gd name="T9" fmla="*/ 19 h 602"/>
                <a:gd name="T10" fmla="*/ 832 w 1077"/>
                <a:gd name="T1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7" h="602">
                  <a:moveTo>
                    <a:pt x="832" y="0"/>
                  </a:moveTo>
                  <a:lnTo>
                    <a:pt x="0" y="550"/>
                  </a:lnTo>
                  <a:lnTo>
                    <a:pt x="0" y="602"/>
                  </a:lnTo>
                  <a:lnTo>
                    <a:pt x="223" y="602"/>
                  </a:lnTo>
                  <a:lnTo>
                    <a:pt x="1077" y="19"/>
                  </a:lnTo>
                  <a:lnTo>
                    <a:pt x="83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339162D0-0DDE-4A3D-B7A3-14C353FFCC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0721" y="5533215"/>
              <a:ext cx="1203190" cy="840866"/>
            </a:xfrm>
            <a:custGeom>
              <a:avLst/>
              <a:gdLst>
                <a:gd name="T0" fmla="*/ 653 w 880"/>
                <a:gd name="T1" fmla="*/ 0 h 615"/>
                <a:gd name="T2" fmla="*/ 0 w 880"/>
                <a:gd name="T3" fmla="*/ 615 h 615"/>
                <a:gd name="T4" fmla="*/ 372 w 880"/>
                <a:gd name="T5" fmla="*/ 615 h 615"/>
                <a:gd name="T6" fmla="*/ 880 w 880"/>
                <a:gd name="T7" fmla="*/ 13 h 615"/>
                <a:gd name="T8" fmla="*/ 653 w 880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0" h="615">
                  <a:moveTo>
                    <a:pt x="653" y="0"/>
                  </a:moveTo>
                  <a:lnTo>
                    <a:pt x="0" y="615"/>
                  </a:lnTo>
                  <a:lnTo>
                    <a:pt x="372" y="615"/>
                  </a:lnTo>
                  <a:lnTo>
                    <a:pt x="880" y="13"/>
                  </a:lnTo>
                  <a:lnTo>
                    <a:pt x="653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4143E463-6D11-4B16-9669-9D3DBFFEE1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216" y="5556458"/>
              <a:ext cx="392404" cy="817622"/>
            </a:xfrm>
            <a:custGeom>
              <a:avLst/>
              <a:gdLst>
                <a:gd name="T0" fmla="*/ 272 w 287"/>
                <a:gd name="T1" fmla="*/ 0 h 598"/>
                <a:gd name="T2" fmla="*/ 287 w 287"/>
                <a:gd name="T3" fmla="*/ 598 h 598"/>
                <a:gd name="T4" fmla="*/ 0 w 287"/>
                <a:gd name="T5" fmla="*/ 598 h 598"/>
                <a:gd name="T6" fmla="*/ 28 w 287"/>
                <a:gd name="T7" fmla="*/ 108 h 598"/>
                <a:gd name="T8" fmla="*/ 272 w 287"/>
                <a:gd name="T9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598">
                  <a:moveTo>
                    <a:pt x="272" y="0"/>
                  </a:moveTo>
                  <a:lnTo>
                    <a:pt x="287" y="598"/>
                  </a:lnTo>
                  <a:lnTo>
                    <a:pt x="0" y="598"/>
                  </a:lnTo>
                  <a:lnTo>
                    <a:pt x="28" y="108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7CBC7D39-03A2-4ADC-8275-869AD1E24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7461" y="5509971"/>
              <a:ext cx="467603" cy="864109"/>
            </a:xfrm>
            <a:custGeom>
              <a:avLst/>
              <a:gdLst>
                <a:gd name="T0" fmla="*/ 0 w 342"/>
                <a:gd name="T1" fmla="*/ 0 h 632"/>
                <a:gd name="T2" fmla="*/ 35 w 342"/>
                <a:gd name="T3" fmla="*/ 632 h 632"/>
                <a:gd name="T4" fmla="*/ 342 w 342"/>
                <a:gd name="T5" fmla="*/ 632 h 632"/>
                <a:gd name="T6" fmla="*/ 204 w 342"/>
                <a:gd name="T7" fmla="*/ 131 h 632"/>
                <a:gd name="T8" fmla="*/ 0 w 342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632">
                  <a:moveTo>
                    <a:pt x="0" y="0"/>
                  </a:moveTo>
                  <a:lnTo>
                    <a:pt x="35" y="632"/>
                  </a:lnTo>
                  <a:lnTo>
                    <a:pt x="342" y="632"/>
                  </a:lnTo>
                  <a:lnTo>
                    <a:pt x="204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C6FDD4EF-793C-4AB7-BB97-C34AF0413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2949" y="5512706"/>
              <a:ext cx="553741" cy="861374"/>
            </a:xfrm>
            <a:custGeom>
              <a:avLst/>
              <a:gdLst>
                <a:gd name="T0" fmla="*/ 0 w 405"/>
                <a:gd name="T1" fmla="*/ 109 h 630"/>
                <a:gd name="T2" fmla="*/ 167 w 405"/>
                <a:gd name="T3" fmla="*/ 630 h 630"/>
                <a:gd name="T4" fmla="*/ 405 w 405"/>
                <a:gd name="T5" fmla="*/ 630 h 630"/>
                <a:gd name="T6" fmla="*/ 204 w 405"/>
                <a:gd name="T7" fmla="*/ 0 h 630"/>
                <a:gd name="T8" fmla="*/ 0 w 405"/>
                <a:gd name="T9" fmla="*/ 10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630">
                  <a:moveTo>
                    <a:pt x="0" y="109"/>
                  </a:moveTo>
                  <a:lnTo>
                    <a:pt x="167" y="630"/>
                  </a:lnTo>
                  <a:lnTo>
                    <a:pt x="405" y="630"/>
                  </a:lnTo>
                  <a:lnTo>
                    <a:pt x="204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4F4E6BFF-0F39-4078-A320-E35F7E05F8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809" y="5533215"/>
              <a:ext cx="978959" cy="840866"/>
            </a:xfrm>
            <a:custGeom>
              <a:avLst/>
              <a:gdLst>
                <a:gd name="T0" fmla="*/ 0 w 716"/>
                <a:gd name="T1" fmla="*/ 0 h 615"/>
                <a:gd name="T2" fmla="*/ 309 w 716"/>
                <a:gd name="T3" fmla="*/ 615 h 615"/>
                <a:gd name="T4" fmla="*/ 716 w 716"/>
                <a:gd name="T5" fmla="*/ 615 h 615"/>
                <a:gd name="T6" fmla="*/ 278 w 716"/>
                <a:gd name="T7" fmla="*/ 0 h 615"/>
                <a:gd name="T8" fmla="*/ 0 w 716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6" h="615">
                  <a:moveTo>
                    <a:pt x="0" y="0"/>
                  </a:moveTo>
                  <a:lnTo>
                    <a:pt x="309" y="615"/>
                  </a:lnTo>
                  <a:lnTo>
                    <a:pt x="716" y="615"/>
                  </a:lnTo>
                  <a:lnTo>
                    <a:pt x="2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EE4E3503-2C46-4E78-B37C-3372440BC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334" y="2380311"/>
              <a:ext cx="155868" cy="196886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  <a:gd name="T8" fmla="*/ 0 w 11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AB66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F2FD252D-8B98-4FFF-9568-D828072FD1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334" y="2380311"/>
              <a:ext cx="155868" cy="196886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75988379-93E9-4444-BA4D-C698C09A42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4852" y="1950991"/>
              <a:ext cx="750627" cy="820357"/>
            </a:xfrm>
            <a:custGeom>
              <a:avLst/>
              <a:gdLst>
                <a:gd name="T0" fmla="*/ 0 w 549"/>
                <a:gd name="T1" fmla="*/ 260 h 600"/>
                <a:gd name="T2" fmla="*/ 369 w 549"/>
                <a:gd name="T3" fmla="*/ 600 h 600"/>
                <a:gd name="T4" fmla="*/ 549 w 549"/>
                <a:gd name="T5" fmla="*/ 314 h 600"/>
                <a:gd name="T6" fmla="*/ 157 w 549"/>
                <a:gd name="T7" fmla="*/ 0 h 600"/>
                <a:gd name="T8" fmla="*/ 0 w 549"/>
                <a:gd name="T9" fmla="*/ 26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9" h="600">
                  <a:moveTo>
                    <a:pt x="0" y="260"/>
                  </a:moveTo>
                  <a:lnTo>
                    <a:pt x="369" y="600"/>
                  </a:lnTo>
                  <a:lnTo>
                    <a:pt x="549" y="314"/>
                  </a:lnTo>
                  <a:lnTo>
                    <a:pt x="157" y="0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8F9B7D17-4E55-4C1B-A00B-7B7959CE2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43018" y="2414492"/>
              <a:ext cx="604329" cy="553741"/>
            </a:xfrm>
            <a:custGeom>
              <a:avLst/>
              <a:gdLst>
                <a:gd name="T0" fmla="*/ 72 w 236"/>
                <a:gd name="T1" fmla="*/ 11 h 217"/>
                <a:gd name="T2" fmla="*/ 161 w 236"/>
                <a:gd name="T3" fmla="*/ 64 h 217"/>
                <a:gd name="T4" fmla="*/ 231 w 236"/>
                <a:gd name="T5" fmla="*/ 141 h 217"/>
                <a:gd name="T6" fmla="*/ 169 w 236"/>
                <a:gd name="T7" fmla="*/ 217 h 217"/>
                <a:gd name="T8" fmla="*/ 0 w 236"/>
                <a:gd name="T9" fmla="*/ 162 h 217"/>
                <a:gd name="T10" fmla="*/ 0 w 236"/>
                <a:gd name="T11" fmla="*/ 81 h 217"/>
                <a:gd name="T12" fmla="*/ 46 w 236"/>
                <a:gd name="T13" fmla="*/ 0 h 217"/>
                <a:gd name="T14" fmla="*/ 72 w 236"/>
                <a:gd name="T15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6" h="217">
                  <a:moveTo>
                    <a:pt x="72" y="11"/>
                  </a:moveTo>
                  <a:cubicBezTo>
                    <a:pt x="72" y="11"/>
                    <a:pt x="86" y="56"/>
                    <a:pt x="161" y="64"/>
                  </a:cubicBezTo>
                  <a:cubicBezTo>
                    <a:pt x="236" y="72"/>
                    <a:pt x="231" y="141"/>
                    <a:pt x="231" y="141"/>
                  </a:cubicBezTo>
                  <a:cubicBezTo>
                    <a:pt x="169" y="217"/>
                    <a:pt x="169" y="217"/>
                    <a:pt x="169" y="217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72" y="11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8548A50F-4C30-4576-A53B-44C71EACE3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795" y="5092957"/>
              <a:ext cx="140828" cy="337714"/>
            </a:xfrm>
            <a:custGeom>
              <a:avLst/>
              <a:gdLst>
                <a:gd name="T0" fmla="*/ 7 w 55"/>
                <a:gd name="T1" fmla="*/ 0 h 132"/>
                <a:gd name="T2" fmla="*/ 0 w 55"/>
                <a:gd name="T3" fmla="*/ 117 h 132"/>
                <a:gd name="T4" fmla="*/ 38 w 55"/>
                <a:gd name="T5" fmla="*/ 132 h 132"/>
                <a:gd name="T6" fmla="*/ 55 w 55"/>
                <a:gd name="T7" fmla="*/ 14 h 132"/>
                <a:gd name="T8" fmla="*/ 7 w 5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32">
                  <a:moveTo>
                    <a:pt x="7" y="0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1" y="131"/>
                    <a:pt x="38" y="132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A67950BF-FA2B-433E-B83D-5CC098435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81301" y="5057408"/>
              <a:ext cx="102545" cy="340448"/>
            </a:xfrm>
            <a:custGeom>
              <a:avLst/>
              <a:gdLst>
                <a:gd name="T0" fmla="*/ 0 w 40"/>
                <a:gd name="T1" fmla="*/ 14 h 133"/>
                <a:gd name="T2" fmla="*/ 8 w 40"/>
                <a:gd name="T3" fmla="*/ 121 h 133"/>
                <a:gd name="T4" fmla="*/ 40 w 40"/>
                <a:gd name="T5" fmla="*/ 112 h 133"/>
                <a:gd name="T6" fmla="*/ 36 w 40"/>
                <a:gd name="T7" fmla="*/ 0 h 133"/>
                <a:gd name="T8" fmla="*/ 0 w 40"/>
                <a:gd name="T9" fmla="*/ 1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3">
                  <a:moveTo>
                    <a:pt x="0" y="14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18" y="133"/>
                    <a:pt x="40" y="11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4FC7B347-A607-455C-9FD3-7E37306F98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795" y="5285740"/>
              <a:ext cx="114850" cy="144930"/>
            </a:xfrm>
            <a:custGeom>
              <a:avLst/>
              <a:gdLst>
                <a:gd name="T0" fmla="*/ 3 w 45"/>
                <a:gd name="T1" fmla="*/ 0 h 57"/>
                <a:gd name="T2" fmla="*/ 45 w 45"/>
                <a:gd name="T3" fmla="*/ 7 h 57"/>
                <a:gd name="T4" fmla="*/ 38 w 45"/>
                <a:gd name="T5" fmla="*/ 57 h 57"/>
                <a:gd name="T6" fmla="*/ 0 w 45"/>
                <a:gd name="T7" fmla="*/ 42 h 57"/>
                <a:gd name="T8" fmla="*/ 3 w 4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3" y="0"/>
                  </a:moveTo>
                  <a:cubicBezTo>
                    <a:pt x="3" y="0"/>
                    <a:pt x="29" y="9"/>
                    <a:pt x="45" y="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8" y="57"/>
                    <a:pt x="0" y="42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3" name="Freeform 31">
              <a:extLst>
                <a:ext uri="{FF2B5EF4-FFF2-40B4-BE49-F238E27FC236}">
                  <a16:creationId xmlns:a16="http://schemas.microsoft.com/office/drawing/2014/main" id="{81C85279-3FA3-4F44-9C82-DC9FCF313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4974" y="5216010"/>
              <a:ext cx="88872" cy="169540"/>
            </a:xfrm>
            <a:custGeom>
              <a:avLst/>
              <a:gdLst>
                <a:gd name="T0" fmla="*/ 0 w 35"/>
                <a:gd name="T1" fmla="*/ 15 h 66"/>
                <a:gd name="T2" fmla="*/ 33 w 35"/>
                <a:gd name="T3" fmla="*/ 0 h 66"/>
                <a:gd name="T4" fmla="*/ 35 w 35"/>
                <a:gd name="T5" fmla="*/ 50 h 66"/>
                <a:gd name="T6" fmla="*/ 3 w 35"/>
                <a:gd name="T7" fmla="*/ 59 h 66"/>
                <a:gd name="T8" fmla="*/ 0 w 35"/>
                <a:gd name="T9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6">
                  <a:moveTo>
                    <a:pt x="0" y="15"/>
                  </a:moveTo>
                  <a:cubicBezTo>
                    <a:pt x="0" y="15"/>
                    <a:pt x="19" y="13"/>
                    <a:pt x="33" y="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19" y="66"/>
                    <a:pt x="3" y="59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id="{4F7C2892-8D64-4E69-85DA-F7521B69AC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1992" y="2477386"/>
              <a:ext cx="2012608" cy="2770071"/>
            </a:xfrm>
            <a:custGeom>
              <a:avLst/>
              <a:gdLst>
                <a:gd name="T0" fmla="*/ 390 w 786"/>
                <a:gd name="T1" fmla="*/ 146 h 1083"/>
                <a:gd name="T2" fmla="*/ 521 w 786"/>
                <a:gd name="T3" fmla="*/ 192 h 1083"/>
                <a:gd name="T4" fmla="*/ 639 w 786"/>
                <a:gd name="T5" fmla="*/ 0 h 1083"/>
                <a:gd name="T6" fmla="*/ 786 w 786"/>
                <a:gd name="T7" fmla="*/ 213 h 1083"/>
                <a:gd name="T8" fmla="*/ 568 w 786"/>
                <a:gd name="T9" fmla="*/ 381 h 1083"/>
                <a:gd name="T10" fmla="*/ 424 w 786"/>
                <a:gd name="T11" fmla="*/ 345 h 1083"/>
                <a:gd name="T12" fmla="*/ 468 w 786"/>
                <a:gd name="T13" fmla="*/ 970 h 1083"/>
                <a:gd name="T14" fmla="*/ 193 w 786"/>
                <a:gd name="T15" fmla="*/ 1017 h 1083"/>
                <a:gd name="T16" fmla="*/ 68 w 786"/>
                <a:gd name="T17" fmla="*/ 941 h 1083"/>
                <a:gd name="T18" fmla="*/ 162 w 786"/>
                <a:gd name="T19" fmla="*/ 339 h 1083"/>
                <a:gd name="T20" fmla="*/ 0 w 786"/>
                <a:gd name="T21" fmla="*/ 540 h 1083"/>
                <a:gd name="T22" fmla="*/ 9 w 786"/>
                <a:gd name="T23" fmla="*/ 236 h 1083"/>
                <a:gd name="T24" fmla="*/ 162 w 786"/>
                <a:gd name="T25" fmla="*/ 141 h 1083"/>
                <a:gd name="T26" fmla="*/ 292 w 786"/>
                <a:gd name="T27" fmla="*/ 119 h 1083"/>
                <a:gd name="T28" fmla="*/ 390 w 786"/>
                <a:gd name="T29" fmla="*/ 146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083">
                  <a:moveTo>
                    <a:pt x="390" y="146"/>
                  </a:moveTo>
                  <a:cubicBezTo>
                    <a:pt x="521" y="192"/>
                    <a:pt x="521" y="192"/>
                    <a:pt x="521" y="192"/>
                  </a:cubicBezTo>
                  <a:cubicBezTo>
                    <a:pt x="639" y="0"/>
                    <a:pt x="639" y="0"/>
                    <a:pt x="639" y="0"/>
                  </a:cubicBezTo>
                  <a:cubicBezTo>
                    <a:pt x="786" y="213"/>
                    <a:pt x="786" y="213"/>
                    <a:pt x="786" y="213"/>
                  </a:cubicBezTo>
                  <a:cubicBezTo>
                    <a:pt x="786" y="213"/>
                    <a:pt x="699" y="404"/>
                    <a:pt x="568" y="381"/>
                  </a:cubicBezTo>
                  <a:cubicBezTo>
                    <a:pt x="437" y="357"/>
                    <a:pt x="424" y="345"/>
                    <a:pt x="424" y="345"/>
                  </a:cubicBezTo>
                  <a:cubicBezTo>
                    <a:pt x="468" y="970"/>
                    <a:pt x="468" y="970"/>
                    <a:pt x="468" y="970"/>
                  </a:cubicBezTo>
                  <a:cubicBezTo>
                    <a:pt x="468" y="970"/>
                    <a:pt x="327" y="1083"/>
                    <a:pt x="193" y="1017"/>
                  </a:cubicBezTo>
                  <a:cubicBezTo>
                    <a:pt x="60" y="952"/>
                    <a:pt x="68" y="941"/>
                    <a:pt x="68" y="941"/>
                  </a:cubicBezTo>
                  <a:cubicBezTo>
                    <a:pt x="162" y="339"/>
                    <a:pt x="162" y="339"/>
                    <a:pt x="162" y="339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6"/>
                    <a:pt x="81" y="171"/>
                    <a:pt x="162" y="141"/>
                  </a:cubicBezTo>
                  <a:cubicBezTo>
                    <a:pt x="243" y="110"/>
                    <a:pt x="267" y="118"/>
                    <a:pt x="292" y="119"/>
                  </a:cubicBezTo>
                  <a:cubicBezTo>
                    <a:pt x="316" y="120"/>
                    <a:pt x="390" y="146"/>
                    <a:pt x="390" y="146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id="{64DB08F7-4028-4FE1-8C9E-82F0BD29F5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7860" y="2368006"/>
              <a:ext cx="745158" cy="516825"/>
            </a:xfrm>
            <a:custGeom>
              <a:avLst/>
              <a:gdLst>
                <a:gd name="T0" fmla="*/ 205 w 291"/>
                <a:gd name="T1" fmla="*/ 18 h 202"/>
                <a:gd name="T2" fmla="*/ 119 w 291"/>
                <a:gd name="T3" fmla="*/ 41 h 202"/>
                <a:gd name="T4" fmla="*/ 68 w 291"/>
                <a:gd name="T5" fmla="*/ 202 h 202"/>
                <a:gd name="T6" fmla="*/ 211 w 291"/>
                <a:gd name="T7" fmla="*/ 163 h 202"/>
                <a:gd name="T8" fmla="*/ 272 w 291"/>
                <a:gd name="T9" fmla="*/ 167 h 202"/>
                <a:gd name="T10" fmla="*/ 287 w 291"/>
                <a:gd name="T11" fmla="*/ 69 h 202"/>
                <a:gd name="T12" fmla="*/ 238 w 291"/>
                <a:gd name="T13" fmla="*/ 0 h 202"/>
                <a:gd name="T14" fmla="*/ 212 w 291"/>
                <a:gd name="T15" fmla="*/ 7 h 202"/>
                <a:gd name="T16" fmla="*/ 205 w 291"/>
                <a:gd name="T17" fmla="*/ 1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02">
                  <a:moveTo>
                    <a:pt x="205" y="18"/>
                  </a:moveTo>
                  <a:cubicBezTo>
                    <a:pt x="205" y="18"/>
                    <a:pt x="166" y="36"/>
                    <a:pt x="119" y="41"/>
                  </a:cubicBezTo>
                  <a:cubicBezTo>
                    <a:pt x="72" y="46"/>
                    <a:pt x="0" y="100"/>
                    <a:pt x="68" y="202"/>
                  </a:cubicBezTo>
                  <a:cubicBezTo>
                    <a:pt x="68" y="202"/>
                    <a:pt x="132" y="156"/>
                    <a:pt x="211" y="163"/>
                  </a:cubicBezTo>
                  <a:cubicBezTo>
                    <a:pt x="291" y="171"/>
                    <a:pt x="272" y="167"/>
                    <a:pt x="272" y="167"/>
                  </a:cubicBezTo>
                  <a:cubicBezTo>
                    <a:pt x="287" y="69"/>
                    <a:pt x="287" y="69"/>
                    <a:pt x="287" y="69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05" y="18"/>
                    <a:pt x="205" y="18"/>
                    <a:pt x="205" y="18"/>
                  </a:cubicBezTo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id="{81A47310-F6D6-447A-950A-37DC4ED80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9884" y="2309214"/>
              <a:ext cx="284390" cy="334979"/>
            </a:xfrm>
            <a:custGeom>
              <a:avLst/>
              <a:gdLst>
                <a:gd name="T0" fmla="*/ 0 w 111"/>
                <a:gd name="T1" fmla="*/ 0 h 131"/>
                <a:gd name="T2" fmla="*/ 5 w 111"/>
                <a:gd name="T3" fmla="*/ 82 h 131"/>
                <a:gd name="T4" fmla="*/ 43 w 111"/>
                <a:gd name="T5" fmla="*/ 122 h 131"/>
                <a:gd name="T6" fmla="*/ 105 w 111"/>
                <a:gd name="T7" fmla="*/ 95 h 131"/>
                <a:gd name="T8" fmla="*/ 109 w 111"/>
                <a:gd name="T9" fmla="*/ 0 h 131"/>
                <a:gd name="T10" fmla="*/ 0 w 11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31">
                  <a:moveTo>
                    <a:pt x="0" y="0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113"/>
                    <a:pt x="43" y="122"/>
                  </a:cubicBezTo>
                  <a:cubicBezTo>
                    <a:pt x="80" y="131"/>
                    <a:pt x="99" y="114"/>
                    <a:pt x="105" y="95"/>
                  </a:cubicBezTo>
                  <a:cubicBezTo>
                    <a:pt x="111" y="76"/>
                    <a:pt x="109" y="0"/>
                    <a:pt x="10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id="{34018D96-851F-41B2-AC85-8D93641BB7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446" y="2414492"/>
              <a:ext cx="25978" cy="32814"/>
            </a:xfrm>
            <a:custGeom>
              <a:avLst/>
              <a:gdLst>
                <a:gd name="T0" fmla="*/ 5 w 10"/>
                <a:gd name="T1" fmla="*/ 0 h 13"/>
                <a:gd name="T2" fmla="*/ 0 w 10"/>
                <a:gd name="T3" fmla="*/ 11 h 13"/>
                <a:gd name="T4" fmla="*/ 8 w 10"/>
                <a:gd name="T5" fmla="*/ 9 h 13"/>
                <a:gd name="T6" fmla="*/ 5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5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6" y="13"/>
                    <a:pt x="8" y="9"/>
                  </a:cubicBezTo>
                  <a:cubicBezTo>
                    <a:pt x="10" y="5"/>
                    <a:pt x="6" y="1"/>
                    <a:pt x="5" y="0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id="{DB3E5B3F-F66C-43B0-A09A-23774E7A88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5243" y="2409023"/>
              <a:ext cx="34182" cy="35549"/>
            </a:xfrm>
            <a:custGeom>
              <a:avLst/>
              <a:gdLst>
                <a:gd name="T0" fmla="*/ 6 w 13"/>
                <a:gd name="T1" fmla="*/ 2 h 14"/>
                <a:gd name="T2" fmla="*/ 6 w 13"/>
                <a:gd name="T3" fmla="*/ 2 h 14"/>
                <a:gd name="T4" fmla="*/ 9 w 13"/>
                <a:gd name="T5" fmla="*/ 4 h 14"/>
                <a:gd name="T6" fmla="*/ 11 w 13"/>
                <a:gd name="T7" fmla="*/ 8 h 14"/>
                <a:gd name="T8" fmla="*/ 11 w 13"/>
                <a:gd name="T9" fmla="*/ 9 h 14"/>
                <a:gd name="T10" fmla="*/ 9 w 13"/>
                <a:gd name="T11" fmla="*/ 12 h 14"/>
                <a:gd name="T12" fmla="*/ 6 w 13"/>
                <a:gd name="T13" fmla="*/ 12 h 14"/>
                <a:gd name="T14" fmla="*/ 3 w 13"/>
                <a:gd name="T15" fmla="*/ 12 h 14"/>
                <a:gd name="T16" fmla="*/ 2 w 13"/>
                <a:gd name="T17" fmla="*/ 11 h 14"/>
                <a:gd name="T18" fmla="*/ 2 w 13"/>
                <a:gd name="T19" fmla="*/ 11 h 14"/>
                <a:gd name="T20" fmla="*/ 1 w 13"/>
                <a:gd name="T21" fmla="*/ 12 h 14"/>
                <a:gd name="T22" fmla="*/ 1 w 13"/>
                <a:gd name="T23" fmla="*/ 13 h 14"/>
                <a:gd name="T24" fmla="*/ 6 w 13"/>
                <a:gd name="T25" fmla="*/ 14 h 14"/>
                <a:gd name="T26" fmla="*/ 10 w 13"/>
                <a:gd name="T27" fmla="*/ 13 h 14"/>
                <a:gd name="T28" fmla="*/ 13 w 13"/>
                <a:gd name="T29" fmla="*/ 10 h 14"/>
                <a:gd name="T30" fmla="*/ 13 w 13"/>
                <a:gd name="T31" fmla="*/ 8 h 14"/>
                <a:gd name="T32" fmla="*/ 10 w 13"/>
                <a:gd name="T33" fmla="*/ 2 h 14"/>
                <a:gd name="T34" fmla="*/ 6 w 13"/>
                <a:gd name="T35" fmla="*/ 0 h 14"/>
                <a:gd name="T36" fmla="*/ 5 w 13"/>
                <a:gd name="T37" fmla="*/ 1 h 14"/>
                <a:gd name="T38" fmla="*/ 6 w 13"/>
                <a:gd name="T3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4"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8" y="3"/>
                    <a:pt x="9" y="4"/>
                  </a:cubicBezTo>
                  <a:cubicBezTo>
                    <a:pt x="10" y="5"/>
                    <a:pt x="11" y="6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0" y="10"/>
                    <a:pt x="10" y="11"/>
                    <a:pt x="9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3"/>
                    <a:pt x="3" y="14"/>
                    <a:pt x="6" y="14"/>
                  </a:cubicBezTo>
                  <a:cubicBezTo>
                    <a:pt x="7" y="14"/>
                    <a:pt x="9" y="14"/>
                    <a:pt x="10" y="13"/>
                  </a:cubicBezTo>
                  <a:cubicBezTo>
                    <a:pt x="11" y="13"/>
                    <a:pt x="12" y="12"/>
                    <a:pt x="13" y="10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5"/>
                    <a:pt x="11" y="3"/>
                    <a:pt x="10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2"/>
                    <a:pt x="5" y="2"/>
                    <a:pt x="6" y="2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9" name="Oval 37">
              <a:extLst>
                <a:ext uri="{FF2B5EF4-FFF2-40B4-BE49-F238E27FC236}">
                  <a16:creationId xmlns:a16="http://schemas.microsoft.com/office/drawing/2014/main" id="{87D1ED7F-B84A-477A-A333-112A1B1FF6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9186" y="2385780"/>
              <a:ext cx="17775" cy="20509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0" name="Oval 38">
              <a:extLst>
                <a:ext uri="{FF2B5EF4-FFF2-40B4-BE49-F238E27FC236}">
                  <a16:creationId xmlns:a16="http://schemas.microsoft.com/office/drawing/2014/main" id="{DAB06B05-D65D-4A78-9E63-147FC68C19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4036" y="2395351"/>
              <a:ext cx="17775" cy="19142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1" name="Freeform 39">
              <a:extLst>
                <a:ext uri="{FF2B5EF4-FFF2-40B4-BE49-F238E27FC236}">
                  <a16:creationId xmlns:a16="http://schemas.microsoft.com/office/drawing/2014/main" id="{A9C748CC-E8F4-4145-9ED1-34C46D7702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5862" y="2441838"/>
              <a:ext cx="211926" cy="155868"/>
            </a:xfrm>
            <a:custGeom>
              <a:avLst/>
              <a:gdLst>
                <a:gd name="T0" fmla="*/ 5 w 83"/>
                <a:gd name="T1" fmla="*/ 0 h 61"/>
                <a:gd name="T2" fmla="*/ 83 w 83"/>
                <a:gd name="T3" fmla="*/ 27 h 61"/>
                <a:gd name="T4" fmla="*/ 30 w 83"/>
                <a:gd name="T5" fmla="*/ 46 h 61"/>
                <a:gd name="T6" fmla="*/ 5 w 83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61">
                  <a:moveTo>
                    <a:pt x="5" y="0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61" y="61"/>
                    <a:pt x="30" y="46"/>
                  </a:cubicBezTo>
                  <a:cubicBezTo>
                    <a:pt x="0" y="32"/>
                    <a:pt x="5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2" name="Freeform 40">
              <a:extLst>
                <a:ext uri="{FF2B5EF4-FFF2-40B4-BE49-F238E27FC236}">
                  <a16:creationId xmlns:a16="http://schemas.microsoft.com/office/drawing/2014/main" id="{2EAA1542-1638-4488-A8A2-BF5C395A93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199620" cy="69731"/>
            </a:xfrm>
            <a:custGeom>
              <a:avLst/>
              <a:gdLst>
                <a:gd name="T0" fmla="*/ 0 w 78"/>
                <a:gd name="T1" fmla="*/ 0 h 27"/>
                <a:gd name="T2" fmla="*/ 78 w 78"/>
                <a:gd name="T3" fmla="*/ 27 h 27"/>
                <a:gd name="T4" fmla="*/ 0 w 7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27">
                  <a:moveTo>
                    <a:pt x="0" y="0"/>
                  </a:moveTo>
                  <a:cubicBezTo>
                    <a:pt x="0" y="0"/>
                    <a:pt x="53" y="11"/>
                    <a:pt x="78" y="2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AB2576A4-212B-45CE-8C5B-57CF944B5D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9964" y="2441838"/>
              <a:ext cx="207824" cy="143563"/>
            </a:xfrm>
            <a:custGeom>
              <a:avLst/>
              <a:gdLst>
                <a:gd name="T0" fmla="*/ 81 w 81"/>
                <a:gd name="T1" fmla="*/ 27 h 56"/>
                <a:gd name="T2" fmla="*/ 38 w 81"/>
                <a:gd name="T3" fmla="*/ 53 h 56"/>
                <a:gd name="T4" fmla="*/ 3 w 81"/>
                <a:gd name="T5" fmla="*/ 0 h 56"/>
                <a:gd name="T6" fmla="*/ 42 w 81"/>
                <a:gd name="T7" fmla="*/ 49 h 56"/>
                <a:gd name="T8" fmla="*/ 81 w 81"/>
                <a:gd name="T9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6">
                  <a:moveTo>
                    <a:pt x="81" y="27"/>
                  </a:moveTo>
                  <a:cubicBezTo>
                    <a:pt x="81" y="27"/>
                    <a:pt x="64" y="56"/>
                    <a:pt x="38" y="53"/>
                  </a:cubicBezTo>
                  <a:cubicBezTo>
                    <a:pt x="12" y="49"/>
                    <a:pt x="0" y="18"/>
                    <a:pt x="3" y="0"/>
                  </a:cubicBezTo>
                  <a:cubicBezTo>
                    <a:pt x="3" y="0"/>
                    <a:pt x="2" y="44"/>
                    <a:pt x="42" y="49"/>
                  </a:cubicBezTo>
                  <a:cubicBezTo>
                    <a:pt x="42" y="49"/>
                    <a:pt x="55" y="56"/>
                    <a:pt x="81" y="2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0962CF92-5F16-45BE-B7DB-E039C3F045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482" y="2506099"/>
              <a:ext cx="12306" cy="12306"/>
            </a:xfrm>
            <a:custGeom>
              <a:avLst/>
              <a:gdLst>
                <a:gd name="T0" fmla="*/ 0 w 9"/>
                <a:gd name="T1" fmla="*/ 0 h 9"/>
                <a:gd name="T2" fmla="*/ 3 w 9"/>
                <a:gd name="T3" fmla="*/ 9 h 9"/>
                <a:gd name="T4" fmla="*/ 9 w 9"/>
                <a:gd name="T5" fmla="*/ 4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3" y="9"/>
                  </a:lnTo>
                  <a:lnTo>
                    <a:pt x="9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4C14D146-5F76-40E2-AE74-83BB36D70F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9571" cy="8204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A5FDB68E-949B-4EB0-BB1C-223844AA31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9571" cy="8204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7" name="Freeform 45">
              <a:extLst>
                <a:ext uri="{FF2B5EF4-FFF2-40B4-BE49-F238E27FC236}">
                  <a16:creationId xmlns:a16="http://schemas.microsoft.com/office/drawing/2014/main" id="{7F778C38-630B-4E6E-B5DC-6ACD5250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1092" y="2620949"/>
              <a:ext cx="309001" cy="363691"/>
            </a:xfrm>
            <a:custGeom>
              <a:avLst/>
              <a:gdLst>
                <a:gd name="T0" fmla="*/ 88 w 121"/>
                <a:gd name="T1" fmla="*/ 3 h 142"/>
                <a:gd name="T2" fmla="*/ 84 w 121"/>
                <a:gd name="T3" fmla="*/ 59 h 142"/>
                <a:gd name="T4" fmla="*/ 94 w 121"/>
                <a:gd name="T5" fmla="*/ 77 h 142"/>
                <a:gd name="T6" fmla="*/ 121 w 121"/>
                <a:gd name="T7" fmla="*/ 90 h 142"/>
                <a:gd name="T8" fmla="*/ 49 w 121"/>
                <a:gd name="T9" fmla="*/ 121 h 142"/>
                <a:gd name="T10" fmla="*/ 0 w 121"/>
                <a:gd name="T11" fmla="*/ 64 h 142"/>
                <a:gd name="T12" fmla="*/ 38 w 121"/>
                <a:gd name="T13" fmla="*/ 66 h 142"/>
                <a:gd name="T14" fmla="*/ 57 w 121"/>
                <a:gd name="T15" fmla="*/ 51 h 142"/>
                <a:gd name="T16" fmla="*/ 66 w 121"/>
                <a:gd name="T17" fmla="*/ 0 h 142"/>
                <a:gd name="T18" fmla="*/ 88 w 121"/>
                <a:gd name="T19" fmla="*/ 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42">
                  <a:moveTo>
                    <a:pt x="88" y="3"/>
                  </a:moveTo>
                  <a:cubicBezTo>
                    <a:pt x="84" y="59"/>
                    <a:pt x="84" y="59"/>
                    <a:pt x="84" y="59"/>
                  </a:cubicBezTo>
                  <a:cubicBezTo>
                    <a:pt x="83" y="67"/>
                    <a:pt x="87" y="74"/>
                    <a:pt x="94" y="77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1" y="90"/>
                    <a:pt x="89" y="142"/>
                    <a:pt x="49" y="121"/>
                  </a:cubicBezTo>
                  <a:cubicBezTo>
                    <a:pt x="8" y="101"/>
                    <a:pt x="4" y="87"/>
                    <a:pt x="0" y="64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7" y="67"/>
                    <a:pt x="55" y="60"/>
                    <a:pt x="57" y="5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8" y="3"/>
                    <a:pt x="88" y="3"/>
                    <a:pt x="88" y="3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8" name="Freeform 46">
              <a:extLst>
                <a:ext uri="{FF2B5EF4-FFF2-40B4-BE49-F238E27FC236}">
                  <a16:creationId xmlns:a16="http://schemas.microsoft.com/office/drawing/2014/main" id="{45EBA5CD-6860-45EC-BD02-F698BA4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7419" y="2301010"/>
              <a:ext cx="302165" cy="113483"/>
            </a:xfrm>
            <a:custGeom>
              <a:avLst/>
              <a:gdLst>
                <a:gd name="T0" fmla="*/ 2 w 118"/>
                <a:gd name="T1" fmla="*/ 44 h 44"/>
                <a:gd name="T2" fmla="*/ 25 w 118"/>
                <a:gd name="T3" fmla="*/ 33 h 44"/>
                <a:gd name="T4" fmla="*/ 95 w 118"/>
                <a:gd name="T5" fmla="*/ 24 h 44"/>
                <a:gd name="T6" fmla="*/ 118 w 118"/>
                <a:gd name="T7" fmla="*/ 3 h 44"/>
                <a:gd name="T8" fmla="*/ 28 w 118"/>
                <a:gd name="T9" fmla="*/ 3 h 44"/>
                <a:gd name="T10" fmla="*/ 2 w 118"/>
                <a:gd name="T1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4">
                  <a:moveTo>
                    <a:pt x="2" y="44"/>
                  </a:moveTo>
                  <a:cubicBezTo>
                    <a:pt x="2" y="44"/>
                    <a:pt x="7" y="29"/>
                    <a:pt x="25" y="33"/>
                  </a:cubicBezTo>
                  <a:cubicBezTo>
                    <a:pt x="43" y="38"/>
                    <a:pt x="75" y="39"/>
                    <a:pt x="95" y="24"/>
                  </a:cubicBezTo>
                  <a:cubicBezTo>
                    <a:pt x="115" y="9"/>
                    <a:pt x="118" y="3"/>
                    <a:pt x="118" y="3"/>
                  </a:cubicBezTo>
                  <a:cubicBezTo>
                    <a:pt x="118" y="3"/>
                    <a:pt x="46" y="0"/>
                    <a:pt x="28" y="3"/>
                  </a:cubicBezTo>
                  <a:cubicBezTo>
                    <a:pt x="9" y="6"/>
                    <a:pt x="0" y="26"/>
                    <a:pt x="2" y="44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9" name="Freeform 47">
              <a:extLst>
                <a:ext uri="{FF2B5EF4-FFF2-40B4-BE49-F238E27FC236}">
                  <a16:creationId xmlns:a16="http://schemas.microsoft.com/office/drawing/2014/main" id="{3C37AA9E-21A0-453C-854E-DDD615976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9584" y="2309214"/>
              <a:ext cx="108014" cy="140828"/>
            </a:xfrm>
            <a:custGeom>
              <a:avLst/>
              <a:gdLst>
                <a:gd name="T0" fmla="*/ 0 w 42"/>
                <a:gd name="T1" fmla="*/ 0 h 55"/>
                <a:gd name="T2" fmla="*/ 42 w 42"/>
                <a:gd name="T3" fmla="*/ 55 h 55"/>
                <a:gd name="T4" fmla="*/ 27 w 42"/>
                <a:gd name="T5" fmla="*/ 16 h 55"/>
                <a:gd name="T6" fmla="*/ 19 w 42"/>
                <a:gd name="T7" fmla="*/ 0 h 55"/>
                <a:gd name="T8" fmla="*/ 0 w 42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5">
                  <a:moveTo>
                    <a:pt x="0" y="0"/>
                  </a:moveTo>
                  <a:cubicBezTo>
                    <a:pt x="0" y="0"/>
                    <a:pt x="6" y="52"/>
                    <a:pt x="42" y="55"/>
                  </a:cubicBezTo>
                  <a:cubicBezTo>
                    <a:pt x="42" y="55"/>
                    <a:pt x="28" y="31"/>
                    <a:pt x="27" y="16"/>
                  </a:cubicBezTo>
                  <a:cubicBezTo>
                    <a:pt x="26" y="1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0" name="Freeform 48">
              <a:extLst>
                <a:ext uri="{FF2B5EF4-FFF2-40B4-BE49-F238E27FC236}">
                  <a16:creationId xmlns:a16="http://schemas.microsoft.com/office/drawing/2014/main" id="{69460539-E85D-4191-BAE2-49F79D10A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96911" y="2782286"/>
              <a:ext cx="371895" cy="196886"/>
            </a:xfrm>
            <a:custGeom>
              <a:avLst/>
              <a:gdLst>
                <a:gd name="T0" fmla="*/ 13 w 145"/>
                <a:gd name="T1" fmla="*/ 1 h 77"/>
                <a:gd name="T2" fmla="*/ 74 w 145"/>
                <a:gd name="T3" fmla="*/ 56 h 77"/>
                <a:gd name="T4" fmla="*/ 134 w 145"/>
                <a:gd name="T5" fmla="*/ 27 h 77"/>
                <a:gd name="T6" fmla="*/ 145 w 145"/>
                <a:gd name="T7" fmla="*/ 31 h 77"/>
                <a:gd name="T8" fmla="*/ 69 w 145"/>
                <a:gd name="T9" fmla="*/ 69 h 77"/>
                <a:gd name="T10" fmla="*/ 0 w 145"/>
                <a:gd name="T11" fmla="*/ 0 h 77"/>
                <a:gd name="T12" fmla="*/ 16 w 145"/>
                <a:gd name="T13" fmla="*/ 1 h 77"/>
                <a:gd name="T14" fmla="*/ 13 w 145"/>
                <a:gd name="T1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77">
                  <a:moveTo>
                    <a:pt x="13" y="1"/>
                  </a:moveTo>
                  <a:cubicBezTo>
                    <a:pt x="13" y="1"/>
                    <a:pt x="27" y="52"/>
                    <a:pt x="74" y="56"/>
                  </a:cubicBezTo>
                  <a:cubicBezTo>
                    <a:pt x="120" y="60"/>
                    <a:pt x="134" y="27"/>
                    <a:pt x="134" y="27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19" y="77"/>
                    <a:pt x="69" y="69"/>
                  </a:cubicBezTo>
                  <a:cubicBezTo>
                    <a:pt x="19" y="61"/>
                    <a:pt x="0" y="23"/>
                    <a:pt x="0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1" name="Freeform 49">
              <a:extLst>
                <a:ext uri="{FF2B5EF4-FFF2-40B4-BE49-F238E27FC236}">
                  <a16:creationId xmlns:a16="http://schemas.microsoft.com/office/drawing/2014/main" id="{0A27FF8B-596E-4DEC-AACF-8F31989287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9113" y="2329722"/>
              <a:ext cx="190050" cy="321307"/>
            </a:xfrm>
            <a:custGeom>
              <a:avLst/>
              <a:gdLst>
                <a:gd name="T0" fmla="*/ 0 w 74"/>
                <a:gd name="T1" fmla="*/ 69 h 126"/>
                <a:gd name="T2" fmla="*/ 17 w 74"/>
                <a:gd name="T3" fmla="*/ 21 h 126"/>
                <a:gd name="T4" fmla="*/ 73 w 74"/>
                <a:gd name="T5" fmla="*/ 8 h 126"/>
                <a:gd name="T6" fmla="*/ 44 w 74"/>
                <a:gd name="T7" fmla="*/ 30 h 126"/>
                <a:gd name="T8" fmla="*/ 40 w 74"/>
                <a:gd name="T9" fmla="*/ 41 h 126"/>
                <a:gd name="T10" fmla="*/ 39 w 74"/>
                <a:gd name="T11" fmla="*/ 126 h 126"/>
                <a:gd name="T12" fmla="*/ 0 w 74"/>
                <a:gd name="T13" fmla="*/ 6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6">
                  <a:moveTo>
                    <a:pt x="0" y="69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74" y="0"/>
                    <a:pt x="73" y="8"/>
                  </a:cubicBezTo>
                  <a:cubicBezTo>
                    <a:pt x="71" y="17"/>
                    <a:pt x="55" y="33"/>
                    <a:pt x="44" y="30"/>
                  </a:cubicBezTo>
                  <a:cubicBezTo>
                    <a:pt x="33" y="26"/>
                    <a:pt x="36" y="35"/>
                    <a:pt x="40" y="41"/>
                  </a:cubicBezTo>
                  <a:cubicBezTo>
                    <a:pt x="45" y="47"/>
                    <a:pt x="60" y="101"/>
                    <a:pt x="39" y="126"/>
                  </a:cubicBezTo>
                  <a:lnTo>
                    <a:pt x="0" y="69"/>
                  </a:lnTo>
                  <a:close/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2" name="Freeform 50">
              <a:extLst>
                <a:ext uri="{FF2B5EF4-FFF2-40B4-BE49-F238E27FC236}">
                  <a16:creationId xmlns:a16="http://schemas.microsoft.com/office/drawing/2014/main" id="{DCA54E0B-0C16-4A88-866A-4D7289F08A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3906" y="2091819"/>
              <a:ext cx="304900" cy="217395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3" name="Freeform 51">
              <a:extLst>
                <a:ext uri="{FF2B5EF4-FFF2-40B4-BE49-F238E27FC236}">
                  <a16:creationId xmlns:a16="http://schemas.microsoft.com/office/drawing/2014/main" id="{564B6CCC-E6DF-47E1-B1EE-08ED5D9004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3906" y="2091819"/>
              <a:ext cx="304900" cy="217395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4" name="Freeform 52">
              <a:extLst>
                <a:ext uri="{FF2B5EF4-FFF2-40B4-BE49-F238E27FC236}">
                  <a16:creationId xmlns:a16="http://schemas.microsoft.com/office/drawing/2014/main" id="{7490AF9B-2B00-489D-94E2-593BAE384A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84985" y="2048067"/>
              <a:ext cx="827193" cy="138094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5" name="Freeform 53">
              <a:extLst>
                <a:ext uri="{FF2B5EF4-FFF2-40B4-BE49-F238E27FC236}">
                  <a16:creationId xmlns:a16="http://schemas.microsoft.com/office/drawing/2014/main" id="{80BBB99B-89BF-4D8E-9553-D4421DDCC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84985" y="2048067"/>
              <a:ext cx="827193" cy="138094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2B3815C8-7089-453B-9AC6-3ADEDD045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0025" y="2180691"/>
              <a:ext cx="82036" cy="261147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1D5F6611-3546-4A85-9693-CCF135DE56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0025" y="2180691"/>
              <a:ext cx="82036" cy="261147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5D68B205-361F-40DC-8C36-5541B89F5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809" y="5344533"/>
              <a:ext cx="380099" cy="144930"/>
            </a:xfrm>
            <a:custGeom>
              <a:avLst/>
              <a:gdLst>
                <a:gd name="T0" fmla="*/ 0 w 148"/>
                <a:gd name="T1" fmla="*/ 9 h 57"/>
                <a:gd name="T2" fmla="*/ 0 w 148"/>
                <a:gd name="T3" fmla="*/ 57 h 57"/>
                <a:gd name="T4" fmla="*/ 148 w 148"/>
                <a:gd name="T5" fmla="*/ 57 h 57"/>
                <a:gd name="T6" fmla="*/ 32 w 148"/>
                <a:gd name="T7" fmla="*/ 0 h 57"/>
                <a:gd name="T8" fmla="*/ 0 w 148"/>
                <a:gd name="T9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7">
                  <a:moveTo>
                    <a:pt x="0" y="9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7"/>
                    <a:pt x="129" y="36"/>
                    <a:pt x="32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9" name="Rectangle 57">
              <a:extLst>
                <a:ext uri="{FF2B5EF4-FFF2-40B4-BE49-F238E27FC236}">
                  <a16:creationId xmlns:a16="http://schemas.microsoft.com/office/drawing/2014/main" id="{2A59B0D2-A453-4A35-B0F5-5701187D4A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1809" y="5489463"/>
              <a:ext cx="380099" cy="437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A788797E-D040-4728-996A-35543E0C6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2949" y="5400590"/>
              <a:ext cx="278921" cy="232434"/>
            </a:xfrm>
            <a:custGeom>
              <a:avLst/>
              <a:gdLst>
                <a:gd name="T0" fmla="*/ 109 w 109"/>
                <a:gd name="T1" fmla="*/ 12 h 91"/>
                <a:gd name="T2" fmla="*/ 106 w 109"/>
                <a:gd name="T3" fmla="*/ 35 h 91"/>
                <a:gd name="T4" fmla="*/ 0 w 109"/>
                <a:gd name="T5" fmla="*/ 91 h 91"/>
                <a:gd name="T6" fmla="*/ 72 w 109"/>
                <a:gd name="T7" fmla="*/ 0 h 91"/>
                <a:gd name="T8" fmla="*/ 109 w 109"/>
                <a:gd name="T9" fmla="*/ 1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91">
                  <a:moveTo>
                    <a:pt x="109" y="12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33" y="88"/>
                    <a:pt x="0" y="91"/>
                  </a:cubicBezTo>
                  <a:cubicBezTo>
                    <a:pt x="0" y="91"/>
                    <a:pt x="11" y="32"/>
                    <a:pt x="72" y="0"/>
                  </a:cubicBezTo>
                  <a:cubicBezTo>
                    <a:pt x="109" y="12"/>
                    <a:pt x="109" y="12"/>
                    <a:pt x="109" y="12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9D39E557-3456-4647-8EA9-BE4A8F85E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4746" y="5489463"/>
              <a:ext cx="287125" cy="172275"/>
            </a:xfrm>
            <a:custGeom>
              <a:avLst/>
              <a:gdLst>
                <a:gd name="T0" fmla="*/ 3 w 112"/>
                <a:gd name="T1" fmla="*/ 56 h 67"/>
                <a:gd name="T2" fmla="*/ 3 w 112"/>
                <a:gd name="T3" fmla="*/ 67 h 67"/>
                <a:gd name="T4" fmla="*/ 112 w 112"/>
                <a:gd name="T5" fmla="*/ 9 h 67"/>
                <a:gd name="T6" fmla="*/ 109 w 112"/>
                <a:gd name="T7" fmla="*/ 0 h 67"/>
                <a:gd name="T8" fmla="*/ 19 w 112"/>
                <a:gd name="T9" fmla="*/ 52 h 67"/>
                <a:gd name="T10" fmla="*/ 3 w 112"/>
                <a:gd name="T11" fmla="*/ 5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67">
                  <a:moveTo>
                    <a:pt x="3" y="56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80" y="44"/>
                    <a:pt x="112" y="9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38" y="46"/>
                    <a:pt x="19" y="52"/>
                  </a:cubicBezTo>
                  <a:cubicBezTo>
                    <a:pt x="0" y="58"/>
                    <a:pt x="3" y="56"/>
                    <a:pt x="3" y="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7E19792A-E8C0-4A36-B3C7-49DAC04513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56273" y="5505870"/>
              <a:ext cx="66996" cy="38283"/>
            </a:xfrm>
            <a:custGeom>
              <a:avLst/>
              <a:gdLst>
                <a:gd name="T0" fmla="*/ 3 w 26"/>
                <a:gd name="T1" fmla="*/ 5 h 15"/>
                <a:gd name="T2" fmla="*/ 3 w 26"/>
                <a:gd name="T3" fmla="*/ 5 h 15"/>
                <a:gd name="T4" fmla="*/ 3 w 26"/>
                <a:gd name="T5" fmla="*/ 5 h 15"/>
                <a:gd name="T6" fmla="*/ 22 w 26"/>
                <a:gd name="T7" fmla="*/ 14 h 15"/>
                <a:gd name="T8" fmla="*/ 25 w 26"/>
                <a:gd name="T9" fmla="*/ 15 h 15"/>
                <a:gd name="T10" fmla="*/ 25 w 26"/>
                <a:gd name="T11" fmla="*/ 12 h 15"/>
                <a:gd name="T12" fmla="*/ 3 w 26"/>
                <a:gd name="T13" fmla="*/ 1 h 15"/>
                <a:gd name="T14" fmla="*/ 2 w 26"/>
                <a:gd name="T15" fmla="*/ 1 h 15"/>
                <a:gd name="T16" fmla="*/ 0 w 26"/>
                <a:gd name="T17" fmla="*/ 3 h 15"/>
                <a:gd name="T18" fmla="*/ 3 w 26"/>
                <a:gd name="T1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5"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5"/>
                    <a:pt x="13" y="5"/>
                    <a:pt x="22" y="14"/>
                  </a:cubicBezTo>
                  <a:cubicBezTo>
                    <a:pt x="23" y="15"/>
                    <a:pt x="24" y="15"/>
                    <a:pt x="25" y="15"/>
                  </a:cubicBezTo>
                  <a:cubicBezTo>
                    <a:pt x="26" y="14"/>
                    <a:pt x="26" y="13"/>
                    <a:pt x="25" y="12"/>
                  </a:cubicBezTo>
                  <a:cubicBezTo>
                    <a:pt x="15" y="2"/>
                    <a:pt x="7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252F9FCA-00BB-420B-A9CA-E8337B188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4556" y="5459383"/>
              <a:ext cx="82036" cy="47855"/>
            </a:xfrm>
            <a:custGeom>
              <a:avLst/>
              <a:gdLst>
                <a:gd name="T0" fmla="*/ 2 w 32"/>
                <a:gd name="T1" fmla="*/ 4 h 19"/>
                <a:gd name="T2" fmla="*/ 3 w 32"/>
                <a:gd name="T3" fmla="*/ 4 h 19"/>
                <a:gd name="T4" fmla="*/ 15 w 32"/>
                <a:gd name="T5" fmla="*/ 8 h 19"/>
                <a:gd name="T6" fmla="*/ 28 w 32"/>
                <a:gd name="T7" fmla="*/ 17 h 19"/>
                <a:gd name="T8" fmla="*/ 31 w 32"/>
                <a:gd name="T9" fmla="*/ 18 h 19"/>
                <a:gd name="T10" fmla="*/ 31 w 32"/>
                <a:gd name="T11" fmla="*/ 15 h 19"/>
                <a:gd name="T12" fmla="*/ 14 w 32"/>
                <a:gd name="T13" fmla="*/ 3 h 19"/>
                <a:gd name="T14" fmla="*/ 2 w 32"/>
                <a:gd name="T15" fmla="*/ 0 h 19"/>
                <a:gd name="T16" fmla="*/ 0 w 32"/>
                <a:gd name="T17" fmla="*/ 2 h 19"/>
                <a:gd name="T18" fmla="*/ 2 w 32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">
                  <a:moveTo>
                    <a:pt x="2" y="4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5" y="5"/>
                    <a:pt x="10" y="6"/>
                    <a:pt x="15" y="8"/>
                  </a:cubicBezTo>
                  <a:cubicBezTo>
                    <a:pt x="20" y="10"/>
                    <a:pt x="25" y="13"/>
                    <a:pt x="28" y="17"/>
                  </a:cubicBezTo>
                  <a:cubicBezTo>
                    <a:pt x="28" y="18"/>
                    <a:pt x="30" y="19"/>
                    <a:pt x="31" y="18"/>
                  </a:cubicBezTo>
                  <a:cubicBezTo>
                    <a:pt x="32" y="18"/>
                    <a:pt x="32" y="16"/>
                    <a:pt x="31" y="15"/>
                  </a:cubicBezTo>
                  <a:cubicBezTo>
                    <a:pt x="28" y="9"/>
                    <a:pt x="20" y="5"/>
                    <a:pt x="14" y="3"/>
                  </a:cubicBezTo>
                  <a:cubicBezTo>
                    <a:pt x="8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4" name="Freeform 62">
              <a:extLst>
                <a:ext uri="{FF2B5EF4-FFF2-40B4-BE49-F238E27FC236}">
                  <a16:creationId xmlns:a16="http://schemas.microsoft.com/office/drawing/2014/main" id="{B578EB62-BA5A-4AC4-83D8-66E3CB10A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50" y="5397856"/>
              <a:ext cx="64262" cy="50589"/>
            </a:xfrm>
            <a:custGeom>
              <a:avLst/>
              <a:gdLst>
                <a:gd name="T0" fmla="*/ 22 w 25"/>
                <a:gd name="T1" fmla="*/ 1 h 20"/>
                <a:gd name="T2" fmla="*/ 13 w 25"/>
                <a:gd name="T3" fmla="*/ 6 h 20"/>
                <a:gd name="T4" fmla="*/ 1 w 25"/>
                <a:gd name="T5" fmla="*/ 17 h 20"/>
                <a:gd name="T6" fmla="*/ 1 w 25"/>
                <a:gd name="T7" fmla="*/ 20 h 20"/>
                <a:gd name="T8" fmla="*/ 4 w 25"/>
                <a:gd name="T9" fmla="*/ 19 h 20"/>
                <a:gd name="T10" fmla="*/ 16 w 25"/>
                <a:gd name="T11" fmla="*/ 9 h 20"/>
                <a:gd name="T12" fmla="*/ 21 w 25"/>
                <a:gd name="T13" fmla="*/ 6 h 20"/>
                <a:gd name="T14" fmla="*/ 23 w 25"/>
                <a:gd name="T15" fmla="*/ 5 h 20"/>
                <a:gd name="T16" fmla="*/ 24 w 25"/>
                <a:gd name="T17" fmla="*/ 4 h 20"/>
                <a:gd name="T18" fmla="*/ 25 w 25"/>
                <a:gd name="T19" fmla="*/ 1 h 20"/>
                <a:gd name="T20" fmla="*/ 22 w 25"/>
                <a:gd name="T2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0">
                  <a:moveTo>
                    <a:pt x="22" y="1"/>
                  </a:moveTo>
                  <a:cubicBezTo>
                    <a:pt x="22" y="1"/>
                    <a:pt x="18" y="3"/>
                    <a:pt x="13" y="6"/>
                  </a:cubicBezTo>
                  <a:cubicBezTo>
                    <a:pt x="9" y="9"/>
                    <a:pt x="3" y="13"/>
                    <a:pt x="1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2" y="20"/>
                    <a:pt x="3" y="20"/>
                    <a:pt x="4" y="19"/>
                  </a:cubicBezTo>
                  <a:cubicBezTo>
                    <a:pt x="6" y="16"/>
                    <a:pt x="11" y="12"/>
                    <a:pt x="16" y="9"/>
                  </a:cubicBezTo>
                  <a:cubicBezTo>
                    <a:pt x="18" y="8"/>
                    <a:pt x="20" y="6"/>
                    <a:pt x="21" y="6"/>
                  </a:cubicBezTo>
                  <a:cubicBezTo>
                    <a:pt x="22" y="5"/>
                    <a:pt x="23" y="5"/>
                    <a:pt x="23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5" y="2"/>
                    <a:pt x="25" y="1"/>
                  </a:cubicBezTo>
                  <a:cubicBezTo>
                    <a:pt x="24" y="1"/>
                    <a:pt x="23" y="0"/>
                    <a:pt x="2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5" name="Freeform 63">
              <a:extLst>
                <a:ext uri="{FF2B5EF4-FFF2-40B4-BE49-F238E27FC236}">
                  <a16:creationId xmlns:a16="http://schemas.microsoft.com/office/drawing/2014/main" id="{6646099E-CC2E-440F-B7B0-DB74B9BCE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09824" y="5374613"/>
              <a:ext cx="73832" cy="56058"/>
            </a:xfrm>
            <a:custGeom>
              <a:avLst/>
              <a:gdLst>
                <a:gd name="T0" fmla="*/ 25 w 29"/>
                <a:gd name="T1" fmla="*/ 1 h 22"/>
                <a:gd name="T2" fmla="*/ 15 w 29"/>
                <a:gd name="T3" fmla="*/ 7 h 22"/>
                <a:gd name="T4" fmla="*/ 7 w 29"/>
                <a:gd name="T5" fmla="*/ 12 h 22"/>
                <a:gd name="T6" fmla="*/ 0 w 29"/>
                <a:gd name="T7" fmla="*/ 18 h 22"/>
                <a:gd name="T8" fmla="*/ 1 w 29"/>
                <a:gd name="T9" fmla="*/ 21 h 22"/>
                <a:gd name="T10" fmla="*/ 4 w 29"/>
                <a:gd name="T11" fmla="*/ 20 h 22"/>
                <a:gd name="T12" fmla="*/ 9 w 29"/>
                <a:gd name="T13" fmla="*/ 15 h 22"/>
                <a:gd name="T14" fmla="*/ 21 w 29"/>
                <a:gd name="T15" fmla="*/ 8 h 22"/>
                <a:gd name="T16" fmla="*/ 25 w 29"/>
                <a:gd name="T17" fmla="*/ 5 h 22"/>
                <a:gd name="T18" fmla="*/ 27 w 29"/>
                <a:gd name="T19" fmla="*/ 4 h 22"/>
                <a:gd name="T20" fmla="*/ 28 w 29"/>
                <a:gd name="T21" fmla="*/ 1 h 22"/>
                <a:gd name="T22" fmla="*/ 25 w 29"/>
                <a:gd name="T2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2">
                  <a:moveTo>
                    <a:pt x="25" y="1"/>
                  </a:moveTo>
                  <a:cubicBezTo>
                    <a:pt x="25" y="1"/>
                    <a:pt x="20" y="3"/>
                    <a:pt x="15" y="7"/>
                  </a:cubicBezTo>
                  <a:cubicBezTo>
                    <a:pt x="12" y="8"/>
                    <a:pt x="9" y="10"/>
                    <a:pt x="7" y="12"/>
                  </a:cubicBezTo>
                  <a:cubicBezTo>
                    <a:pt x="4" y="14"/>
                    <a:pt x="2" y="16"/>
                    <a:pt x="0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2"/>
                    <a:pt x="3" y="21"/>
                    <a:pt x="4" y="20"/>
                  </a:cubicBezTo>
                  <a:cubicBezTo>
                    <a:pt x="5" y="19"/>
                    <a:pt x="7" y="17"/>
                    <a:pt x="9" y="15"/>
                  </a:cubicBezTo>
                  <a:cubicBezTo>
                    <a:pt x="13" y="13"/>
                    <a:pt x="17" y="10"/>
                    <a:pt x="21" y="8"/>
                  </a:cubicBezTo>
                  <a:cubicBezTo>
                    <a:pt x="23" y="7"/>
                    <a:pt x="24" y="6"/>
                    <a:pt x="25" y="5"/>
                  </a:cubicBezTo>
                  <a:cubicBezTo>
                    <a:pt x="27" y="5"/>
                    <a:pt x="27" y="4"/>
                    <a:pt x="27" y="4"/>
                  </a:cubicBezTo>
                  <a:cubicBezTo>
                    <a:pt x="28" y="4"/>
                    <a:pt x="29" y="2"/>
                    <a:pt x="28" y="1"/>
                  </a:cubicBezTo>
                  <a:cubicBezTo>
                    <a:pt x="28" y="1"/>
                    <a:pt x="26" y="0"/>
                    <a:pt x="2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6" name="Freeform 64">
              <a:extLst>
                <a:ext uri="{FF2B5EF4-FFF2-40B4-BE49-F238E27FC236}">
                  <a16:creationId xmlns:a16="http://schemas.microsoft.com/office/drawing/2014/main" id="{A40DA592-CEC9-49F4-B7AC-DC076FFD8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6071" y="5351369"/>
              <a:ext cx="58793" cy="54690"/>
            </a:xfrm>
            <a:custGeom>
              <a:avLst/>
              <a:gdLst>
                <a:gd name="T0" fmla="*/ 20 w 23"/>
                <a:gd name="T1" fmla="*/ 1 h 21"/>
                <a:gd name="T2" fmla="*/ 1 w 23"/>
                <a:gd name="T3" fmla="*/ 18 h 21"/>
                <a:gd name="T4" fmla="*/ 1 w 23"/>
                <a:gd name="T5" fmla="*/ 21 h 21"/>
                <a:gd name="T6" fmla="*/ 4 w 23"/>
                <a:gd name="T7" fmla="*/ 20 h 21"/>
                <a:gd name="T8" fmla="*/ 15 w 23"/>
                <a:gd name="T9" fmla="*/ 8 h 21"/>
                <a:gd name="T10" fmla="*/ 20 w 23"/>
                <a:gd name="T11" fmla="*/ 5 h 21"/>
                <a:gd name="T12" fmla="*/ 21 w 23"/>
                <a:gd name="T13" fmla="*/ 4 h 21"/>
                <a:gd name="T14" fmla="*/ 22 w 23"/>
                <a:gd name="T15" fmla="*/ 4 h 21"/>
                <a:gd name="T16" fmla="*/ 22 w 23"/>
                <a:gd name="T17" fmla="*/ 4 h 21"/>
                <a:gd name="T18" fmla="*/ 23 w 23"/>
                <a:gd name="T19" fmla="*/ 2 h 21"/>
                <a:gd name="T20" fmla="*/ 20 w 23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1">
                  <a:moveTo>
                    <a:pt x="20" y="1"/>
                  </a:moveTo>
                  <a:cubicBezTo>
                    <a:pt x="20" y="1"/>
                    <a:pt x="8" y="6"/>
                    <a:pt x="1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1"/>
                    <a:pt x="3" y="21"/>
                    <a:pt x="4" y="20"/>
                  </a:cubicBezTo>
                  <a:cubicBezTo>
                    <a:pt x="7" y="15"/>
                    <a:pt x="12" y="11"/>
                    <a:pt x="15" y="8"/>
                  </a:cubicBezTo>
                  <a:cubicBezTo>
                    <a:pt x="17" y="7"/>
                    <a:pt x="19" y="6"/>
                    <a:pt x="20" y="5"/>
                  </a:cubicBezTo>
                  <a:cubicBezTo>
                    <a:pt x="21" y="5"/>
                    <a:pt x="21" y="5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3"/>
                    <a:pt x="23" y="2"/>
                  </a:cubicBezTo>
                  <a:cubicBezTo>
                    <a:pt x="22" y="1"/>
                    <a:pt x="21" y="0"/>
                    <a:pt x="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7" name="Freeform 65">
              <a:extLst>
                <a:ext uri="{FF2B5EF4-FFF2-40B4-BE49-F238E27FC236}">
                  <a16:creationId xmlns:a16="http://schemas.microsoft.com/office/drawing/2014/main" id="{BC97C550-4E8A-4281-BDA9-A2DF2987A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7218" y="2968234"/>
              <a:ext cx="97076" cy="228333"/>
            </a:xfrm>
            <a:custGeom>
              <a:avLst/>
              <a:gdLst>
                <a:gd name="T0" fmla="*/ 19 w 38"/>
                <a:gd name="T1" fmla="*/ 0 h 89"/>
                <a:gd name="T2" fmla="*/ 38 w 38"/>
                <a:gd name="T3" fmla="*/ 89 h 89"/>
                <a:gd name="T4" fmla="*/ 19 w 38"/>
                <a:gd name="T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89">
                  <a:moveTo>
                    <a:pt x="19" y="0"/>
                  </a:moveTo>
                  <a:cubicBezTo>
                    <a:pt x="38" y="89"/>
                    <a:pt x="38" y="89"/>
                    <a:pt x="38" y="89"/>
                  </a:cubicBezTo>
                  <a:cubicBezTo>
                    <a:pt x="38" y="89"/>
                    <a:pt x="0" y="38"/>
                    <a:pt x="19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8" name="Freeform 66">
              <a:extLst>
                <a:ext uri="{FF2B5EF4-FFF2-40B4-BE49-F238E27FC236}">
                  <a16:creationId xmlns:a16="http://schemas.microsoft.com/office/drawing/2014/main" id="{D24E8AD3-BE18-47A3-805A-48DEC3E2D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35" y="3372943"/>
              <a:ext cx="393771" cy="255678"/>
            </a:xfrm>
            <a:custGeom>
              <a:avLst/>
              <a:gdLst>
                <a:gd name="T0" fmla="*/ 154 w 154"/>
                <a:gd name="T1" fmla="*/ 0 h 100"/>
                <a:gd name="T2" fmla="*/ 0 w 154"/>
                <a:gd name="T3" fmla="*/ 100 h 100"/>
                <a:gd name="T4" fmla="*/ 154 w 154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" h="100">
                  <a:moveTo>
                    <a:pt x="154" y="0"/>
                  </a:moveTo>
                  <a:cubicBezTo>
                    <a:pt x="154" y="0"/>
                    <a:pt x="128" y="93"/>
                    <a:pt x="0" y="100"/>
                  </a:cubicBezTo>
                  <a:cubicBezTo>
                    <a:pt x="0" y="100"/>
                    <a:pt x="95" y="82"/>
                    <a:pt x="154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9" name="Freeform 67">
              <a:extLst>
                <a:ext uri="{FF2B5EF4-FFF2-40B4-BE49-F238E27FC236}">
                  <a16:creationId xmlns:a16="http://schemas.microsoft.com/office/drawing/2014/main" id="{B6DD4050-094A-4F53-84DE-DB4A2622A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45979" y="2462347"/>
              <a:ext cx="522294" cy="749259"/>
            </a:xfrm>
            <a:custGeom>
              <a:avLst/>
              <a:gdLst>
                <a:gd name="T0" fmla="*/ 0 w 382"/>
                <a:gd name="T1" fmla="*/ 170 h 548"/>
                <a:gd name="T2" fmla="*/ 288 w 382"/>
                <a:gd name="T3" fmla="*/ 548 h 548"/>
                <a:gd name="T4" fmla="*/ 382 w 382"/>
                <a:gd name="T5" fmla="*/ 406 h 548"/>
                <a:gd name="T6" fmla="*/ 101 w 382"/>
                <a:gd name="T7" fmla="*/ 0 h 548"/>
                <a:gd name="T8" fmla="*/ 0 w 382"/>
                <a:gd name="T9" fmla="*/ 17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" h="548">
                  <a:moveTo>
                    <a:pt x="0" y="170"/>
                  </a:moveTo>
                  <a:lnTo>
                    <a:pt x="288" y="548"/>
                  </a:lnTo>
                  <a:lnTo>
                    <a:pt x="382" y="406"/>
                  </a:lnTo>
                  <a:lnTo>
                    <a:pt x="101" y="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0" name="Oval 68">
              <a:extLst>
                <a:ext uri="{FF2B5EF4-FFF2-40B4-BE49-F238E27FC236}">
                  <a16:creationId xmlns:a16="http://schemas.microsoft.com/office/drawing/2014/main" id="{A836BEB3-6C9C-4A84-B43A-92BD78152F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80768" y="2218975"/>
              <a:ext cx="87505" cy="90239"/>
            </a:xfrm>
            <a:prstGeom prst="ellipse">
              <a:avLst/>
            </a:prstGeom>
            <a:solidFill>
              <a:srgbClr val="E66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1" name="Freeform 69">
              <a:extLst>
                <a:ext uri="{FF2B5EF4-FFF2-40B4-BE49-F238E27FC236}">
                  <a16:creationId xmlns:a16="http://schemas.microsoft.com/office/drawing/2014/main" id="{B591F4D7-F44C-47B4-BD8C-F278D60CCF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521" y="2482855"/>
              <a:ext cx="88872" cy="109381"/>
            </a:xfrm>
            <a:custGeom>
              <a:avLst/>
              <a:gdLst>
                <a:gd name="T0" fmla="*/ 23 w 35"/>
                <a:gd name="T1" fmla="*/ 0 h 43"/>
                <a:gd name="T2" fmla="*/ 0 w 35"/>
                <a:gd name="T3" fmla="*/ 30 h 43"/>
                <a:gd name="T4" fmla="*/ 14 w 35"/>
                <a:gd name="T5" fmla="*/ 26 h 43"/>
                <a:gd name="T6" fmla="*/ 14 w 35"/>
                <a:gd name="T7" fmla="*/ 43 h 43"/>
                <a:gd name="T8" fmla="*/ 35 w 35"/>
                <a:gd name="T9" fmla="*/ 10 h 43"/>
                <a:gd name="T10" fmla="*/ 23 w 35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43">
                  <a:moveTo>
                    <a:pt x="23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25" y="6"/>
                    <a:pt x="23" y="0"/>
                  </a:cubicBezTo>
                  <a:close/>
                </a:path>
              </a:pathLst>
            </a:custGeom>
            <a:solidFill>
              <a:srgbClr val="E6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2" name="Oval 70">
              <a:extLst>
                <a:ext uri="{FF2B5EF4-FFF2-40B4-BE49-F238E27FC236}">
                  <a16:creationId xmlns:a16="http://schemas.microsoft.com/office/drawing/2014/main" id="{7FAC61BE-4FEF-40D6-909D-65C7DD57E2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313" y="2444572"/>
              <a:ext cx="64262" cy="64262"/>
            </a:xfrm>
            <a:prstGeom prst="ellipse">
              <a:avLst/>
            </a:prstGeom>
            <a:solidFill>
              <a:srgbClr val="E6B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3" name="Oval 71">
              <a:extLst>
                <a:ext uri="{FF2B5EF4-FFF2-40B4-BE49-F238E27FC236}">
                  <a16:creationId xmlns:a16="http://schemas.microsoft.com/office/drawing/2014/main" id="{4E1944F4-556D-492D-86BB-FFF24DE367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92884" y="2454143"/>
              <a:ext cx="43752" cy="43752"/>
            </a:xfrm>
            <a:prstGeom prst="ellipse">
              <a:avLst/>
            </a:prstGeom>
            <a:solidFill>
              <a:srgbClr val="E6C4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4" name="Freeform 72">
              <a:extLst>
                <a:ext uri="{FF2B5EF4-FFF2-40B4-BE49-F238E27FC236}">
                  <a16:creationId xmlns:a16="http://schemas.microsoft.com/office/drawing/2014/main" id="{62464676-97B8-4395-BB36-87D86E26B9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0025" y="2180691"/>
              <a:ext cx="82036" cy="261147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5" name="Freeform 73">
              <a:extLst>
                <a:ext uri="{FF2B5EF4-FFF2-40B4-BE49-F238E27FC236}">
                  <a16:creationId xmlns:a16="http://schemas.microsoft.com/office/drawing/2014/main" id="{E621357A-9331-463E-87CA-54AB63F703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0025" y="2180691"/>
              <a:ext cx="82036" cy="261147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6" name="Freeform 74">
              <a:extLst>
                <a:ext uri="{FF2B5EF4-FFF2-40B4-BE49-F238E27FC236}">
                  <a16:creationId xmlns:a16="http://schemas.microsoft.com/office/drawing/2014/main" id="{CADC01F5-FB19-4341-AC9D-CD75CE17B9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70135" y="2109594"/>
              <a:ext cx="750627" cy="3024381"/>
            </a:xfrm>
            <a:custGeom>
              <a:avLst/>
              <a:gdLst>
                <a:gd name="T0" fmla="*/ 155 w 293"/>
                <a:gd name="T1" fmla="*/ 1182 h 1183"/>
                <a:gd name="T2" fmla="*/ 139 w 293"/>
                <a:gd name="T3" fmla="*/ 1182 h 1183"/>
                <a:gd name="T4" fmla="*/ 239 w 293"/>
                <a:gd name="T5" fmla="*/ 1169 h 1183"/>
                <a:gd name="T6" fmla="*/ 293 w 293"/>
                <a:gd name="T7" fmla="*/ 1144 h 1183"/>
                <a:gd name="T8" fmla="*/ 275 w 293"/>
                <a:gd name="T9" fmla="*/ 1154 h 1183"/>
                <a:gd name="T10" fmla="*/ 0 w 293"/>
                <a:gd name="T11" fmla="*/ 1127 h 1183"/>
                <a:gd name="T12" fmla="*/ 91 w 293"/>
                <a:gd name="T13" fmla="*/ 1172 h 1183"/>
                <a:gd name="T14" fmla="*/ 0 w 293"/>
                <a:gd name="T15" fmla="*/ 1127 h 1183"/>
                <a:gd name="T16" fmla="*/ 34 w 293"/>
                <a:gd name="T17" fmla="*/ 285 h 1183"/>
                <a:gd name="T18" fmla="*/ 49 w 293"/>
                <a:gd name="T19" fmla="*/ 279 h 1183"/>
                <a:gd name="T20" fmla="*/ 89 w 293"/>
                <a:gd name="T21" fmla="*/ 267 h 1183"/>
                <a:gd name="T22" fmla="*/ 51 w 293"/>
                <a:gd name="T23" fmla="*/ 142 h 1183"/>
                <a:gd name="T24" fmla="*/ 51 w 293"/>
                <a:gd name="T25" fmla="*/ 142 h 1183"/>
                <a:gd name="T26" fmla="*/ 51 w 293"/>
                <a:gd name="T27" fmla="*/ 142 h 1183"/>
                <a:gd name="T28" fmla="*/ 51 w 293"/>
                <a:gd name="T29" fmla="*/ 142 h 1183"/>
                <a:gd name="T30" fmla="*/ 51 w 293"/>
                <a:gd name="T31" fmla="*/ 142 h 1183"/>
                <a:gd name="T32" fmla="*/ 52 w 293"/>
                <a:gd name="T33" fmla="*/ 142 h 1183"/>
                <a:gd name="T34" fmla="*/ 52 w 293"/>
                <a:gd name="T35" fmla="*/ 142 h 1183"/>
                <a:gd name="T36" fmla="*/ 52 w 293"/>
                <a:gd name="T37" fmla="*/ 142 h 1183"/>
                <a:gd name="T38" fmla="*/ 52 w 293"/>
                <a:gd name="T39" fmla="*/ 142 h 1183"/>
                <a:gd name="T40" fmla="*/ 143 w 293"/>
                <a:gd name="T41" fmla="*/ 112 h 1183"/>
                <a:gd name="T42" fmla="*/ 138 w 293"/>
                <a:gd name="T43" fmla="*/ 119 h 1183"/>
                <a:gd name="T44" fmla="*/ 52 w 293"/>
                <a:gd name="T45" fmla="*/ 142 h 1183"/>
                <a:gd name="T46" fmla="*/ 138 w 293"/>
                <a:gd name="T47" fmla="*/ 119 h 1183"/>
                <a:gd name="T48" fmla="*/ 143 w 293"/>
                <a:gd name="T49" fmla="*/ 112 h 1183"/>
                <a:gd name="T50" fmla="*/ 155 w 293"/>
                <a:gd name="T51" fmla="*/ 15 h 1183"/>
                <a:gd name="T52" fmla="*/ 64 w 293"/>
                <a:gd name="T53" fmla="*/ 28 h 1183"/>
                <a:gd name="T54" fmla="*/ 155 w 293"/>
                <a:gd name="T55" fmla="*/ 15 h 1183"/>
                <a:gd name="T56" fmla="*/ 45 w 293"/>
                <a:gd name="T57" fmla="*/ 22 h 1183"/>
                <a:gd name="T58" fmla="*/ 154 w 293"/>
                <a:gd name="T59" fmla="*/ 6 h 1183"/>
                <a:gd name="T60" fmla="*/ 198 w 293"/>
                <a:gd name="T61" fmla="*/ 0 h 1183"/>
                <a:gd name="T62" fmla="*/ 154 w 293"/>
                <a:gd name="T63" fmla="*/ 5 h 1183"/>
                <a:gd name="T64" fmla="*/ 198 w 293"/>
                <a:gd name="T65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3" h="1183">
                  <a:moveTo>
                    <a:pt x="239" y="1167"/>
                  </a:moveTo>
                  <a:cubicBezTo>
                    <a:pt x="214" y="1176"/>
                    <a:pt x="185" y="1182"/>
                    <a:pt x="155" y="1182"/>
                  </a:cubicBezTo>
                  <a:cubicBezTo>
                    <a:pt x="150" y="1182"/>
                    <a:pt x="144" y="1181"/>
                    <a:pt x="139" y="1181"/>
                  </a:cubicBezTo>
                  <a:cubicBezTo>
                    <a:pt x="139" y="1182"/>
                    <a:pt x="139" y="1182"/>
                    <a:pt x="139" y="1182"/>
                  </a:cubicBezTo>
                  <a:cubicBezTo>
                    <a:pt x="146" y="1183"/>
                    <a:pt x="154" y="1183"/>
                    <a:pt x="162" y="1183"/>
                  </a:cubicBezTo>
                  <a:cubicBezTo>
                    <a:pt x="187" y="1183"/>
                    <a:pt x="213" y="1179"/>
                    <a:pt x="239" y="1169"/>
                  </a:cubicBezTo>
                  <a:cubicBezTo>
                    <a:pt x="239" y="1167"/>
                    <a:pt x="239" y="1167"/>
                    <a:pt x="239" y="1167"/>
                  </a:cubicBezTo>
                  <a:moveTo>
                    <a:pt x="293" y="1144"/>
                  </a:moveTo>
                  <a:cubicBezTo>
                    <a:pt x="287" y="1147"/>
                    <a:pt x="281" y="1150"/>
                    <a:pt x="275" y="1153"/>
                  </a:cubicBezTo>
                  <a:cubicBezTo>
                    <a:pt x="275" y="1154"/>
                    <a:pt x="275" y="1154"/>
                    <a:pt x="275" y="1154"/>
                  </a:cubicBezTo>
                  <a:cubicBezTo>
                    <a:pt x="281" y="1151"/>
                    <a:pt x="287" y="1147"/>
                    <a:pt x="293" y="1144"/>
                  </a:cubicBezTo>
                  <a:moveTo>
                    <a:pt x="0" y="1127"/>
                  </a:moveTo>
                  <a:cubicBezTo>
                    <a:pt x="30" y="1147"/>
                    <a:pt x="60" y="1163"/>
                    <a:pt x="91" y="1172"/>
                  </a:cubicBezTo>
                  <a:cubicBezTo>
                    <a:pt x="91" y="1172"/>
                    <a:pt x="91" y="1172"/>
                    <a:pt x="91" y="1172"/>
                  </a:cubicBezTo>
                  <a:cubicBezTo>
                    <a:pt x="83" y="1169"/>
                    <a:pt x="74" y="1165"/>
                    <a:pt x="65" y="1161"/>
                  </a:cubicBezTo>
                  <a:cubicBezTo>
                    <a:pt x="38" y="1148"/>
                    <a:pt x="16" y="1137"/>
                    <a:pt x="0" y="1127"/>
                  </a:cubicBezTo>
                  <a:moveTo>
                    <a:pt x="89" y="267"/>
                  </a:moveTo>
                  <a:cubicBezTo>
                    <a:pt x="68" y="271"/>
                    <a:pt x="49" y="278"/>
                    <a:pt x="34" y="285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9" y="283"/>
                    <a:pt x="44" y="281"/>
                    <a:pt x="49" y="279"/>
                  </a:cubicBezTo>
                  <a:cubicBezTo>
                    <a:pt x="44" y="281"/>
                    <a:pt x="39" y="283"/>
                    <a:pt x="34" y="285"/>
                  </a:cubicBezTo>
                  <a:cubicBezTo>
                    <a:pt x="49" y="278"/>
                    <a:pt x="67" y="271"/>
                    <a:pt x="89" y="267"/>
                  </a:cubicBezTo>
                  <a:cubicBezTo>
                    <a:pt x="89" y="267"/>
                    <a:pt x="89" y="267"/>
                    <a:pt x="89" y="267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143" y="112"/>
                  </a:moveTo>
                  <a:cubicBezTo>
                    <a:pt x="139" y="115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99" y="137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99" y="137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9" y="115"/>
                    <a:pt x="143" y="112"/>
                  </a:cubicBezTo>
                  <a:cubicBezTo>
                    <a:pt x="143" y="112"/>
                    <a:pt x="143" y="112"/>
                    <a:pt x="143" y="112"/>
                  </a:cubicBezTo>
                  <a:moveTo>
                    <a:pt x="155" y="15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moveTo>
                    <a:pt x="154" y="6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4" y="6"/>
                    <a:pt x="154" y="6"/>
                    <a:pt x="154" y="6"/>
                  </a:cubicBezTo>
                  <a:moveTo>
                    <a:pt x="198" y="0"/>
                  </a:moveTo>
                  <a:cubicBezTo>
                    <a:pt x="167" y="4"/>
                    <a:pt x="167" y="4"/>
                    <a:pt x="167" y="4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67" y="4"/>
                    <a:pt x="167" y="4"/>
                    <a:pt x="167" y="4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solidFill>
              <a:srgbClr val="5055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7" name="Freeform 75">
              <a:extLst>
                <a:ext uri="{FF2B5EF4-FFF2-40B4-BE49-F238E27FC236}">
                  <a16:creationId xmlns:a16="http://schemas.microsoft.com/office/drawing/2014/main" id="{7A71B05A-0BA6-4109-85E4-E7B842851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2569" y="5106630"/>
              <a:ext cx="123053" cy="25978"/>
            </a:xfrm>
            <a:custGeom>
              <a:avLst/>
              <a:gdLst>
                <a:gd name="T0" fmla="*/ 0 w 48"/>
                <a:gd name="T1" fmla="*/ 0 h 10"/>
                <a:gd name="T2" fmla="*/ 0 w 48"/>
                <a:gd name="T3" fmla="*/ 0 h 10"/>
                <a:gd name="T4" fmla="*/ 48 w 48"/>
                <a:gd name="T5" fmla="*/ 10 h 10"/>
                <a:gd name="T6" fmla="*/ 48 w 48"/>
                <a:gd name="T7" fmla="*/ 9 h 10"/>
                <a:gd name="T8" fmla="*/ 0 w 4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5"/>
                    <a:pt x="32" y="8"/>
                    <a:pt x="48" y="10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32" y="8"/>
                    <a:pt x="16" y="5"/>
                    <a:pt x="0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8" name="Freeform 76">
              <a:extLst>
                <a:ext uri="{FF2B5EF4-FFF2-40B4-BE49-F238E27FC236}">
                  <a16:creationId xmlns:a16="http://schemas.microsoft.com/office/drawing/2014/main" id="{FF227376-E78A-4A71-AECD-DE0777D433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81301" y="5057408"/>
              <a:ext cx="92974" cy="41018"/>
            </a:xfrm>
            <a:custGeom>
              <a:avLst/>
              <a:gdLst>
                <a:gd name="T0" fmla="*/ 36 w 36"/>
                <a:gd name="T1" fmla="*/ 0 h 16"/>
                <a:gd name="T2" fmla="*/ 0 w 36"/>
                <a:gd name="T3" fmla="*/ 14 h 16"/>
                <a:gd name="T4" fmla="*/ 0 w 36"/>
                <a:gd name="T5" fmla="*/ 16 h 16"/>
                <a:gd name="T6" fmla="*/ 36 w 36"/>
                <a:gd name="T7" fmla="*/ 1 h 16"/>
                <a:gd name="T8" fmla="*/ 36 w 3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6">
                  <a:moveTo>
                    <a:pt x="36" y="0"/>
                  </a:moveTo>
                  <a:cubicBezTo>
                    <a:pt x="25" y="5"/>
                    <a:pt x="13" y="10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2" y="12"/>
                    <a:pt x="24" y="7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9" name="Freeform 77">
              <a:extLst>
                <a:ext uri="{FF2B5EF4-FFF2-40B4-BE49-F238E27FC236}">
                  <a16:creationId xmlns:a16="http://schemas.microsoft.com/office/drawing/2014/main" id="{2C8A6015-0E91-4246-A192-C5143447D3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15635" y="2785021"/>
              <a:ext cx="950247" cy="2347587"/>
            </a:xfrm>
            <a:custGeom>
              <a:avLst/>
              <a:gdLst>
                <a:gd name="T0" fmla="*/ 204 w 371"/>
                <a:gd name="T1" fmla="*/ 0 h 918"/>
                <a:gd name="T2" fmla="*/ 149 w 371"/>
                <a:gd name="T3" fmla="*/ 3 h 918"/>
                <a:gd name="T4" fmla="*/ 109 w 371"/>
                <a:gd name="T5" fmla="*/ 15 h 918"/>
                <a:gd name="T6" fmla="*/ 61 w 371"/>
                <a:gd name="T7" fmla="*/ 39 h 918"/>
                <a:gd name="T8" fmla="*/ 12 w 371"/>
                <a:gd name="T9" fmla="*/ 74 h 918"/>
                <a:gd name="T10" fmla="*/ 40 w 371"/>
                <a:gd name="T11" fmla="*/ 250 h 918"/>
                <a:gd name="T12" fmla="*/ 94 w 371"/>
                <a:gd name="T13" fmla="*/ 219 h 918"/>
                <a:gd name="T14" fmla="*/ 76 w 371"/>
                <a:gd name="T15" fmla="*/ 802 h 918"/>
                <a:gd name="T16" fmla="*/ 77 w 371"/>
                <a:gd name="T17" fmla="*/ 813 h 918"/>
                <a:gd name="T18" fmla="*/ 78 w 371"/>
                <a:gd name="T19" fmla="*/ 815 h 918"/>
                <a:gd name="T20" fmla="*/ 78 w 371"/>
                <a:gd name="T21" fmla="*/ 816 h 918"/>
                <a:gd name="T22" fmla="*/ 78 w 371"/>
                <a:gd name="T23" fmla="*/ 817 h 918"/>
                <a:gd name="T24" fmla="*/ 78 w 371"/>
                <a:gd name="T25" fmla="*/ 818 h 918"/>
                <a:gd name="T26" fmla="*/ 78 w 371"/>
                <a:gd name="T27" fmla="*/ 818 h 918"/>
                <a:gd name="T28" fmla="*/ 78 w 371"/>
                <a:gd name="T29" fmla="*/ 819 h 918"/>
                <a:gd name="T30" fmla="*/ 79 w 371"/>
                <a:gd name="T31" fmla="*/ 822 h 918"/>
                <a:gd name="T32" fmla="*/ 79 w 371"/>
                <a:gd name="T33" fmla="*/ 823 h 918"/>
                <a:gd name="T34" fmla="*/ 79 w 371"/>
                <a:gd name="T35" fmla="*/ 823 h 918"/>
                <a:gd name="T36" fmla="*/ 79 w 371"/>
                <a:gd name="T37" fmla="*/ 823 h 918"/>
                <a:gd name="T38" fmla="*/ 79 w 371"/>
                <a:gd name="T39" fmla="*/ 823 h 918"/>
                <a:gd name="T40" fmla="*/ 79 w 371"/>
                <a:gd name="T41" fmla="*/ 824 h 918"/>
                <a:gd name="T42" fmla="*/ 79 w 371"/>
                <a:gd name="T43" fmla="*/ 825 h 918"/>
                <a:gd name="T44" fmla="*/ 79 w 371"/>
                <a:gd name="T45" fmla="*/ 825 h 918"/>
                <a:gd name="T46" fmla="*/ 79 w 371"/>
                <a:gd name="T47" fmla="*/ 825 h 918"/>
                <a:gd name="T48" fmla="*/ 79 w 371"/>
                <a:gd name="T49" fmla="*/ 825 h 918"/>
                <a:gd name="T50" fmla="*/ 79 w 371"/>
                <a:gd name="T51" fmla="*/ 825 h 918"/>
                <a:gd name="T52" fmla="*/ 79 w 371"/>
                <a:gd name="T53" fmla="*/ 825 h 918"/>
                <a:gd name="T54" fmla="*/ 79 w 371"/>
                <a:gd name="T55" fmla="*/ 825 h 918"/>
                <a:gd name="T56" fmla="*/ 79 w 371"/>
                <a:gd name="T57" fmla="*/ 825 h 918"/>
                <a:gd name="T58" fmla="*/ 79 w 371"/>
                <a:gd name="T59" fmla="*/ 825 h 918"/>
                <a:gd name="T60" fmla="*/ 79 w 371"/>
                <a:gd name="T61" fmla="*/ 826 h 918"/>
                <a:gd name="T62" fmla="*/ 79 w 371"/>
                <a:gd name="T63" fmla="*/ 826 h 918"/>
                <a:gd name="T64" fmla="*/ 79 w 371"/>
                <a:gd name="T65" fmla="*/ 826 h 918"/>
                <a:gd name="T66" fmla="*/ 79 w 371"/>
                <a:gd name="T67" fmla="*/ 826 h 918"/>
                <a:gd name="T68" fmla="*/ 79 w 371"/>
                <a:gd name="T69" fmla="*/ 826 h 918"/>
                <a:gd name="T70" fmla="*/ 79 w 371"/>
                <a:gd name="T71" fmla="*/ 826 h 918"/>
                <a:gd name="T72" fmla="*/ 79 w 371"/>
                <a:gd name="T73" fmla="*/ 826 h 918"/>
                <a:gd name="T74" fmla="*/ 79 w 371"/>
                <a:gd name="T75" fmla="*/ 826 h 918"/>
                <a:gd name="T76" fmla="*/ 79 w 371"/>
                <a:gd name="T77" fmla="*/ 826 h 918"/>
                <a:gd name="T78" fmla="*/ 79 w 371"/>
                <a:gd name="T79" fmla="*/ 826 h 918"/>
                <a:gd name="T80" fmla="*/ 79 w 371"/>
                <a:gd name="T81" fmla="*/ 826 h 918"/>
                <a:gd name="T82" fmla="*/ 79 w 371"/>
                <a:gd name="T83" fmla="*/ 826 h 918"/>
                <a:gd name="T84" fmla="*/ 79 w 371"/>
                <a:gd name="T85" fmla="*/ 826 h 918"/>
                <a:gd name="T86" fmla="*/ 35 w 371"/>
                <a:gd name="T87" fmla="*/ 850 h 918"/>
                <a:gd name="T88" fmla="*/ 125 w 371"/>
                <a:gd name="T89" fmla="*/ 897 h 918"/>
                <a:gd name="T90" fmla="*/ 215 w 371"/>
                <a:gd name="T91" fmla="*/ 918 h 918"/>
                <a:gd name="T92" fmla="*/ 353 w 371"/>
                <a:gd name="T93" fmla="*/ 880 h 918"/>
                <a:gd name="T94" fmla="*/ 160 w 371"/>
                <a:gd name="T95" fmla="*/ 405 h 918"/>
                <a:gd name="T96" fmla="*/ 188 w 371"/>
                <a:gd name="T97" fmla="*/ 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1" h="918">
                  <a:moveTo>
                    <a:pt x="201" y="0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3" y="0"/>
                    <a:pt x="202" y="0"/>
                    <a:pt x="201" y="0"/>
                  </a:cubicBezTo>
                  <a:moveTo>
                    <a:pt x="187" y="0"/>
                  </a:moveTo>
                  <a:cubicBezTo>
                    <a:pt x="174" y="0"/>
                    <a:pt x="161" y="1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38" y="6"/>
                    <a:pt x="124" y="10"/>
                    <a:pt x="109" y="15"/>
                  </a:cubicBezTo>
                  <a:cubicBezTo>
                    <a:pt x="104" y="17"/>
                    <a:pt x="99" y="19"/>
                    <a:pt x="94" y="21"/>
                  </a:cubicBezTo>
                  <a:cubicBezTo>
                    <a:pt x="94" y="21"/>
                    <a:pt x="94" y="21"/>
                    <a:pt x="94" y="21"/>
                  </a:cubicBezTo>
                  <a:cubicBezTo>
                    <a:pt x="74" y="30"/>
                    <a:pt x="61" y="39"/>
                    <a:pt x="61" y="39"/>
                  </a:cubicBezTo>
                  <a:cubicBezTo>
                    <a:pt x="61" y="38"/>
                    <a:pt x="60" y="37"/>
                    <a:pt x="59" y="36"/>
                  </a:cubicBezTo>
                  <a:cubicBezTo>
                    <a:pt x="41" y="45"/>
                    <a:pt x="24" y="55"/>
                    <a:pt x="9" y="65"/>
                  </a:cubicBezTo>
                  <a:cubicBezTo>
                    <a:pt x="10" y="68"/>
                    <a:pt x="11" y="71"/>
                    <a:pt x="12" y="74"/>
                  </a:cubicBezTo>
                  <a:cubicBezTo>
                    <a:pt x="34" y="141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3" y="282"/>
                    <a:pt x="6" y="303"/>
                    <a:pt x="9" y="324"/>
                  </a:cubicBezTo>
                  <a:cubicBezTo>
                    <a:pt x="94" y="219"/>
                    <a:pt x="94" y="219"/>
                    <a:pt x="94" y="219"/>
                  </a:cubicBezTo>
                  <a:cubicBezTo>
                    <a:pt x="42" y="555"/>
                    <a:pt x="42" y="555"/>
                    <a:pt x="42" y="555"/>
                  </a:cubicBezTo>
                  <a:cubicBezTo>
                    <a:pt x="57" y="664"/>
                    <a:pt x="70" y="759"/>
                    <a:pt x="76" y="801"/>
                  </a:cubicBezTo>
                  <a:cubicBezTo>
                    <a:pt x="76" y="802"/>
                    <a:pt x="76" y="802"/>
                    <a:pt x="76" y="802"/>
                  </a:cubicBezTo>
                  <a:cubicBezTo>
                    <a:pt x="76" y="804"/>
                    <a:pt x="76" y="806"/>
                    <a:pt x="77" y="808"/>
                  </a:cubicBezTo>
                  <a:cubicBezTo>
                    <a:pt x="77" y="808"/>
                    <a:pt x="77" y="808"/>
                    <a:pt x="77" y="808"/>
                  </a:cubicBezTo>
                  <a:cubicBezTo>
                    <a:pt x="77" y="810"/>
                    <a:pt x="77" y="811"/>
                    <a:pt x="77" y="813"/>
                  </a:cubicBezTo>
                  <a:cubicBezTo>
                    <a:pt x="77" y="813"/>
                    <a:pt x="77" y="813"/>
                    <a:pt x="77" y="813"/>
                  </a:cubicBezTo>
                  <a:cubicBezTo>
                    <a:pt x="78" y="814"/>
                    <a:pt x="78" y="814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20"/>
                    <a:pt x="79" y="821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7" y="827"/>
                    <a:pt x="61" y="837"/>
                    <a:pt x="35" y="850"/>
                  </a:cubicBezTo>
                  <a:cubicBezTo>
                    <a:pt x="42" y="854"/>
                    <a:pt x="50" y="858"/>
                    <a:pt x="60" y="863"/>
                  </a:cubicBezTo>
                  <a:cubicBezTo>
                    <a:pt x="60" y="863"/>
                    <a:pt x="60" y="863"/>
                    <a:pt x="60" y="863"/>
                  </a:cubicBezTo>
                  <a:cubicBezTo>
                    <a:pt x="76" y="873"/>
                    <a:pt x="98" y="884"/>
                    <a:pt x="125" y="897"/>
                  </a:cubicBezTo>
                  <a:cubicBezTo>
                    <a:pt x="134" y="901"/>
                    <a:pt x="143" y="905"/>
                    <a:pt x="151" y="908"/>
                  </a:cubicBezTo>
                  <a:cubicBezTo>
                    <a:pt x="167" y="913"/>
                    <a:pt x="183" y="916"/>
                    <a:pt x="199" y="917"/>
                  </a:cubicBezTo>
                  <a:cubicBezTo>
                    <a:pt x="204" y="917"/>
                    <a:pt x="210" y="918"/>
                    <a:pt x="215" y="918"/>
                  </a:cubicBezTo>
                  <a:cubicBezTo>
                    <a:pt x="245" y="918"/>
                    <a:pt x="274" y="912"/>
                    <a:pt x="299" y="903"/>
                  </a:cubicBezTo>
                  <a:cubicBezTo>
                    <a:pt x="312" y="899"/>
                    <a:pt x="324" y="894"/>
                    <a:pt x="335" y="889"/>
                  </a:cubicBezTo>
                  <a:cubicBezTo>
                    <a:pt x="341" y="886"/>
                    <a:pt x="347" y="883"/>
                    <a:pt x="353" y="880"/>
                  </a:cubicBezTo>
                  <a:cubicBezTo>
                    <a:pt x="353" y="880"/>
                    <a:pt x="353" y="880"/>
                    <a:pt x="353" y="880"/>
                  </a:cubicBezTo>
                  <a:cubicBezTo>
                    <a:pt x="356" y="878"/>
                    <a:pt x="368" y="814"/>
                    <a:pt x="371" y="813"/>
                  </a:cubicBezTo>
                  <a:cubicBezTo>
                    <a:pt x="244" y="706"/>
                    <a:pt x="141" y="568"/>
                    <a:pt x="160" y="405"/>
                  </a:cubicBezTo>
                  <a:cubicBezTo>
                    <a:pt x="172" y="311"/>
                    <a:pt x="201" y="221"/>
                    <a:pt x="213" y="122"/>
                  </a:cubicBezTo>
                  <a:cubicBezTo>
                    <a:pt x="216" y="100"/>
                    <a:pt x="221" y="79"/>
                    <a:pt x="227" y="58"/>
                  </a:cubicBezTo>
                  <a:cubicBezTo>
                    <a:pt x="200" y="43"/>
                    <a:pt x="189" y="17"/>
                    <a:pt x="188" y="0"/>
                  </a:cubicBezTo>
                  <a:cubicBezTo>
                    <a:pt x="188" y="0"/>
                    <a:pt x="187" y="0"/>
                    <a:pt x="187" y="0"/>
                  </a:cubicBezTo>
                </a:path>
              </a:pathLst>
            </a:custGeom>
            <a:solidFill>
              <a:srgbClr val="171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0" name="Freeform 78">
              <a:extLst>
                <a:ext uri="{FF2B5EF4-FFF2-40B4-BE49-F238E27FC236}">
                  <a16:creationId xmlns:a16="http://schemas.microsoft.com/office/drawing/2014/main" id="{B14302F7-F753-4294-8516-C66DDB8A92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3329" y="2383046"/>
              <a:ext cx="680896" cy="501785"/>
            </a:xfrm>
            <a:custGeom>
              <a:avLst/>
              <a:gdLst>
                <a:gd name="T0" fmla="*/ 220 w 266"/>
                <a:gd name="T1" fmla="*/ 0 h 196"/>
                <a:gd name="T2" fmla="*/ 208 w 266"/>
                <a:gd name="T3" fmla="*/ 5 h 196"/>
                <a:gd name="T4" fmla="*/ 208 w 266"/>
                <a:gd name="T5" fmla="*/ 5 h 196"/>
                <a:gd name="T6" fmla="*/ 208 w 266"/>
                <a:gd name="T7" fmla="*/ 5 h 196"/>
                <a:gd name="T8" fmla="*/ 203 w 266"/>
                <a:gd name="T9" fmla="*/ 12 h 196"/>
                <a:gd name="T10" fmla="*/ 117 w 266"/>
                <a:gd name="T11" fmla="*/ 35 h 196"/>
                <a:gd name="T12" fmla="*/ 117 w 266"/>
                <a:gd name="T13" fmla="*/ 35 h 196"/>
                <a:gd name="T14" fmla="*/ 117 w 266"/>
                <a:gd name="T15" fmla="*/ 35 h 196"/>
                <a:gd name="T16" fmla="*/ 117 w 266"/>
                <a:gd name="T17" fmla="*/ 35 h 196"/>
                <a:gd name="T18" fmla="*/ 117 w 266"/>
                <a:gd name="T19" fmla="*/ 35 h 196"/>
                <a:gd name="T20" fmla="*/ 117 w 266"/>
                <a:gd name="T21" fmla="*/ 35 h 196"/>
                <a:gd name="T22" fmla="*/ 117 w 266"/>
                <a:gd name="T23" fmla="*/ 35 h 196"/>
                <a:gd name="T24" fmla="*/ 117 w 266"/>
                <a:gd name="T25" fmla="*/ 35 h 196"/>
                <a:gd name="T26" fmla="*/ 116 w 266"/>
                <a:gd name="T27" fmla="*/ 35 h 196"/>
                <a:gd name="T28" fmla="*/ 116 w 266"/>
                <a:gd name="T29" fmla="*/ 35 h 196"/>
                <a:gd name="T30" fmla="*/ 116 w 266"/>
                <a:gd name="T31" fmla="*/ 35 h 196"/>
                <a:gd name="T32" fmla="*/ 116 w 266"/>
                <a:gd name="T33" fmla="*/ 35 h 196"/>
                <a:gd name="T34" fmla="*/ 116 w 266"/>
                <a:gd name="T35" fmla="*/ 35 h 196"/>
                <a:gd name="T36" fmla="*/ 116 w 266"/>
                <a:gd name="T37" fmla="*/ 35 h 196"/>
                <a:gd name="T38" fmla="*/ 65 w 266"/>
                <a:gd name="T39" fmla="*/ 193 h 196"/>
                <a:gd name="T40" fmla="*/ 64 w 266"/>
                <a:gd name="T41" fmla="*/ 193 h 196"/>
                <a:gd name="T42" fmla="*/ 66 w 266"/>
                <a:gd name="T43" fmla="*/ 196 h 196"/>
                <a:gd name="T44" fmla="*/ 99 w 266"/>
                <a:gd name="T45" fmla="*/ 178 h 196"/>
                <a:gd name="T46" fmla="*/ 154 w 266"/>
                <a:gd name="T47" fmla="*/ 160 h 196"/>
                <a:gd name="T48" fmla="*/ 192 w 266"/>
                <a:gd name="T49" fmla="*/ 157 h 196"/>
                <a:gd name="T50" fmla="*/ 193 w 266"/>
                <a:gd name="T51" fmla="*/ 157 h 196"/>
                <a:gd name="T52" fmla="*/ 193 w 266"/>
                <a:gd name="T53" fmla="*/ 156 h 196"/>
                <a:gd name="T54" fmla="*/ 206 w 266"/>
                <a:gd name="T55" fmla="*/ 157 h 196"/>
                <a:gd name="T56" fmla="*/ 209 w 266"/>
                <a:gd name="T57" fmla="*/ 157 h 196"/>
                <a:gd name="T58" fmla="*/ 244 w 266"/>
                <a:gd name="T59" fmla="*/ 159 h 196"/>
                <a:gd name="T60" fmla="*/ 245 w 266"/>
                <a:gd name="T61" fmla="*/ 159 h 196"/>
                <a:gd name="T62" fmla="*/ 247 w 266"/>
                <a:gd name="T63" fmla="*/ 159 h 196"/>
                <a:gd name="T64" fmla="*/ 266 w 266"/>
                <a:gd name="T65" fmla="*/ 91 h 196"/>
                <a:gd name="T66" fmla="*/ 234 w 266"/>
                <a:gd name="T67" fmla="*/ 53 h 196"/>
                <a:gd name="T68" fmla="*/ 230 w 266"/>
                <a:gd name="T69" fmla="*/ 2 h 196"/>
                <a:gd name="T70" fmla="*/ 226 w 266"/>
                <a:gd name="T71" fmla="*/ 1 h 196"/>
                <a:gd name="T72" fmla="*/ 220 w 266"/>
                <a:gd name="T7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6" h="196">
                  <a:moveTo>
                    <a:pt x="220" y="0"/>
                  </a:moveTo>
                  <a:cubicBezTo>
                    <a:pt x="214" y="0"/>
                    <a:pt x="210" y="3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03" y="12"/>
                    <a:pt x="164" y="30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69" y="41"/>
                    <a:pt x="0" y="94"/>
                    <a:pt x="65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65" y="194"/>
                    <a:pt x="66" y="195"/>
                    <a:pt x="66" y="196"/>
                  </a:cubicBezTo>
                  <a:cubicBezTo>
                    <a:pt x="66" y="196"/>
                    <a:pt x="79" y="187"/>
                    <a:pt x="99" y="178"/>
                  </a:cubicBezTo>
                  <a:cubicBezTo>
                    <a:pt x="114" y="171"/>
                    <a:pt x="133" y="164"/>
                    <a:pt x="154" y="160"/>
                  </a:cubicBezTo>
                  <a:cubicBezTo>
                    <a:pt x="166" y="158"/>
                    <a:pt x="179" y="157"/>
                    <a:pt x="192" y="157"/>
                  </a:cubicBezTo>
                  <a:cubicBezTo>
                    <a:pt x="192" y="157"/>
                    <a:pt x="193" y="157"/>
                    <a:pt x="193" y="157"/>
                  </a:cubicBezTo>
                  <a:cubicBezTo>
                    <a:pt x="193" y="156"/>
                    <a:pt x="193" y="156"/>
                    <a:pt x="193" y="156"/>
                  </a:cubicBezTo>
                  <a:cubicBezTo>
                    <a:pt x="206" y="157"/>
                    <a:pt x="206" y="157"/>
                    <a:pt x="206" y="157"/>
                  </a:cubicBezTo>
                  <a:cubicBezTo>
                    <a:pt x="207" y="157"/>
                    <a:pt x="208" y="157"/>
                    <a:pt x="209" y="157"/>
                  </a:cubicBezTo>
                  <a:cubicBezTo>
                    <a:pt x="244" y="159"/>
                    <a:pt x="244" y="159"/>
                    <a:pt x="244" y="159"/>
                  </a:cubicBezTo>
                  <a:cubicBezTo>
                    <a:pt x="244" y="159"/>
                    <a:pt x="244" y="159"/>
                    <a:pt x="245" y="159"/>
                  </a:cubicBezTo>
                  <a:cubicBezTo>
                    <a:pt x="245" y="159"/>
                    <a:pt x="246" y="159"/>
                    <a:pt x="247" y="159"/>
                  </a:cubicBezTo>
                  <a:cubicBezTo>
                    <a:pt x="254" y="137"/>
                    <a:pt x="260" y="114"/>
                    <a:pt x="266" y="91"/>
                  </a:cubicBezTo>
                  <a:cubicBezTo>
                    <a:pt x="234" y="81"/>
                    <a:pt x="234" y="53"/>
                    <a:pt x="234" y="53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29" y="2"/>
                    <a:pt x="227" y="2"/>
                    <a:pt x="226" y="1"/>
                  </a:cubicBezTo>
                  <a:cubicBezTo>
                    <a:pt x="224" y="1"/>
                    <a:pt x="222" y="0"/>
                    <a:pt x="220" y="0"/>
                  </a:cubicBezTo>
                </a:path>
              </a:pathLst>
            </a:custGeom>
            <a:solidFill>
              <a:srgbClr val="1B1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1" name="Freeform 79">
              <a:extLst>
                <a:ext uri="{FF2B5EF4-FFF2-40B4-BE49-F238E27FC236}">
                  <a16:creationId xmlns:a16="http://schemas.microsoft.com/office/drawing/2014/main" id="{18A8ECE7-529B-44F0-AA33-152E79FEA2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2619" y="2385780"/>
              <a:ext cx="127156" cy="229700"/>
            </a:xfrm>
            <a:custGeom>
              <a:avLst/>
              <a:gdLst>
                <a:gd name="T0" fmla="*/ 50 w 50"/>
                <a:gd name="T1" fmla="*/ 0 h 90"/>
                <a:gd name="T2" fmla="*/ 37 w 50"/>
                <a:gd name="T3" fmla="*/ 2 h 90"/>
                <a:gd name="T4" fmla="*/ 37 w 50"/>
                <a:gd name="T5" fmla="*/ 4 h 90"/>
                <a:gd name="T6" fmla="*/ 33 w 50"/>
                <a:gd name="T7" fmla="*/ 8 h 90"/>
                <a:gd name="T8" fmla="*/ 30 w 50"/>
                <a:gd name="T9" fmla="*/ 4 h 90"/>
                <a:gd name="T10" fmla="*/ 30 w 50"/>
                <a:gd name="T11" fmla="*/ 3 h 90"/>
                <a:gd name="T12" fmla="*/ 23 w 50"/>
                <a:gd name="T13" fmla="*/ 3 h 90"/>
                <a:gd name="T14" fmla="*/ 0 w 50"/>
                <a:gd name="T15" fmla="*/ 1 h 90"/>
                <a:gd name="T16" fmla="*/ 4 w 50"/>
                <a:gd name="T17" fmla="*/ 52 h 90"/>
                <a:gd name="T18" fmla="*/ 36 w 50"/>
                <a:gd name="T19" fmla="*/ 90 h 90"/>
                <a:gd name="T20" fmla="*/ 40 w 50"/>
                <a:gd name="T21" fmla="*/ 72 h 90"/>
                <a:gd name="T22" fmla="*/ 17 w 50"/>
                <a:gd name="T23" fmla="*/ 45 h 90"/>
                <a:gd name="T24" fmla="*/ 14 w 50"/>
                <a:gd name="T25" fmla="*/ 31 h 90"/>
                <a:gd name="T26" fmla="*/ 14 w 50"/>
                <a:gd name="T27" fmla="*/ 22 h 90"/>
                <a:gd name="T28" fmla="*/ 14 w 50"/>
                <a:gd name="T29" fmla="*/ 22 h 90"/>
                <a:gd name="T30" fmla="*/ 14 w 50"/>
                <a:gd name="T31" fmla="*/ 22 h 90"/>
                <a:gd name="T32" fmla="*/ 47 w 50"/>
                <a:gd name="T33" fmla="*/ 31 h 90"/>
                <a:gd name="T34" fmla="*/ 50 w 50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90">
                  <a:moveTo>
                    <a:pt x="50" y="0"/>
                  </a:moveTo>
                  <a:cubicBezTo>
                    <a:pt x="45" y="1"/>
                    <a:pt x="41" y="2"/>
                    <a:pt x="37" y="2"/>
                  </a:cubicBezTo>
                  <a:cubicBezTo>
                    <a:pt x="37" y="3"/>
                    <a:pt x="37" y="3"/>
                    <a:pt x="37" y="4"/>
                  </a:cubicBezTo>
                  <a:cubicBezTo>
                    <a:pt x="37" y="6"/>
                    <a:pt x="35" y="8"/>
                    <a:pt x="33" y="8"/>
                  </a:cubicBezTo>
                  <a:cubicBezTo>
                    <a:pt x="31" y="8"/>
                    <a:pt x="30" y="6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28" y="3"/>
                    <a:pt x="25" y="3"/>
                    <a:pt x="23" y="3"/>
                  </a:cubicBezTo>
                  <a:cubicBezTo>
                    <a:pt x="15" y="3"/>
                    <a:pt x="7" y="3"/>
                    <a:pt x="0" y="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80"/>
                    <a:pt x="36" y="90"/>
                  </a:cubicBezTo>
                  <a:cubicBezTo>
                    <a:pt x="37" y="84"/>
                    <a:pt x="38" y="78"/>
                    <a:pt x="40" y="72"/>
                  </a:cubicBezTo>
                  <a:cubicBezTo>
                    <a:pt x="28" y="67"/>
                    <a:pt x="21" y="56"/>
                    <a:pt x="17" y="45"/>
                  </a:cubicBezTo>
                  <a:cubicBezTo>
                    <a:pt x="15" y="40"/>
                    <a:pt x="14" y="35"/>
                    <a:pt x="14" y="31"/>
                  </a:cubicBezTo>
                  <a:cubicBezTo>
                    <a:pt x="14" y="28"/>
                    <a:pt x="14" y="25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29" y="25"/>
                    <a:pt x="47" y="31"/>
                  </a:cubicBezTo>
                  <a:cubicBezTo>
                    <a:pt x="48" y="20"/>
                    <a:pt x="49" y="10"/>
                    <a:pt x="50" y="0"/>
                  </a:cubicBezTo>
                </a:path>
              </a:pathLst>
            </a:custGeom>
            <a:solidFill>
              <a:srgbClr val="DDA1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2" name="Freeform 80">
              <a:extLst>
                <a:ext uri="{FF2B5EF4-FFF2-40B4-BE49-F238E27FC236}">
                  <a16:creationId xmlns:a16="http://schemas.microsoft.com/office/drawing/2014/main" id="{935F72AB-7EF6-4FCD-B721-8DAC48E720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186" y="2391249"/>
              <a:ext cx="17775" cy="15040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1 h 6"/>
                <a:gd name="T4" fmla="*/ 0 w 7"/>
                <a:gd name="T5" fmla="*/ 2 h 6"/>
                <a:gd name="T6" fmla="*/ 3 w 7"/>
                <a:gd name="T7" fmla="*/ 6 h 6"/>
                <a:gd name="T8" fmla="*/ 7 w 7"/>
                <a:gd name="T9" fmla="*/ 2 h 6"/>
                <a:gd name="T10" fmla="*/ 7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" y="6"/>
                    <a:pt x="7" y="4"/>
                    <a:pt x="7" y="2"/>
                  </a:cubicBezTo>
                  <a:cubicBezTo>
                    <a:pt x="7" y="1"/>
                    <a:pt x="7" y="1"/>
                    <a:pt x="7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3" name="Freeform 81">
              <a:extLst>
                <a:ext uri="{FF2B5EF4-FFF2-40B4-BE49-F238E27FC236}">
                  <a16:creationId xmlns:a16="http://schemas.microsoft.com/office/drawing/2014/main" id="{AD32577E-6FBF-4F01-8438-9FFD7FB228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28168" y="2441838"/>
              <a:ext cx="84770" cy="117584"/>
            </a:xfrm>
            <a:custGeom>
              <a:avLst/>
              <a:gdLst>
                <a:gd name="T0" fmla="*/ 0 w 33"/>
                <a:gd name="T1" fmla="*/ 9 h 46"/>
                <a:gd name="T2" fmla="*/ 3 w 33"/>
                <a:gd name="T3" fmla="*/ 23 h 46"/>
                <a:gd name="T4" fmla="*/ 0 w 33"/>
                <a:gd name="T5" fmla="*/ 9 h 46"/>
                <a:gd name="T6" fmla="*/ 0 w 33"/>
                <a:gd name="T7" fmla="*/ 0 h 46"/>
                <a:gd name="T8" fmla="*/ 0 w 33"/>
                <a:gd name="T9" fmla="*/ 0 h 46"/>
                <a:gd name="T10" fmla="*/ 0 w 33"/>
                <a:gd name="T11" fmla="*/ 0 h 46"/>
                <a:gd name="T12" fmla="*/ 0 w 33"/>
                <a:gd name="T13" fmla="*/ 0 h 46"/>
                <a:gd name="T14" fmla="*/ 0 w 33"/>
                <a:gd name="T15" fmla="*/ 0 h 46"/>
                <a:gd name="T16" fmla="*/ 4 w 33"/>
                <a:gd name="T17" fmla="*/ 1 h 46"/>
                <a:gd name="T18" fmla="*/ 1 w 33"/>
                <a:gd name="T19" fmla="*/ 3 h 46"/>
                <a:gd name="T20" fmla="*/ 27 w 33"/>
                <a:gd name="T21" fmla="*/ 46 h 46"/>
                <a:gd name="T22" fmla="*/ 31 w 33"/>
                <a:gd name="T23" fmla="*/ 19 h 46"/>
                <a:gd name="T24" fmla="*/ 33 w 33"/>
                <a:gd name="T25" fmla="*/ 11 h 46"/>
                <a:gd name="T26" fmla="*/ 0 w 33"/>
                <a:gd name="T2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0" y="9"/>
                  </a:moveTo>
                  <a:cubicBezTo>
                    <a:pt x="0" y="13"/>
                    <a:pt x="1" y="18"/>
                    <a:pt x="3" y="23"/>
                  </a:cubicBezTo>
                  <a:cubicBezTo>
                    <a:pt x="1" y="18"/>
                    <a:pt x="0" y="14"/>
                    <a:pt x="0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2"/>
                    <a:pt x="4" y="36"/>
                    <a:pt x="27" y="46"/>
                  </a:cubicBezTo>
                  <a:cubicBezTo>
                    <a:pt x="28" y="37"/>
                    <a:pt x="30" y="28"/>
                    <a:pt x="31" y="19"/>
                  </a:cubicBezTo>
                  <a:cubicBezTo>
                    <a:pt x="32" y="16"/>
                    <a:pt x="32" y="14"/>
                    <a:pt x="33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4" name="Freeform 82">
              <a:extLst>
                <a:ext uri="{FF2B5EF4-FFF2-40B4-BE49-F238E27FC236}">
                  <a16:creationId xmlns:a16="http://schemas.microsoft.com/office/drawing/2014/main" id="{031E311C-8E65-48CA-A303-5CFE5FAD1A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84770" cy="28713"/>
            </a:xfrm>
            <a:custGeom>
              <a:avLst/>
              <a:gdLst>
                <a:gd name="T0" fmla="*/ 0 w 33"/>
                <a:gd name="T1" fmla="*/ 0 h 11"/>
                <a:gd name="T2" fmla="*/ 0 w 33"/>
                <a:gd name="T3" fmla="*/ 0 h 11"/>
                <a:gd name="T4" fmla="*/ 33 w 33"/>
                <a:gd name="T5" fmla="*/ 11 h 11"/>
                <a:gd name="T6" fmla="*/ 33 w 33"/>
                <a:gd name="T7" fmla="*/ 9 h 11"/>
                <a:gd name="T8" fmla="*/ 0 w 3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0"/>
                    <a:pt x="33" y="9"/>
                    <a:pt x="33" y="9"/>
                  </a:cubicBezTo>
                  <a:cubicBezTo>
                    <a:pt x="15" y="3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5" name="Freeform 83">
              <a:extLst>
                <a:ext uri="{FF2B5EF4-FFF2-40B4-BE49-F238E27FC236}">
                  <a16:creationId xmlns:a16="http://schemas.microsoft.com/office/drawing/2014/main" id="{A2CE8333-7C40-4719-8AB2-A494DB1A9F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69731" cy="128523"/>
            </a:xfrm>
            <a:custGeom>
              <a:avLst/>
              <a:gdLst>
                <a:gd name="T0" fmla="*/ 0 w 27"/>
                <a:gd name="T1" fmla="*/ 0 h 50"/>
                <a:gd name="T2" fmla="*/ 0 w 27"/>
                <a:gd name="T3" fmla="*/ 0 h 50"/>
                <a:gd name="T4" fmla="*/ 0 w 27"/>
                <a:gd name="T5" fmla="*/ 9 h 50"/>
                <a:gd name="T6" fmla="*/ 3 w 27"/>
                <a:gd name="T7" fmla="*/ 23 h 50"/>
                <a:gd name="T8" fmla="*/ 26 w 27"/>
                <a:gd name="T9" fmla="*/ 50 h 50"/>
                <a:gd name="T10" fmla="*/ 27 w 27"/>
                <a:gd name="T11" fmla="*/ 46 h 50"/>
                <a:gd name="T12" fmla="*/ 1 w 27"/>
                <a:gd name="T13" fmla="*/ 3 h 50"/>
                <a:gd name="T14" fmla="*/ 0 w 27"/>
                <a:gd name="T15" fmla="*/ 3 h 50"/>
                <a:gd name="T16" fmla="*/ 0 w 27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14"/>
                    <a:pt x="1" y="18"/>
                    <a:pt x="3" y="23"/>
                  </a:cubicBezTo>
                  <a:cubicBezTo>
                    <a:pt x="7" y="34"/>
                    <a:pt x="14" y="45"/>
                    <a:pt x="26" y="50"/>
                  </a:cubicBezTo>
                  <a:cubicBezTo>
                    <a:pt x="26" y="49"/>
                    <a:pt x="26" y="47"/>
                    <a:pt x="27" y="46"/>
                  </a:cubicBezTo>
                  <a:cubicBezTo>
                    <a:pt x="4" y="36"/>
                    <a:pt x="1" y="12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6" name="Freeform 84">
              <a:extLst>
                <a:ext uri="{FF2B5EF4-FFF2-40B4-BE49-F238E27FC236}">
                  <a16:creationId xmlns:a16="http://schemas.microsoft.com/office/drawing/2014/main" id="{D285F7BD-FE43-4AE3-B79F-4C6C646C48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9571" cy="8204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7" name="Freeform 85">
              <a:extLst>
                <a:ext uri="{FF2B5EF4-FFF2-40B4-BE49-F238E27FC236}">
                  <a16:creationId xmlns:a16="http://schemas.microsoft.com/office/drawing/2014/main" id="{D1EE6085-4A32-48CF-BC8A-862EBC88E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8168" y="2441838"/>
              <a:ext cx="9571" cy="8204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8" name="Freeform 86">
              <a:extLst>
                <a:ext uri="{FF2B5EF4-FFF2-40B4-BE49-F238E27FC236}">
                  <a16:creationId xmlns:a16="http://schemas.microsoft.com/office/drawing/2014/main" id="{7C1AA1F4-5688-49E7-83A9-F89FD92D4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1092" y="2785021"/>
              <a:ext cx="105280" cy="109381"/>
            </a:xfrm>
            <a:custGeom>
              <a:avLst/>
              <a:gdLst>
                <a:gd name="T0" fmla="*/ 0 w 41"/>
                <a:gd name="T1" fmla="*/ 0 h 43"/>
                <a:gd name="T2" fmla="*/ 29 w 41"/>
                <a:gd name="T3" fmla="*/ 43 h 43"/>
                <a:gd name="T4" fmla="*/ 41 w 41"/>
                <a:gd name="T5" fmla="*/ 2 h 43"/>
                <a:gd name="T6" fmla="*/ 39 w 41"/>
                <a:gd name="T7" fmla="*/ 2 h 43"/>
                <a:gd name="T8" fmla="*/ 38 w 41"/>
                <a:gd name="T9" fmla="*/ 2 h 43"/>
                <a:gd name="T10" fmla="*/ 3 w 41"/>
                <a:gd name="T11" fmla="*/ 0 h 43"/>
                <a:gd name="T12" fmla="*/ 3 w 41"/>
                <a:gd name="T13" fmla="*/ 0 h 43"/>
                <a:gd name="T14" fmla="*/ 3 w 41"/>
                <a:gd name="T15" fmla="*/ 0 h 43"/>
                <a:gd name="T16" fmla="*/ 0 w 41"/>
                <a:gd name="T1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0"/>
                  </a:moveTo>
                  <a:cubicBezTo>
                    <a:pt x="0" y="0"/>
                    <a:pt x="7" y="27"/>
                    <a:pt x="29" y="43"/>
                  </a:cubicBezTo>
                  <a:cubicBezTo>
                    <a:pt x="33" y="29"/>
                    <a:pt x="37" y="16"/>
                    <a:pt x="41" y="2"/>
                  </a:cubicBezTo>
                  <a:cubicBezTo>
                    <a:pt x="40" y="2"/>
                    <a:pt x="39" y="2"/>
                    <a:pt x="39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90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9" name="Freeform 87">
              <a:extLst>
                <a:ext uri="{FF2B5EF4-FFF2-40B4-BE49-F238E27FC236}">
                  <a16:creationId xmlns:a16="http://schemas.microsoft.com/office/drawing/2014/main" id="{FF6F8CAD-5714-4D73-9593-62E08FC69D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2888" y="2309214"/>
              <a:ext cx="196886" cy="105280"/>
            </a:xfrm>
            <a:custGeom>
              <a:avLst/>
              <a:gdLst>
                <a:gd name="T0" fmla="*/ 76 w 77"/>
                <a:gd name="T1" fmla="*/ 0 h 41"/>
                <a:gd name="T2" fmla="*/ 26 w 77"/>
                <a:gd name="T3" fmla="*/ 0 h 41"/>
                <a:gd name="T4" fmla="*/ 26 w 77"/>
                <a:gd name="T5" fmla="*/ 0 h 41"/>
                <a:gd name="T6" fmla="*/ 0 w 77"/>
                <a:gd name="T7" fmla="*/ 36 h 41"/>
                <a:gd name="T8" fmla="*/ 0 w 77"/>
                <a:gd name="T9" fmla="*/ 41 h 41"/>
                <a:gd name="T10" fmla="*/ 0 w 77"/>
                <a:gd name="T11" fmla="*/ 41 h 41"/>
                <a:gd name="T12" fmla="*/ 0 w 77"/>
                <a:gd name="T13" fmla="*/ 41 h 41"/>
                <a:gd name="T14" fmla="*/ 5 w 77"/>
                <a:gd name="T15" fmla="*/ 34 h 41"/>
                <a:gd name="T16" fmla="*/ 17 w 77"/>
                <a:gd name="T17" fmla="*/ 29 h 41"/>
                <a:gd name="T18" fmla="*/ 23 w 77"/>
                <a:gd name="T19" fmla="*/ 30 h 41"/>
                <a:gd name="T20" fmla="*/ 27 w 77"/>
                <a:gd name="T21" fmla="*/ 31 h 41"/>
                <a:gd name="T22" fmla="*/ 50 w 77"/>
                <a:gd name="T23" fmla="*/ 33 h 41"/>
                <a:gd name="T24" fmla="*/ 57 w 77"/>
                <a:gd name="T25" fmla="*/ 33 h 41"/>
                <a:gd name="T26" fmla="*/ 64 w 77"/>
                <a:gd name="T27" fmla="*/ 32 h 41"/>
                <a:gd name="T28" fmla="*/ 77 w 77"/>
                <a:gd name="T29" fmla="*/ 30 h 41"/>
                <a:gd name="T30" fmla="*/ 76 w 77"/>
                <a:gd name="T3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41">
                  <a:moveTo>
                    <a:pt x="7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9" y="2"/>
                    <a:pt x="0" y="19"/>
                    <a:pt x="0" y="36"/>
                  </a:cubicBezTo>
                  <a:cubicBezTo>
                    <a:pt x="0" y="37"/>
                    <a:pt x="0" y="39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1" y="37"/>
                    <a:pt x="5" y="34"/>
                  </a:cubicBezTo>
                  <a:cubicBezTo>
                    <a:pt x="7" y="32"/>
                    <a:pt x="11" y="29"/>
                    <a:pt x="17" y="29"/>
                  </a:cubicBezTo>
                  <a:cubicBezTo>
                    <a:pt x="19" y="29"/>
                    <a:pt x="21" y="30"/>
                    <a:pt x="23" y="30"/>
                  </a:cubicBezTo>
                  <a:cubicBezTo>
                    <a:pt x="24" y="31"/>
                    <a:pt x="26" y="31"/>
                    <a:pt x="27" y="31"/>
                  </a:cubicBezTo>
                  <a:cubicBezTo>
                    <a:pt x="34" y="33"/>
                    <a:pt x="42" y="33"/>
                    <a:pt x="50" y="33"/>
                  </a:cubicBezTo>
                  <a:cubicBezTo>
                    <a:pt x="52" y="33"/>
                    <a:pt x="55" y="33"/>
                    <a:pt x="57" y="33"/>
                  </a:cubicBezTo>
                  <a:cubicBezTo>
                    <a:pt x="59" y="33"/>
                    <a:pt x="62" y="33"/>
                    <a:pt x="64" y="32"/>
                  </a:cubicBezTo>
                  <a:cubicBezTo>
                    <a:pt x="68" y="32"/>
                    <a:pt x="72" y="31"/>
                    <a:pt x="77" y="30"/>
                  </a:cubicBezTo>
                  <a:cubicBezTo>
                    <a:pt x="77" y="20"/>
                    <a:pt x="77" y="10"/>
                    <a:pt x="76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0" name="Freeform 88">
              <a:extLst>
                <a:ext uri="{FF2B5EF4-FFF2-40B4-BE49-F238E27FC236}">
                  <a16:creationId xmlns:a16="http://schemas.microsoft.com/office/drawing/2014/main" id="{8EEF3AD0-3957-47AC-B2D7-74796358DE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96911" y="2782286"/>
              <a:ext cx="108014" cy="150399"/>
            </a:xfrm>
            <a:custGeom>
              <a:avLst/>
              <a:gdLst>
                <a:gd name="T0" fmla="*/ 0 w 42"/>
                <a:gd name="T1" fmla="*/ 0 h 59"/>
                <a:gd name="T2" fmla="*/ 0 w 42"/>
                <a:gd name="T3" fmla="*/ 1 h 59"/>
                <a:gd name="T4" fmla="*/ 39 w 42"/>
                <a:gd name="T5" fmla="*/ 59 h 59"/>
                <a:gd name="T6" fmla="*/ 42 w 42"/>
                <a:gd name="T7" fmla="*/ 44 h 59"/>
                <a:gd name="T8" fmla="*/ 13 w 42"/>
                <a:gd name="T9" fmla="*/ 1 h 59"/>
                <a:gd name="T10" fmla="*/ 13 w 42"/>
                <a:gd name="T11" fmla="*/ 1 h 59"/>
                <a:gd name="T12" fmla="*/ 16 w 42"/>
                <a:gd name="T13" fmla="*/ 1 h 59"/>
                <a:gd name="T14" fmla="*/ 16 w 42"/>
                <a:gd name="T15" fmla="*/ 1 h 59"/>
                <a:gd name="T16" fmla="*/ 13 w 42"/>
                <a:gd name="T17" fmla="*/ 1 h 59"/>
                <a:gd name="T18" fmla="*/ 0 w 42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8"/>
                    <a:pt x="12" y="44"/>
                    <a:pt x="39" y="59"/>
                  </a:cubicBezTo>
                  <a:cubicBezTo>
                    <a:pt x="40" y="54"/>
                    <a:pt x="41" y="49"/>
                    <a:pt x="42" y="44"/>
                  </a:cubicBezTo>
                  <a:cubicBezTo>
                    <a:pt x="20" y="28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1" name="Freeform 89">
              <a:extLst>
                <a:ext uri="{FF2B5EF4-FFF2-40B4-BE49-F238E27FC236}">
                  <a16:creationId xmlns:a16="http://schemas.microsoft.com/office/drawing/2014/main" id="{59367663-0086-4474-9900-83100DBAEE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63906" y="2119164"/>
              <a:ext cx="154501" cy="190050"/>
            </a:xfrm>
            <a:custGeom>
              <a:avLst/>
              <a:gdLst>
                <a:gd name="T0" fmla="*/ 47 w 60"/>
                <a:gd name="T1" fmla="*/ 4 h 74"/>
                <a:gd name="T2" fmla="*/ 1 w 60"/>
                <a:gd name="T3" fmla="*/ 11 h 74"/>
                <a:gd name="T4" fmla="*/ 1 w 60"/>
                <a:gd name="T5" fmla="*/ 11 h 74"/>
                <a:gd name="T6" fmla="*/ 1 w 60"/>
                <a:gd name="T7" fmla="*/ 11 h 74"/>
                <a:gd name="T8" fmla="*/ 10 w 60"/>
                <a:gd name="T9" fmla="*/ 74 h 74"/>
                <a:gd name="T10" fmla="*/ 10 w 60"/>
                <a:gd name="T11" fmla="*/ 74 h 74"/>
                <a:gd name="T12" fmla="*/ 60 w 60"/>
                <a:gd name="T13" fmla="*/ 74 h 74"/>
                <a:gd name="T14" fmla="*/ 47 w 60"/>
                <a:gd name="T15" fmla="*/ 4 h 74"/>
                <a:gd name="T16" fmla="*/ 13 w 60"/>
                <a:gd name="T17" fmla="*/ 0 h 74"/>
                <a:gd name="T18" fmla="*/ 0 w 60"/>
                <a:gd name="T19" fmla="*/ 1 h 74"/>
                <a:gd name="T20" fmla="*/ 0 w 60"/>
                <a:gd name="T21" fmla="*/ 2 h 74"/>
                <a:gd name="T22" fmla="*/ 0 w 60"/>
                <a:gd name="T23" fmla="*/ 2 h 74"/>
                <a:gd name="T24" fmla="*/ 13 w 60"/>
                <a:gd name="T2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47" y="4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50"/>
                    <a:pt x="54" y="27"/>
                    <a:pt x="47" y="4"/>
                  </a:cubicBezTo>
                  <a:moveTo>
                    <a:pt x="1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2" name="Freeform 90">
              <a:extLst>
                <a:ext uri="{FF2B5EF4-FFF2-40B4-BE49-F238E27FC236}">
                  <a16:creationId xmlns:a16="http://schemas.microsoft.com/office/drawing/2014/main" id="{192F081D-8A6C-4805-99C9-744C2A198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84985" y="2109594"/>
              <a:ext cx="399240" cy="76567"/>
            </a:xfrm>
            <a:custGeom>
              <a:avLst/>
              <a:gdLst>
                <a:gd name="T0" fmla="*/ 153 w 156"/>
                <a:gd name="T1" fmla="*/ 0 h 30"/>
                <a:gd name="T2" fmla="*/ 122 w 156"/>
                <a:gd name="T3" fmla="*/ 4 h 30"/>
                <a:gd name="T4" fmla="*/ 109 w 156"/>
                <a:gd name="T5" fmla="*/ 6 h 30"/>
                <a:gd name="T6" fmla="*/ 0 w 156"/>
                <a:gd name="T7" fmla="*/ 22 h 30"/>
                <a:gd name="T8" fmla="*/ 0 w 156"/>
                <a:gd name="T9" fmla="*/ 30 h 30"/>
                <a:gd name="T10" fmla="*/ 110 w 156"/>
                <a:gd name="T11" fmla="*/ 15 h 30"/>
                <a:gd name="T12" fmla="*/ 156 w 156"/>
                <a:gd name="T13" fmla="*/ 8 h 30"/>
                <a:gd name="T14" fmla="*/ 153 w 156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30">
                  <a:moveTo>
                    <a:pt x="15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5" y="5"/>
                    <a:pt x="154" y="2"/>
                    <a:pt x="15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3" name="Freeform 91">
              <a:extLst>
                <a:ext uri="{FF2B5EF4-FFF2-40B4-BE49-F238E27FC236}">
                  <a16:creationId xmlns:a16="http://schemas.microsoft.com/office/drawing/2014/main" id="{D1EEB54C-4D27-4DB8-B156-9CD5E15B3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2949" y="56330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261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4" name="Freeform 92">
              <a:extLst>
                <a:ext uri="{FF2B5EF4-FFF2-40B4-BE49-F238E27FC236}">
                  <a16:creationId xmlns:a16="http://schemas.microsoft.com/office/drawing/2014/main" id="{2B5550BF-2850-4514-90D7-66B134068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2949" y="56330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DD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5" name="Freeform 93">
              <a:extLst>
                <a:ext uri="{FF2B5EF4-FFF2-40B4-BE49-F238E27FC236}">
                  <a16:creationId xmlns:a16="http://schemas.microsoft.com/office/drawing/2014/main" id="{5A4DA8F6-AA9D-4390-AB71-2439F89BE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295" y="1981071"/>
              <a:ext cx="329510" cy="146297"/>
            </a:xfrm>
            <a:custGeom>
              <a:avLst/>
              <a:gdLst>
                <a:gd name="T0" fmla="*/ 129 w 129"/>
                <a:gd name="T1" fmla="*/ 57 h 57"/>
                <a:gd name="T2" fmla="*/ 65 w 129"/>
                <a:gd name="T3" fmla="*/ 0 h 57"/>
                <a:gd name="T4" fmla="*/ 0 w 129"/>
                <a:gd name="T5" fmla="*/ 57 h 57"/>
                <a:gd name="T6" fmla="*/ 129 w 129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9" h="57">
                  <a:moveTo>
                    <a:pt x="129" y="57"/>
                  </a:moveTo>
                  <a:cubicBezTo>
                    <a:pt x="126" y="25"/>
                    <a:pt x="98" y="0"/>
                    <a:pt x="65" y="0"/>
                  </a:cubicBezTo>
                  <a:cubicBezTo>
                    <a:pt x="31" y="0"/>
                    <a:pt x="4" y="25"/>
                    <a:pt x="0" y="57"/>
                  </a:cubicBezTo>
                  <a:lnTo>
                    <a:pt x="12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6" name="Freeform 94">
              <a:extLst>
                <a:ext uri="{FF2B5EF4-FFF2-40B4-BE49-F238E27FC236}">
                  <a16:creationId xmlns:a16="http://schemas.microsoft.com/office/drawing/2014/main" id="{306D3B1A-15FE-410A-A6F7-673C7A869A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0353" y="1941420"/>
              <a:ext cx="619370" cy="185947"/>
            </a:xfrm>
            <a:custGeom>
              <a:avLst/>
              <a:gdLst>
                <a:gd name="T0" fmla="*/ 242 w 242"/>
                <a:gd name="T1" fmla="*/ 73 h 73"/>
                <a:gd name="T2" fmla="*/ 121 w 242"/>
                <a:gd name="T3" fmla="*/ 0 h 73"/>
                <a:gd name="T4" fmla="*/ 0 w 242"/>
                <a:gd name="T5" fmla="*/ 73 h 73"/>
                <a:gd name="T6" fmla="*/ 242 w 242"/>
                <a:gd name="T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2" h="73">
                  <a:moveTo>
                    <a:pt x="242" y="73"/>
                  </a:moveTo>
                  <a:cubicBezTo>
                    <a:pt x="219" y="29"/>
                    <a:pt x="174" y="0"/>
                    <a:pt x="121" y="0"/>
                  </a:cubicBezTo>
                  <a:cubicBezTo>
                    <a:pt x="68" y="0"/>
                    <a:pt x="23" y="29"/>
                    <a:pt x="0" y="73"/>
                  </a:cubicBezTo>
                  <a:lnTo>
                    <a:pt x="242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" name="Freeform 95">
              <a:extLst>
                <a:ext uri="{FF2B5EF4-FFF2-40B4-BE49-F238E27FC236}">
                  <a16:creationId xmlns:a16="http://schemas.microsoft.com/office/drawing/2014/main" id="{7D27CC45-609D-45CF-8172-9D68CCFD1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8268" y="2060372"/>
              <a:ext cx="348652" cy="66996"/>
            </a:xfrm>
            <a:custGeom>
              <a:avLst/>
              <a:gdLst>
                <a:gd name="T0" fmla="*/ 136 w 136"/>
                <a:gd name="T1" fmla="*/ 26 h 26"/>
                <a:gd name="T2" fmla="*/ 68 w 136"/>
                <a:gd name="T3" fmla="*/ 0 h 26"/>
                <a:gd name="T4" fmla="*/ 0 w 136"/>
                <a:gd name="T5" fmla="*/ 26 h 26"/>
                <a:gd name="T6" fmla="*/ 136 w 13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26">
                  <a:moveTo>
                    <a:pt x="136" y="26"/>
                  </a:moveTo>
                  <a:cubicBezTo>
                    <a:pt x="118" y="10"/>
                    <a:pt x="94" y="0"/>
                    <a:pt x="68" y="0"/>
                  </a:cubicBezTo>
                  <a:cubicBezTo>
                    <a:pt x="41" y="0"/>
                    <a:pt x="18" y="10"/>
                    <a:pt x="0" y="26"/>
                  </a:cubicBezTo>
                  <a:lnTo>
                    <a:pt x="136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" name="Freeform 96">
              <a:extLst>
                <a:ext uri="{FF2B5EF4-FFF2-40B4-BE49-F238E27FC236}">
                  <a16:creationId xmlns:a16="http://schemas.microsoft.com/office/drawing/2014/main" id="{289A2456-8ABD-446F-866D-D60E25B21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435" y="5103895"/>
              <a:ext cx="153133" cy="334979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" name="Freeform 97">
              <a:extLst>
                <a:ext uri="{FF2B5EF4-FFF2-40B4-BE49-F238E27FC236}">
                  <a16:creationId xmlns:a16="http://schemas.microsoft.com/office/drawing/2014/main" id="{B8C2AFBC-B568-4BA6-8060-99BADA6B2B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435" y="5103895"/>
              <a:ext cx="153133" cy="334979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" name="Freeform 98">
              <a:extLst>
                <a:ext uri="{FF2B5EF4-FFF2-40B4-BE49-F238E27FC236}">
                  <a16:creationId xmlns:a16="http://schemas.microsoft.com/office/drawing/2014/main" id="{329A772F-C635-48E6-805D-05B7CF727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3543" y="5170890"/>
              <a:ext cx="138094" cy="259780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1" name="Freeform 99">
              <a:extLst>
                <a:ext uri="{FF2B5EF4-FFF2-40B4-BE49-F238E27FC236}">
                  <a16:creationId xmlns:a16="http://schemas.microsoft.com/office/drawing/2014/main" id="{BC81C74A-1B8E-4291-999C-EF1EECB92A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3543" y="5170890"/>
              <a:ext cx="138094" cy="259780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56A5138F-534F-4F53-B72D-C8C95A82E1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3543" y="5412896"/>
              <a:ext cx="310369" cy="120319"/>
            </a:xfrm>
            <a:custGeom>
              <a:avLst/>
              <a:gdLst>
                <a:gd name="T0" fmla="*/ 0 w 121"/>
                <a:gd name="T1" fmla="*/ 7 h 47"/>
                <a:gd name="T2" fmla="*/ 42 w 121"/>
                <a:gd name="T3" fmla="*/ 0 h 47"/>
                <a:gd name="T4" fmla="*/ 121 w 121"/>
                <a:gd name="T5" fmla="*/ 47 h 47"/>
                <a:gd name="T6" fmla="*/ 0 w 121"/>
                <a:gd name="T7" fmla="*/ 37 h 47"/>
                <a:gd name="T8" fmla="*/ 0 w 121"/>
                <a:gd name="T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47">
                  <a:moveTo>
                    <a:pt x="0" y="7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102" y="9"/>
                    <a:pt x="121" y="47"/>
                  </a:cubicBezTo>
                  <a:cubicBezTo>
                    <a:pt x="0" y="37"/>
                    <a:pt x="0" y="37"/>
                    <a:pt x="0" y="3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3" name="Freeform 101">
              <a:extLst>
                <a:ext uri="{FF2B5EF4-FFF2-40B4-BE49-F238E27FC236}">
                  <a16:creationId xmlns:a16="http://schemas.microsoft.com/office/drawing/2014/main" id="{D65A2142-7049-48B4-9F28-690B12D8C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7497" y="5436139"/>
              <a:ext cx="328143" cy="108014"/>
            </a:xfrm>
            <a:custGeom>
              <a:avLst/>
              <a:gdLst>
                <a:gd name="T0" fmla="*/ 45 w 128"/>
                <a:gd name="T1" fmla="*/ 1 h 42"/>
                <a:gd name="T2" fmla="*/ 128 w 128"/>
                <a:gd name="T3" fmla="*/ 42 h 42"/>
                <a:gd name="T4" fmla="*/ 0 w 128"/>
                <a:gd name="T5" fmla="*/ 31 h 42"/>
                <a:gd name="T6" fmla="*/ 4 w 128"/>
                <a:gd name="T7" fmla="*/ 1 h 42"/>
                <a:gd name="T8" fmla="*/ 42 w 12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42">
                  <a:moveTo>
                    <a:pt x="45" y="1"/>
                  </a:moveTo>
                  <a:cubicBezTo>
                    <a:pt x="45" y="1"/>
                    <a:pt x="102" y="2"/>
                    <a:pt x="128" y="4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4" name="Freeform 102">
              <a:extLst>
                <a:ext uri="{FF2B5EF4-FFF2-40B4-BE49-F238E27FC236}">
                  <a16:creationId xmlns:a16="http://schemas.microsoft.com/office/drawing/2014/main" id="{D27FD398-44D7-4AE6-B4E8-33DF0F63F2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3543" y="5507237"/>
              <a:ext cx="310369" cy="43752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  <a:gd name="T10" fmla="*/ 0 w 227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5" name="Freeform 103">
              <a:extLst>
                <a:ext uri="{FF2B5EF4-FFF2-40B4-BE49-F238E27FC236}">
                  <a16:creationId xmlns:a16="http://schemas.microsoft.com/office/drawing/2014/main" id="{F8D1C14A-AA08-4CE1-B128-9EFFCBB599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3543" y="5507237"/>
              <a:ext cx="310369" cy="43752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6" name="Freeform 104">
              <a:extLst>
                <a:ext uri="{FF2B5EF4-FFF2-40B4-BE49-F238E27FC236}">
                  <a16:creationId xmlns:a16="http://schemas.microsoft.com/office/drawing/2014/main" id="{2C7EB88F-D374-48C9-934D-8C800F834E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660" y="5515440"/>
              <a:ext cx="334979" cy="61527"/>
            </a:xfrm>
            <a:custGeom>
              <a:avLst/>
              <a:gdLst>
                <a:gd name="T0" fmla="*/ 245 w 245"/>
                <a:gd name="T1" fmla="*/ 21 h 45"/>
                <a:gd name="T2" fmla="*/ 245 w 245"/>
                <a:gd name="T3" fmla="*/ 45 h 45"/>
                <a:gd name="T4" fmla="*/ 0 w 245"/>
                <a:gd name="T5" fmla="*/ 26 h 45"/>
                <a:gd name="T6" fmla="*/ 5 w 245"/>
                <a:gd name="T7" fmla="*/ 0 h 45"/>
                <a:gd name="T8" fmla="*/ 245 w 245"/>
                <a:gd name="T9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45">
                  <a:moveTo>
                    <a:pt x="245" y="21"/>
                  </a:moveTo>
                  <a:lnTo>
                    <a:pt x="245" y="45"/>
                  </a:lnTo>
                  <a:lnTo>
                    <a:pt x="0" y="26"/>
                  </a:lnTo>
                  <a:lnTo>
                    <a:pt x="5" y="0"/>
                  </a:lnTo>
                  <a:lnTo>
                    <a:pt x="245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7" name="Freeform 105">
              <a:extLst>
                <a:ext uri="{FF2B5EF4-FFF2-40B4-BE49-F238E27FC236}">
                  <a16:creationId xmlns:a16="http://schemas.microsoft.com/office/drawing/2014/main" id="{A055DADE-B38E-4C5D-A7AA-AB7856C99C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81758" y="5438874"/>
              <a:ext cx="105280" cy="41018"/>
            </a:xfrm>
            <a:custGeom>
              <a:avLst/>
              <a:gdLst>
                <a:gd name="T0" fmla="*/ 4 w 41"/>
                <a:gd name="T1" fmla="*/ 15 h 16"/>
                <a:gd name="T2" fmla="*/ 4 w 41"/>
                <a:gd name="T3" fmla="*/ 15 h 16"/>
                <a:gd name="T4" fmla="*/ 39 w 41"/>
                <a:gd name="T5" fmla="*/ 4 h 16"/>
                <a:gd name="T6" fmla="*/ 41 w 41"/>
                <a:gd name="T7" fmla="*/ 2 h 16"/>
                <a:gd name="T8" fmla="*/ 39 w 41"/>
                <a:gd name="T9" fmla="*/ 0 h 16"/>
                <a:gd name="T10" fmla="*/ 1 w 41"/>
                <a:gd name="T11" fmla="*/ 12 h 16"/>
                <a:gd name="T12" fmla="*/ 1 w 41"/>
                <a:gd name="T13" fmla="*/ 15 h 16"/>
                <a:gd name="T14" fmla="*/ 4 w 41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6">
                  <a:moveTo>
                    <a:pt x="4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16" y="4"/>
                    <a:pt x="39" y="4"/>
                  </a:cubicBezTo>
                  <a:cubicBezTo>
                    <a:pt x="40" y="4"/>
                    <a:pt x="41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4" y="0"/>
                    <a:pt x="1" y="12"/>
                    <a:pt x="1" y="12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2" y="16"/>
                    <a:pt x="3" y="16"/>
                    <a:pt x="4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8" name="Freeform 106">
              <a:extLst>
                <a:ext uri="{FF2B5EF4-FFF2-40B4-BE49-F238E27FC236}">
                  <a16:creationId xmlns:a16="http://schemas.microsoft.com/office/drawing/2014/main" id="{E542A07F-030C-412D-8A67-CA2495945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7816" y="5453914"/>
              <a:ext cx="99810" cy="41018"/>
            </a:xfrm>
            <a:custGeom>
              <a:avLst/>
              <a:gdLst>
                <a:gd name="T0" fmla="*/ 4 w 39"/>
                <a:gd name="T1" fmla="*/ 16 h 16"/>
                <a:gd name="T2" fmla="*/ 4 w 39"/>
                <a:gd name="T3" fmla="*/ 15 h 16"/>
                <a:gd name="T4" fmla="*/ 37 w 39"/>
                <a:gd name="T5" fmla="*/ 4 h 16"/>
                <a:gd name="T6" fmla="*/ 39 w 39"/>
                <a:gd name="T7" fmla="*/ 2 h 16"/>
                <a:gd name="T8" fmla="*/ 37 w 39"/>
                <a:gd name="T9" fmla="*/ 0 h 16"/>
                <a:gd name="T10" fmla="*/ 13 w 39"/>
                <a:gd name="T11" fmla="*/ 6 h 16"/>
                <a:gd name="T12" fmla="*/ 2 w 39"/>
                <a:gd name="T13" fmla="*/ 12 h 16"/>
                <a:gd name="T14" fmla="*/ 1 w 39"/>
                <a:gd name="T15" fmla="*/ 15 h 16"/>
                <a:gd name="T16" fmla="*/ 4 w 3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6">
                  <a:moveTo>
                    <a:pt x="4" y="16"/>
                  </a:moveTo>
                  <a:cubicBezTo>
                    <a:pt x="4" y="16"/>
                    <a:pt x="4" y="15"/>
                    <a:pt x="4" y="15"/>
                  </a:cubicBezTo>
                  <a:cubicBezTo>
                    <a:pt x="8" y="13"/>
                    <a:pt x="23" y="5"/>
                    <a:pt x="37" y="4"/>
                  </a:cubicBezTo>
                  <a:cubicBezTo>
                    <a:pt x="38" y="4"/>
                    <a:pt x="39" y="3"/>
                    <a:pt x="39" y="2"/>
                  </a:cubicBezTo>
                  <a:cubicBezTo>
                    <a:pt x="39" y="1"/>
                    <a:pt x="38" y="0"/>
                    <a:pt x="37" y="0"/>
                  </a:cubicBezTo>
                  <a:cubicBezTo>
                    <a:pt x="28" y="0"/>
                    <a:pt x="20" y="4"/>
                    <a:pt x="13" y="6"/>
                  </a:cubicBezTo>
                  <a:cubicBezTo>
                    <a:pt x="6" y="9"/>
                    <a:pt x="2" y="12"/>
                    <a:pt x="2" y="12"/>
                  </a:cubicBezTo>
                  <a:cubicBezTo>
                    <a:pt x="1" y="13"/>
                    <a:pt x="0" y="14"/>
                    <a:pt x="1" y="15"/>
                  </a:cubicBezTo>
                  <a:cubicBezTo>
                    <a:pt x="2" y="16"/>
                    <a:pt x="3" y="16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9" name="Freeform 107">
              <a:extLst>
                <a:ext uri="{FF2B5EF4-FFF2-40B4-BE49-F238E27FC236}">
                  <a16:creationId xmlns:a16="http://schemas.microsoft.com/office/drawing/2014/main" id="{CB629D3A-6F84-4461-A1F4-3826875C5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0618" y="5423834"/>
              <a:ext cx="75200" cy="47855"/>
            </a:xfrm>
            <a:custGeom>
              <a:avLst/>
              <a:gdLst>
                <a:gd name="T0" fmla="*/ 4 w 29"/>
                <a:gd name="T1" fmla="*/ 17 h 19"/>
                <a:gd name="T2" fmla="*/ 4 w 29"/>
                <a:gd name="T3" fmla="*/ 17 h 19"/>
                <a:gd name="T4" fmla="*/ 4 w 29"/>
                <a:gd name="T5" fmla="*/ 18 h 19"/>
                <a:gd name="T6" fmla="*/ 4 w 29"/>
                <a:gd name="T7" fmla="*/ 17 h 19"/>
                <a:gd name="T8" fmla="*/ 4 w 29"/>
                <a:gd name="T9" fmla="*/ 17 h 19"/>
                <a:gd name="T10" fmla="*/ 4 w 29"/>
                <a:gd name="T11" fmla="*/ 18 h 19"/>
                <a:gd name="T12" fmla="*/ 9 w 29"/>
                <a:gd name="T13" fmla="*/ 12 h 19"/>
                <a:gd name="T14" fmla="*/ 27 w 29"/>
                <a:gd name="T15" fmla="*/ 4 h 19"/>
                <a:gd name="T16" fmla="*/ 29 w 29"/>
                <a:gd name="T17" fmla="*/ 1 h 19"/>
                <a:gd name="T18" fmla="*/ 26 w 29"/>
                <a:gd name="T19" fmla="*/ 0 h 19"/>
                <a:gd name="T20" fmla="*/ 6 w 29"/>
                <a:gd name="T21" fmla="*/ 9 h 19"/>
                <a:gd name="T22" fmla="*/ 1 w 29"/>
                <a:gd name="T23" fmla="*/ 16 h 19"/>
                <a:gd name="T24" fmla="*/ 2 w 29"/>
                <a:gd name="T25" fmla="*/ 19 h 19"/>
                <a:gd name="T26" fmla="*/ 4 w 29"/>
                <a:gd name="T2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9">
                  <a:moveTo>
                    <a:pt x="4" y="17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5" y="15"/>
                    <a:pt x="9" y="12"/>
                  </a:cubicBezTo>
                  <a:cubicBezTo>
                    <a:pt x="12" y="9"/>
                    <a:pt x="18" y="5"/>
                    <a:pt x="27" y="4"/>
                  </a:cubicBezTo>
                  <a:cubicBezTo>
                    <a:pt x="28" y="4"/>
                    <a:pt x="29" y="2"/>
                    <a:pt x="29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16" y="2"/>
                    <a:pt x="10" y="6"/>
                    <a:pt x="6" y="9"/>
                  </a:cubicBezTo>
                  <a:cubicBezTo>
                    <a:pt x="2" y="13"/>
                    <a:pt x="1" y="16"/>
                    <a:pt x="1" y="16"/>
                  </a:cubicBezTo>
                  <a:cubicBezTo>
                    <a:pt x="0" y="17"/>
                    <a:pt x="1" y="18"/>
                    <a:pt x="2" y="19"/>
                  </a:cubicBezTo>
                  <a:cubicBezTo>
                    <a:pt x="3" y="19"/>
                    <a:pt x="4" y="19"/>
                    <a:pt x="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0" name="Freeform 108">
              <a:extLst>
                <a:ext uri="{FF2B5EF4-FFF2-40B4-BE49-F238E27FC236}">
                  <a16:creationId xmlns:a16="http://schemas.microsoft.com/office/drawing/2014/main" id="{A4D19184-9515-486D-B2BD-A19C70565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8043" y="5444343"/>
              <a:ext cx="71098" cy="35549"/>
            </a:xfrm>
            <a:custGeom>
              <a:avLst/>
              <a:gdLst>
                <a:gd name="T0" fmla="*/ 4 w 28"/>
                <a:gd name="T1" fmla="*/ 13 h 14"/>
                <a:gd name="T2" fmla="*/ 4 w 28"/>
                <a:gd name="T3" fmla="*/ 13 h 14"/>
                <a:gd name="T4" fmla="*/ 4 w 28"/>
                <a:gd name="T5" fmla="*/ 13 h 14"/>
                <a:gd name="T6" fmla="*/ 4 w 28"/>
                <a:gd name="T7" fmla="*/ 13 h 14"/>
                <a:gd name="T8" fmla="*/ 4 w 28"/>
                <a:gd name="T9" fmla="*/ 13 h 14"/>
                <a:gd name="T10" fmla="*/ 4 w 28"/>
                <a:gd name="T11" fmla="*/ 13 h 14"/>
                <a:gd name="T12" fmla="*/ 26 w 28"/>
                <a:gd name="T13" fmla="*/ 4 h 14"/>
                <a:gd name="T14" fmla="*/ 28 w 28"/>
                <a:gd name="T15" fmla="*/ 2 h 14"/>
                <a:gd name="T16" fmla="*/ 26 w 28"/>
                <a:gd name="T17" fmla="*/ 0 h 14"/>
                <a:gd name="T18" fmla="*/ 1 w 28"/>
                <a:gd name="T19" fmla="*/ 11 h 14"/>
                <a:gd name="T20" fmla="*/ 1 w 28"/>
                <a:gd name="T21" fmla="*/ 13 h 14"/>
                <a:gd name="T22" fmla="*/ 4 w 28"/>
                <a:gd name="T2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4">
                  <a:moveTo>
                    <a:pt x="4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11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9" y="2"/>
                    <a:pt x="1" y="10"/>
                    <a:pt x="1" y="11"/>
                  </a:cubicBezTo>
                  <a:cubicBezTo>
                    <a:pt x="0" y="11"/>
                    <a:pt x="0" y="13"/>
                    <a:pt x="1" y="13"/>
                  </a:cubicBezTo>
                  <a:cubicBezTo>
                    <a:pt x="2" y="14"/>
                    <a:pt x="3" y="14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1" name="Freeform 109">
              <a:extLst>
                <a:ext uri="{FF2B5EF4-FFF2-40B4-BE49-F238E27FC236}">
                  <a16:creationId xmlns:a16="http://schemas.microsoft.com/office/drawing/2014/main" id="{F7C9FF0E-E04E-49B9-B788-80D0302498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3904" y="2203934"/>
              <a:ext cx="162704" cy="169540"/>
            </a:xfrm>
            <a:custGeom>
              <a:avLst/>
              <a:gdLst>
                <a:gd name="T0" fmla="*/ 39 w 64"/>
                <a:gd name="T1" fmla="*/ 0 h 66"/>
                <a:gd name="T2" fmla="*/ 0 w 64"/>
                <a:gd name="T3" fmla="*/ 52 h 66"/>
                <a:gd name="T4" fmla="*/ 25 w 64"/>
                <a:gd name="T5" fmla="*/ 60 h 66"/>
                <a:gd name="T6" fmla="*/ 32 w 64"/>
                <a:gd name="T7" fmla="*/ 47 h 66"/>
                <a:gd name="T8" fmla="*/ 32 w 64"/>
                <a:gd name="T9" fmla="*/ 60 h 66"/>
                <a:gd name="T10" fmla="*/ 63 w 64"/>
                <a:gd name="T11" fmla="*/ 66 h 66"/>
                <a:gd name="T12" fmla="*/ 64 w 64"/>
                <a:gd name="T13" fmla="*/ 49 h 66"/>
                <a:gd name="T14" fmla="*/ 39 w 64"/>
                <a:gd name="T1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39" y="0"/>
                  </a:moveTo>
                  <a:cubicBezTo>
                    <a:pt x="39" y="0"/>
                    <a:pt x="0" y="16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2" name="Freeform 110">
              <a:extLst>
                <a:ext uri="{FF2B5EF4-FFF2-40B4-BE49-F238E27FC236}">
                  <a16:creationId xmlns:a16="http://schemas.microsoft.com/office/drawing/2014/main" id="{5AAF1C14-C7C9-420B-A3DE-F3EB13818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2150" y="2623684"/>
              <a:ext cx="1756931" cy="2612836"/>
            </a:xfrm>
            <a:custGeom>
              <a:avLst/>
              <a:gdLst>
                <a:gd name="T0" fmla="*/ 686 w 686"/>
                <a:gd name="T1" fmla="*/ 67 h 1022"/>
                <a:gd name="T2" fmla="*/ 440 w 686"/>
                <a:gd name="T3" fmla="*/ 2 h 1022"/>
                <a:gd name="T4" fmla="*/ 85 w 686"/>
                <a:gd name="T5" fmla="*/ 156 h 1022"/>
                <a:gd name="T6" fmla="*/ 71 w 686"/>
                <a:gd name="T7" fmla="*/ 432 h 1022"/>
                <a:gd name="T8" fmla="*/ 235 w 686"/>
                <a:gd name="T9" fmla="*/ 486 h 1022"/>
                <a:gd name="T10" fmla="*/ 137 w 686"/>
                <a:gd name="T11" fmla="*/ 895 h 1022"/>
                <a:gd name="T12" fmla="*/ 464 w 686"/>
                <a:gd name="T13" fmla="*/ 1003 h 1022"/>
                <a:gd name="T14" fmla="*/ 669 w 686"/>
                <a:gd name="T15" fmla="*/ 944 h 1022"/>
                <a:gd name="T16" fmla="*/ 686 w 686"/>
                <a:gd name="T17" fmla="*/ 67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022">
                  <a:moveTo>
                    <a:pt x="686" y="67"/>
                  </a:moveTo>
                  <a:cubicBezTo>
                    <a:pt x="686" y="67"/>
                    <a:pt x="588" y="3"/>
                    <a:pt x="440" y="2"/>
                  </a:cubicBezTo>
                  <a:cubicBezTo>
                    <a:pt x="292" y="0"/>
                    <a:pt x="146" y="67"/>
                    <a:pt x="85" y="156"/>
                  </a:cubicBezTo>
                  <a:cubicBezTo>
                    <a:pt x="25" y="244"/>
                    <a:pt x="0" y="359"/>
                    <a:pt x="71" y="432"/>
                  </a:cubicBezTo>
                  <a:cubicBezTo>
                    <a:pt x="142" y="504"/>
                    <a:pt x="235" y="486"/>
                    <a:pt x="235" y="486"/>
                  </a:cubicBezTo>
                  <a:cubicBezTo>
                    <a:pt x="137" y="895"/>
                    <a:pt x="137" y="895"/>
                    <a:pt x="137" y="895"/>
                  </a:cubicBezTo>
                  <a:cubicBezTo>
                    <a:pt x="137" y="895"/>
                    <a:pt x="276" y="1022"/>
                    <a:pt x="464" y="1003"/>
                  </a:cubicBezTo>
                  <a:cubicBezTo>
                    <a:pt x="653" y="985"/>
                    <a:pt x="669" y="944"/>
                    <a:pt x="669" y="944"/>
                  </a:cubicBezTo>
                  <a:cubicBezTo>
                    <a:pt x="686" y="67"/>
                    <a:pt x="686" y="67"/>
                    <a:pt x="686" y="67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3" name="Freeform 111">
              <a:extLst>
                <a:ext uri="{FF2B5EF4-FFF2-40B4-BE49-F238E27FC236}">
                  <a16:creationId xmlns:a16="http://schemas.microsoft.com/office/drawing/2014/main" id="{CF725E0C-5F10-4DA1-BF75-DD4A82BD5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1640" y="2744003"/>
              <a:ext cx="768401" cy="1167641"/>
            </a:xfrm>
            <a:custGeom>
              <a:avLst/>
              <a:gdLst>
                <a:gd name="T0" fmla="*/ 189 w 300"/>
                <a:gd name="T1" fmla="*/ 169 h 457"/>
                <a:gd name="T2" fmla="*/ 232 w 300"/>
                <a:gd name="T3" fmla="*/ 0 h 457"/>
                <a:gd name="T4" fmla="*/ 84 w 300"/>
                <a:gd name="T5" fmla="*/ 404 h 457"/>
                <a:gd name="T6" fmla="*/ 257 w 300"/>
                <a:gd name="T7" fmla="*/ 436 h 457"/>
                <a:gd name="T8" fmla="*/ 300 w 300"/>
                <a:gd name="T9" fmla="*/ 152 h 457"/>
                <a:gd name="T10" fmla="*/ 189 w 300"/>
                <a:gd name="T11" fmla="*/ 16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457">
                  <a:moveTo>
                    <a:pt x="189" y="169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109"/>
                    <a:pt x="2" y="318"/>
                    <a:pt x="84" y="404"/>
                  </a:cubicBezTo>
                  <a:cubicBezTo>
                    <a:pt x="133" y="457"/>
                    <a:pt x="207" y="450"/>
                    <a:pt x="257" y="436"/>
                  </a:cubicBezTo>
                  <a:cubicBezTo>
                    <a:pt x="300" y="152"/>
                    <a:pt x="300" y="152"/>
                    <a:pt x="300" y="152"/>
                  </a:cubicBezTo>
                  <a:cubicBezTo>
                    <a:pt x="189" y="169"/>
                    <a:pt x="189" y="169"/>
                    <a:pt x="189" y="169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4" name="Freeform 112">
              <a:extLst>
                <a:ext uri="{FF2B5EF4-FFF2-40B4-BE49-F238E27FC236}">
                  <a16:creationId xmlns:a16="http://schemas.microsoft.com/office/drawing/2014/main" id="{8B98F010-BD45-48C3-87F7-2EB7B38CB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660" y="3119999"/>
              <a:ext cx="188682" cy="738321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56 w 74"/>
                <a:gd name="T7" fmla="*/ 268 h 289"/>
                <a:gd name="T8" fmla="*/ 74 w 74"/>
                <a:gd name="T9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262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5" name="Freeform 113">
              <a:extLst>
                <a:ext uri="{FF2B5EF4-FFF2-40B4-BE49-F238E27FC236}">
                  <a16:creationId xmlns:a16="http://schemas.microsoft.com/office/drawing/2014/main" id="{B1AC102D-AEBA-4523-9240-C2E861D28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4303" y="3119999"/>
              <a:ext cx="151766" cy="224231"/>
            </a:xfrm>
            <a:custGeom>
              <a:avLst/>
              <a:gdLst>
                <a:gd name="T0" fmla="*/ 5 w 59"/>
                <a:gd name="T1" fmla="*/ 15 h 88"/>
                <a:gd name="T2" fmla="*/ 22 w 59"/>
                <a:gd name="T3" fmla="*/ 0 h 88"/>
                <a:gd name="T4" fmla="*/ 21 w 59"/>
                <a:gd name="T5" fmla="*/ 15 h 88"/>
                <a:gd name="T6" fmla="*/ 52 w 59"/>
                <a:gd name="T7" fmla="*/ 7 h 88"/>
                <a:gd name="T8" fmla="*/ 59 w 59"/>
                <a:gd name="T9" fmla="*/ 23 h 88"/>
                <a:gd name="T10" fmla="*/ 57 w 59"/>
                <a:gd name="T11" fmla="*/ 65 h 88"/>
                <a:gd name="T12" fmla="*/ 49 w 59"/>
                <a:gd name="T13" fmla="*/ 72 h 88"/>
                <a:gd name="T14" fmla="*/ 0 w 59"/>
                <a:gd name="T15" fmla="*/ 88 h 88"/>
                <a:gd name="T16" fmla="*/ 5 w 59"/>
                <a:gd name="T17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8">
                  <a:moveTo>
                    <a:pt x="5" y="15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8" y="6"/>
                    <a:pt x="59" y="23"/>
                  </a:cubicBezTo>
                  <a:cubicBezTo>
                    <a:pt x="59" y="41"/>
                    <a:pt x="57" y="65"/>
                    <a:pt x="57" y="65"/>
                  </a:cubicBezTo>
                  <a:cubicBezTo>
                    <a:pt x="57" y="65"/>
                    <a:pt x="56" y="69"/>
                    <a:pt x="49" y="72"/>
                  </a:cubicBezTo>
                  <a:cubicBezTo>
                    <a:pt x="42" y="75"/>
                    <a:pt x="0" y="88"/>
                    <a:pt x="0" y="88"/>
                  </a:cubicBezTo>
                  <a:cubicBezTo>
                    <a:pt x="5" y="15"/>
                    <a:pt x="5" y="15"/>
                    <a:pt x="5" y="15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6" name="Freeform 114">
              <a:extLst>
                <a:ext uri="{FF2B5EF4-FFF2-40B4-BE49-F238E27FC236}">
                  <a16:creationId xmlns:a16="http://schemas.microsoft.com/office/drawing/2014/main" id="{AE81CB3A-0D66-4407-A69E-157C9AC406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6608" y="2324253"/>
              <a:ext cx="339081" cy="484010"/>
            </a:xfrm>
            <a:custGeom>
              <a:avLst/>
              <a:gdLst>
                <a:gd name="T0" fmla="*/ 0 w 132"/>
                <a:gd name="T1" fmla="*/ 0 h 189"/>
                <a:gd name="T2" fmla="*/ 0 w 132"/>
                <a:gd name="T3" fmla="*/ 132 h 189"/>
                <a:gd name="T4" fmla="*/ 100 w 132"/>
                <a:gd name="T5" fmla="*/ 189 h 189"/>
                <a:gd name="T6" fmla="*/ 132 w 132"/>
                <a:gd name="T7" fmla="*/ 124 h 189"/>
                <a:gd name="T8" fmla="*/ 81 w 132"/>
                <a:gd name="T9" fmla="*/ 17 h 189"/>
                <a:gd name="T10" fmla="*/ 0 w 132"/>
                <a:gd name="T1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89">
                  <a:moveTo>
                    <a:pt x="0" y="0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00" y="189"/>
                    <a:pt x="100" y="189"/>
                  </a:cubicBezTo>
                  <a:cubicBezTo>
                    <a:pt x="101" y="188"/>
                    <a:pt x="132" y="124"/>
                    <a:pt x="132" y="124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7" name="Freeform 115">
              <a:extLst>
                <a:ext uri="{FF2B5EF4-FFF2-40B4-BE49-F238E27FC236}">
                  <a16:creationId xmlns:a16="http://schemas.microsoft.com/office/drawing/2014/main" id="{F572F7BD-E651-4581-8AD8-E176AAB5E2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6798" y="2127368"/>
              <a:ext cx="384201" cy="299431"/>
            </a:xfrm>
            <a:custGeom>
              <a:avLst/>
              <a:gdLst>
                <a:gd name="T0" fmla="*/ 27 w 150"/>
                <a:gd name="T1" fmla="*/ 56 h 117"/>
                <a:gd name="T2" fmla="*/ 9 w 150"/>
                <a:gd name="T3" fmla="*/ 52 h 117"/>
                <a:gd name="T4" fmla="*/ 27 w 150"/>
                <a:gd name="T5" fmla="*/ 78 h 117"/>
                <a:gd name="T6" fmla="*/ 37 w 150"/>
                <a:gd name="T7" fmla="*/ 74 h 117"/>
                <a:gd name="T8" fmla="*/ 53 w 150"/>
                <a:gd name="T9" fmla="*/ 103 h 117"/>
                <a:gd name="T10" fmla="*/ 96 w 150"/>
                <a:gd name="T11" fmla="*/ 106 h 117"/>
                <a:gd name="T12" fmla="*/ 135 w 150"/>
                <a:gd name="T13" fmla="*/ 53 h 117"/>
                <a:gd name="T14" fmla="*/ 77 w 150"/>
                <a:gd name="T15" fmla="*/ 0 h 117"/>
                <a:gd name="T16" fmla="*/ 14 w 150"/>
                <a:gd name="T17" fmla="*/ 30 h 117"/>
                <a:gd name="T18" fmla="*/ 27 w 150"/>
                <a:gd name="T19" fmla="*/ 5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17">
                  <a:moveTo>
                    <a:pt x="27" y="56"/>
                  </a:moveTo>
                  <a:cubicBezTo>
                    <a:pt x="27" y="56"/>
                    <a:pt x="18" y="44"/>
                    <a:pt x="9" y="52"/>
                  </a:cubicBezTo>
                  <a:cubicBezTo>
                    <a:pt x="0" y="60"/>
                    <a:pt x="16" y="83"/>
                    <a:pt x="27" y="78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3"/>
                    <a:pt x="68" y="117"/>
                    <a:pt x="96" y="106"/>
                  </a:cubicBezTo>
                  <a:cubicBezTo>
                    <a:pt x="124" y="95"/>
                    <a:pt x="150" y="77"/>
                    <a:pt x="135" y="53"/>
                  </a:cubicBezTo>
                  <a:cubicBezTo>
                    <a:pt x="120" y="30"/>
                    <a:pt x="77" y="0"/>
                    <a:pt x="77" y="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7" y="56"/>
                    <a:pt x="27" y="56"/>
                    <a:pt x="27" y="56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8" name="Freeform 116">
              <a:extLst>
                <a:ext uri="{FF2B5EF4-FFF2-40B4-BE49-F238E27FC236}">
                  <a16:creationId xmlns:a16="http://schemas.microsoft.com/office/drawing/2014/main" id="{988DDA70-6659-462C-B64A-860EA62320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7625" y="2906706"/>
              <a:ext cx="84770" cy="251576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9" name="Freeform 117">
              <a:extLst>
                <a:ext uri="{FF2B5EF4-FFF2-40B4-BE49-F238E27FC236}">
                  <a16:creationId xmlns:a16="http://schemas.microsoft.com/office/drawing/2014/main" id="{EA93F3F4-929A-477A-8552-A90FCDDE0C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7625" y="2906706"/>
              <a:ext cx="84770" cy="251576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0" name="Freeform 118">
              <a:extLst>
                <a:ext uri="{FF2B5EF4-FFF2-40B4-BE49-F238E27FC236}">
                  <a16:creationId xmlns:a16="http://schemas.microsoft.com/office/drawing/2014/main" id="{E85C24E8-C055-44BC-AB83-D3B9CC5197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3305947"/>
              <a:ext cx="91607" cy="311735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1" name="Freeform 119">
              <a:extLst>
                <a:ext uri="{FF2B5EF4-FFF2-40B4-BE49-F238E27FC236}">
                  <a16:creationId xmlns:a16="http://schemas.microsoft.com/office/drawing/2014/main" id="{7AA40FBE-736E-46C7-AE73-4369D2E4C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3305947"/>
              <a:ext cx="91607" cy="311735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2" name="Freeform 120">
              <a:extLst>
                <a:ext uri="{FF2B5EF4-FFF2-40B4-BE49-F238E27FC236}">
                  <a16:creationId xmlns:a16="http://schemas.microsoft.com/office/drawing/2014/main" id="{41AE1996-ED2B-4268-8F5D-E8F7217187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6259" y="3119999"/>
              <a:ext cx="71098" cy="38283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3" name="Freeform 121">
              <a:extLst>
                <a:ext uri="{FF2B5EF4-FFF2-40B4-BE49-F238E27FC236}">
                  <a16:creationId xmlns:a16="http://schemas.microsoft.com/office/drawing/2014/main" id="{F69B26A5-E02B-45A8-96C0-4190FE6EB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6259" y="3119999"/>
              <a:ext cx="71098" cy="38283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4" name="Oval 122">
              <a:extLst>
                <a:ext uri="{FF2B5EF4-FFF2-40B4-BE49-F238E27FC236}">
                  <a16:creationId xmlns:a16="http://schemas.microsoft.com/office/drawing/2014/main" id="{73853887-85B4-4C79-9BF4-9364D1F889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7625" y="2191629"/>
              <a:ext cx="19142" cy="17775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5" name="Oval 123">
              <a:extLst>
                <a:ext uri="{FF2B5EF4-FFF2-40B4-BE49-F238E27FC236}">
                  <a16:creationId xmlns:a16="http://schemas.microsoft.com/office/drawing/2014/main" id="{F2EE3147-71DC-446C-86F4-78F02BC86A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96418" y="2153346"/>
              <a:ext cx="19142" cy="17775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6" name="Freeform 124">
              <a:extLst>
                <a:ext uri="{FF2B5EF4-FFF2-40B4-BE49-F238E27FC236}">
                  <a16:creationId xmlns:a16="http://schemas.microsoft.com/office/drawing/2014/main" id="{97387858-4A7D-46EC-8A21-072FDF268C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72275" cy="79301"/>
            </a:xfrm>
            <a:custGeom>
              <a:avLst/>
              <a:gdLst>
                <a:gd name="T0" fmla="*/ 0 w 67"/>
                <a:gd name="T1" fmla="*/ 0 h 31"/>
                <a:gd name="T2" fmla="*/ 67 w 67"/>
                <a:gd name="T3" fmla="*/ 10 h 31"/>
                <a:gd name="T4" fmla="*/ 30 w 67"/>
                <a:gd name="T5" fmla="*/ 23 h 31"/>
                <a:gd name="T6" fmla="*/ 0 w 67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31">
                  <a:moveTo>
                    <a:pt x="0" y="0"/>
                  </a:move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59" y="31"/>
                    <a:pt x="30" y="23"/>
                  </a:cubicBezTo>
                  <a:cubicBezTo>
                    <a:pt x="2" y="15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7" name="Freeform 125">
              <a:extLst>
                <a:ext uri="{FF2B5EF4-FFF2-40B4-BE49-F238E27FC236}">
                  <a16:creationId xmlns:a16="http://schemas.microsoft.com/office/drawing/2014/main" id="{D4A75F59-D820-4428-98A1-EFD8C9588C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2244952"/>
              <a:ext cx="20509" cy="20509"/>
            </a:xfrm>
            <a:custGeom>
              <a:avLst/>
              <a:gdLst>
                <a:gd name="T0" fmla="*/ 6 w 8"/>
                <a:gd name="T1" fmla="*/ 0 h 8"/>
                <a:gd name="T2" fmla="*/ 0 w 8"/>
                <a:gd name="T3" fmla="*/ 6 h 8"/>
                <a:gd name="T4" fmla="*/ 0 w 8"/>
                <a:gd name="T5" fmla="*/ 7 h 8"/>
                <a:gd name="T6" fmla="*/ 2 w 8"/>
                <a:gd name="T7" fmla="*/ 7 h 8"/>
                <a:gd name="T8" fmla="*/ 7 w 8"/>
                <a:gd name="T9" fmla="*/ 1 h 8"/>
                <a:gd name="T10" fmla="*/ 7 w 8"/>
                <a:gd name="T11" fmla="*/ 0 h 8"/>
                <a:gd name="T12" fmla="*/ 6 w 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6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8"/>
                    <a:pt x="1" y="8"/>
                    <a:pt x="2" y="7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8" name="Freeform 126">
              <a:extLst>
                <a:ext uri="{FF2B5EF4-FFF2-40B4-BE49-F238E27FC236}">
                  <a16:creationId xmlns:a16="http://schemas.microsoft.com/office/drawing/2014/main" id="{06829DF4-A84D-4DFE-91B3-3CBCDB069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75009" cy="82036"/>
            </a:xfrm>
            <a:custGeom>
              <a:avLst/>
              <a:gdLst>
                <a:gd name="T0" fmla="*/ 0 w 68"/>
                <a:gd name="T1" fmla="*/ 0 h 32"/>
                <a:gd name="T2" fmla="*/ 68 w 68"/>
                <a:gd name="T3" fmla="*/ 10 h 32"/>
                <a:gd name="T4" fmla="*/ 29 w 68"/>
                <a:gd name="T5" fmla="*/ 22 h 32"/>
                <a:gd name="T6" fmla="*/ 0 w 68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32">
                  <a:moveTo>
                    <a:pt x="0" y="0"/>
                  </a:moveTo>
                  <a:cubicBezTo>
                    <a:pt x="68" y="10"/>
                    <a:pt x="68" y="10"/>
                    <a:pt x="68" y="10"/>
                  </a:cubicBezTo>
                  <a:cubicBezTo>
                    <a:pt x="68" y="10"/>
                    <a:pt x="53" y="32"/>
                    <a:pt x="29" y="22"/>
                  </a:cubicBezTo>
                  <a:cubicBezTo>
                    <a:pt x="4" y="13"/>
                    <a:pt x="1" y="5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9" name="Freeform 127">
              <a:extLst>
                <a:ext uri="{FF2B5EF4-FFF2-40B4-BE49-F238E27FC236}">
                  <a16:creationId xmlns:a16="http://schemas.microsoft.com/office/drawing/2014/main" id="{CFAFC219-F8D8-4D11-987C-D16114113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3923" y="2276400"/>
              <a:ext cx="10938" cy="12306"/>
            </a:xfrm>
            <a:custGeom>
              <a:avLst/>
              <a:gdLst>
                <a:gd name="T0" fmla="*/ 0 w 8"/>
                <a:gd name="T1" fmla="*/ 0 h 9"/>
                <a:gd name="T2" fmla="*/ 4 w 8"/>
                <a:gd name="T3" fmla="*/ 9 h 9"/>
                <a:gd name="T4" fmla="*/ 8 w 8"/>
                <a:gd name="T5" fmla="*/ 1 h 9"/>
                <a:gd name="T6" fmla="*/ 0 w 8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lnTo>
                    <a:pt x="4" y="9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0" name="Freeform 128">
              <a:extLst>
                <a:ext uri="{FF2B5EF4-FFF2-40B4-BE49-F238E27FC236}">
                  <a16:creationId xmlns:a16="http://schemas.microsoft.com/office/drawing/2014/main" id="{F3A4F9A5-5A18-47F2-9C46-AF9520CBA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0938" cy="9571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1" name="Freeform 129">
              <a:extLst>
                <a:ext uri="{FF2B5EF4-FFF2-40B4-BE49-F238E27FC236}">
                  <a16:creationId xmlns:a16="http://schemas.microsoft.com/office/drawing/2014/main" id="{9184452A-8B1B-4233-BC8F-7D459A2DE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0938" cy="9571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2" name="Freeform 130">
              <a:extLst>
                <a:ext uri="{FF2B5EF4-FFF2-40B4-BE49-F238E27FC236}">
                  <a16:creationId xmlns:a16="http://schemas.microsoft.com/office/drawing/2014/main" id="{47C6F134-75C5-486B-AAFD-ECAF4A8A0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5560" y="2197098"/>
              <a:ext cx="27345" cy="39651"/>
            </a:xfrm>
            <a:custGeom>
              <a:avLst/>
              <a:gdLst>
                <a:gd name="T0" fmla="*/ 0 w 11"/>
                <a:gd name="T1" fmla="*/ 4 h 16"/>
                <a:gd name="T2" fmla="*/ 4 w 11"/>
                <a:gd name="T3" fmla="*/ 16 h 16"/>
                <a:gd name="T4" fmla="*/ 11 w 11"/>
                <a:gd name="T5" fmla="*/ 11 h 16"/>
                <a:gd name="T6" fmla="*/ 0 w 11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0" y="4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10" y="16"/>
                    <a:pt x="11" y="11"/>
                  </a:cubicBezTo>
                  <a:cubicBezTo>
                    <a:pt x="11" y="5"/>
                    <a:pt x="6" y="0"/>
                    <a:pt x="0" y="4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3" name="Freeform 131">
              <a:extLst>
                <a:ext uri="{FF2B5EF4-FFF2-40B4-BE49-F238E27FC236}">
                  <a16:creationId xmlns:a16="http://schemas.microsoft.com/office/drawing/2014/main" id="{6B46C975-B24A-4F73-9F06-740E8E7982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7356" y="2201200"/>
              <a:ext cx="41018" cy="38283"/>
            </a:xfrm>
            <a:custGeom>
              <a:avLst/>
              <a:gdLst>
                <a:gd name="T0" fmla="*/ 1 w 16"/>
                <a:gd name="T1" fmla="*/ 4 h 15"/>
                <a:gd name="T2" fmla="*/ 2 w 16"/>
                <a:gd name="T3" fmla="*/ 4 h 15"/>
                <a:gd name="T4" fmla="*/ 7 w 16"/>
                <a:gd name="T5" fmla="*/ 2 h 15"/>
                <a:gd name="T6" fmla="*/ 12 w 16"/>
                <a:gd name="T7" fmla="*/ 4 h 15"/>
                <a:gd name="T8" fmla="*/ 14 w 16"/>
                <a:gd name="T9" fmla="*/ 8 h 15"/>
                <a:gd name="T10" fmla="*/ 7 w 16"/>
                <a:gd name="T11" fmla="*/ 13 h 15"/>
                <a:gd name="T12" fmla="*/ 5 w 16"/>
                <a:gd name="T13" fmla="*/ 13 h 15"/>
                <a:gd name="T14" fmla="*/ 4 w 16"/>
                <a:gd name="T15" fmla="*/ 14 h 15"/>
                <a:gd name="T16" fmla="*/ 5 w 16"/>
                <a:gd name="T17" fmla="*/ 15 h 15"/>
                <a:gd name="T18" fmla="*/ 7 w 16"/>
                <a:gd name="T19" fmla="*/ 15 h 15"/>
                <a:gd name="T20" fmla="*/ 13 w 16"/>
                <a:gd name="T21" fmla="*/ 13 h 15"/>
                <a:gd name="T22" fmla="*/ 16 w 16"/>
                <a:gd name="T23" fmla="*/ 8 h 15"/>
                <a:gd name="T24" fmla="*/ 13 w 16"/>
                <a:gd name="T25" fmla="*/ 2 h 15"/>
                <a:gd name="T26" fmla="*/ 7 w 16"/>
                <a:gd name="T27" fmla="*/ 0 h 15"/>
                <a:gd name="T28" fmla="*/ 0 w 16"/>
                <a:gd name="T29" fmla="*/ 2 h 15"/>
                <a:gd name="T30" fmla="*/ 0 w 16"/>
                <a:gd name="T31" fmla="*/ 3 h 15"/>
                <a:gd name="T32" fmla="*/ 1 w 16"/>
                <a:gd name="T3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5">
                  <a:moveTo>
                    <a:pt x="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5" y="2"/>
                    <a:pt x="7" y="2"/>
                  </a:cubicBezTo>
                  <a:cubicBezTo>
                    <a:pt x="9" y="2"/>
                    <a:pt x="10" y="2"/>
                    <a:pt x="12" y="4"/>
                  </a:cubicBezTo>
                  <a:cubicBezTo>
                    <a:pt x="13" y="5"/>
                    <a:pt x="14" y="6"/>
                    <a:pt x="14" y="8"/>
                  </a:cubicBezTo>
                  <a:cubicBezTo>
                    <a:pt x="14" y="10"/>
                    <a:pt x="11" y="13"/>
                    <a:pt x="7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5"/>
                    <a:pt x="6" y="15"/>
                    <a:pt x="7" y="15"/>
                  </a:cubicBezTo>
                  <a:cubicBezTo>
                    <a:pt x="9" y="15"/>
                    <a:pt x="12" y="14"/>
                    <a:pt x="13" y="13"/>
                  </a:cubicBezTo>
                  <a:cubicBezTo>
                    <a:pt x="15" y="12"/>
                    <a:pt x="16" y="10"/>
                    <a:pt x="16" y="8"/>
                  </a:cubicBezTo>
                  <a:cubicBezTo>
                    <a:pt x="16" y="6"/>
                    <a:pt x="15" y="4"/>
                    <a:pt x="13" y="2"/>
                  </a:cubicBezTo>
                  <a:cubicBezTo>
                    <a:pt x="11" y="0"/>
                    <a:pt x="9" y="0"/>
                    <a:pt x="7" y="0"/>
                  </a:cubicBezTo>
                  <a:cubicBezTo>
                    <a:pt x="3" y="0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4" name="Freeform 132">
              <a:extLst>
                <a:ext uri="{FF2B5EF4-FFF2-40B4-BE49-F238E27FC236}">
                  <a16:creationId xmlns:a16="http://schemas.microsoft.com/office/drawing/2014/main" id="{DC635817-08BE-42A2-95AD-BE5802BC18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267" y="2239483"/>
              <a:ext cx="90239" cy="95708"/>
            </a:xfrm>
            <a:custGeom>
              <a:avLst/>
              <a:gdLst>
                <a:gd name="T0" fmla="*/ 24 w 35"/>
                <a:gd name="T1" fmla="*/ 11 h 37"/>
                <a:gd name="T2" fmla="*/ 35 w 35"/>
                <a:gd name="T3" fmla="*/ 30 h 37"/>
                <a:gd name="T4" fmla="*/ 19 w 35"/>
                <a:gd name="T5" fmla="*/ 34 h 37"/>
                <a:gd name="T6" fmla="*/ 6 w 35"/>
                <a:gd name="T7" fmla="*/ 7 h 37"/>
                <a:gd name="T8" fmla="*/ 24 w 35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24" y="11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0" y="37"/>
                    <a:pt x="19" y="34"/>
                  </a:cubicBezTo>
                  <a:cubicBezTo>
                    <a:pt x="8" y="31"/>
                    <a:pt x="0" y="14"/>
                    <a:pt x="6" y="7"/>
                  </a:cubicBezTo>
                  <a:cubicBezTo>
                    <a:pt x="12" y="0"/>
                    <a:pt x="22" y="8"/>
                    <a:pt x="24" y="11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5" name="Freeform 133">
              <a:extLst>
                <a:ext uri="{FF2B5EF4-FFF2-40B4-BE49-F238E27FC236}">
                  <a16:creationId xmlns:a16="http://schemas.microsoft.com/office/drawing/2014/main" id="{4EB70315-4FB7-4410-8D36-21DF72D0C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8245" y="2142408"/>
              <a:ext cx="132625" cy="120319"/>
            </a:xfrm>
            <a:custGeom>
              <a:avLst/>
              <a:gdLst>
                <a:gd name="T0" fmla="*/ 52 w 52"/>
                <a:gd name="T1" fmla="*/ 0 h 47"/>
                <a:gd name="T2" fmla="*/ 13 w 52"/>
                <a:gd name="T3" fmla="*/ 47 h 47"/>
                <a:gd name="T4" fmla="*/ 0 w 52"/>
                <a:gd name="T5" fmla="*/ 24 h 47"/>
                <a:gd name="T6" fmla="*/ 52 w 52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7">
                  <a:moveTo>
                    <a:pt x="52" y="0"/>
                  </a:moveTo>
                  <a:cubicBezTo>
                    <a:pt x="52" y="0"/>
                    <a:pt x="32" y="42"/>
                    <a:pt x="13" y="4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6" name="Freeform 134">
              <a:extLst>
                <a:ext uri="{FF2B5EF4-FFF2-40B4-BE49-F238E27FC236}">
                  <a16:creationId xmlns:a16="http://schemas.microsoft.com/office/drawing/2014/main" id="{DD13EC44-6B93-4CD8-8C99-38885368C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135" y="2127368"/>
              <a:ext cx="69731" cy="25978"/>
            </a:xfrm>
            <a:custGeom>
              <a:avLst/>
              <a:gdLst>
                <a:gd name="T0" fmla="*/ 0 w 51"/>
                <a:gd name="T1" fmla="*/ 15 h 19"/>
                <a:gd name="T2" fmla="*/ 51 w 51"/>
                <a:gd name="T3" fmla="*/ 19 h 19"/>
                <a:gd name="T4" fmla="*/ 27 w 51"/>
                <a:gd name="T5" fmla="*/ 0 h 19"/>
                <a:gd name="T6" fmla="*/ 0 w 51"/>
                <a:gd name="T7" fmla="*/ 11 h 19"/>
                <a:gd name="T8" fmla="*/ 0 w 51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9">
                  <a:moveTo>
                    <a:pt x="0" y="15"/>
                  </a:moveTo>
                  <a:lnTo>
                    <a:pt x="51" y="19"/>
                  </a:lnTo>
                  <a:lnTo>
                    <a:pt x="27" y="0"/>
                  </a:lnTo>
                  <a:lnTo>
                    <a:pt x="0" y="11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7" name="Freeform 135">
              <a:extLst>
                <a:ext uri="{FF2B5EF4-FFF2-40B4-BE49-F238E27FC236}">
                  <a16:creationId xmlns:a16="http://schemas.microsoft.com/office/drawing/2014/main" id="{8FB4D16F-C2BD-4E73-B381-2946070B01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6908" y="1966031"/>
              <a:ext cx="417015" cy="237903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8" name="Freeform 136">
              <a:extLst>
                <a:ext uri="{FF2B5EF4-FFF2-40B4-BE49-F238E27FC236}">
                  <a16:creationId xmlns:a16="http://schemas.microsoft.com/office/drawing/2014/main" id="{699CCCF3-F06F-481A-811D-F4039CD42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6908" y="1966031"/>
              <a:ext cx="417015" cy="237903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9" name="Freeform 137">
              <a:extLst>
                <a:ext uri="{FF2B5EF4-FFF2-40B4-BE49-F238E27FC236}">
                  <a16:creationId xmlns:a16="http://schemas.microsoft.com/office/drawing/2014/main" id="{07CADB2A-873C-47B2-9EA6-877AA86C21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1617" y="1966031"/>
              <a:ext cx="50589" cy="210558"/>
            </a:xfrm>
            <a:custGeom>
              <a:avLst/>
              <a:gdLst>
                <a:gd name="T0" fmla="*/ 0 w 37"/>
                <a:gd name="T1" fmla="*/ 0 h 154"/>
                <a:gd name="T2" fmla="*/ 2 w 37"/>
                <a:gd name="T3" fmla="*/ 154 h 154"/>
                <a:gd name="T4" fmla="*/ 15 w 37"/>
                <a:gd name="T5" fmla="*/ 148 h 154"/>
                <a:gd name="T6" fmla="*/ 11 w 37"/>
                <a:gd name="T7" fmla="*/ 124 h 154"/>
                <a:gd name="T8" fmla="*/ 20 w 37"/>
                <a:gd name="T9" fmla="*/ 148 h 154"/>
                <a:gd name="T10" fmla="*/ 37 w 37"/>
                <a:gd name="T11" fmla="*/ 146 h 154"/>
                <a:gd name="T12" fmla="*/ 0 w 37"/>
                <a:gd name="T1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54">
                  <a:moveTo>
                    <a:pt x="0" y="0"/>
                  </a:moveTo>
                  <a:lnTo>
                    <a:pt x="2" y="154"/>
                  </a:lnTo>
                  <a:lnTo>
                    <a:pt x="15" y="148"/>
                  </a:lnTo>
                  <a:lnTo>
                    <a:pt x="11" y="124"/>
                  </a:lnTo>
                  <a:lnTo>
                    <a:pt x="20" y="148"/>
                  </a:lnTo>
                  <a:lnTo>
                    <a:pt x="37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0" name="Freeform 138">
              <a:extLst>
                <a:ext uri="{FF2B5EF4-FFF2-40B4-BE49-F238E27FC236}">
                  <a16:creationId xmlns:a16="http://schemas.microsoft.com/office/drawing/2014/main" id="{8573F5FE-5F64-49B6-A91B-0E64D585CA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62199" y="2045332"/>
              <a:ext cx="1050056" cy="3165209"/>
            </a:xfrm>
            <a:custGeom>
              <a:avLst/>
              <a:gdLst>
                <a:gd name="T0" fmla="*/ 387 w 410"/>
                <a:gd name="T1" fmla="*/ 1230 h 1238"/>
                <a:gd name="T2" fmla="*/ 410 w 410"/>
                <a:gd name="T3" fmla="*/ 1227 h 1238"/>
                <a:gd name="T4" fmla="*/ 409 w 410"/>
                <a:gd name="T5" fmla="*/ 1238 h 1238"/>
                <a:gd name="T6" fmla="*/ 410 w 410"/>
                <a:gd name="T7" fmla="*/ 1227 h 1238"/>
                <a:gd name="T8" fmla="*/ 197 w 410"/>
                <a:gd name="T9" fmla="*/ 1212 h 1238"/>
                <a:gd name="T10" fmla="*/ 198 w 410"/>
                <a:gd name="T11" fmla="*/ 1201 h 1238"/>
                <a:gd name="T12" fmla="*/ 63 w 410"/>
                <a:gd name="T13" fmla="*/ 1121 h 1238"/>
                <a:gd name="T14" fmla="*/ 63 w 410"/>
                <a:gd name="T15" fmla="*/ 1121 h 1238"/>
                <a:gd name="T16" fmla="*/ 79 w 410"/>
                <a:gd name="T17" fmla="*/ 717 h 1238"/>
                <a:gd name="T18" fmla="*/ 1 w 410"/>
                <a:gd name="T19" fmla="*/ 677 h 1238"/>
                <a:gd name="T20" fmla="*/ 1 w 410"/>
                <a:gd name="T21" fmla="*/ 677 h 1238"/>
                <a:gd name="T22" fmla="*/ 1 w 410"/>
                <a:gd name="T23" fmla="*/ 677 h 1238"/>
                <a:gd name="T24" fmla="*/ 1 w 410"/>
                <a:gd name="T25" fmla="*/ 677 h 1238"/>
                <a:gd name="T26" fmla="*/ 1 w 410"/>
                <a:gd name="T27" fmla="*/ 677 h 1238"/>
                <a:gd name="T28" fmla="*/ 1 w 410"/>
                <a:gd name="T29" fmla="*/ 677 h 1238"/>
                <a:gd name="T30" fmla="*/ 1 w 410"/>
                <a:gd name="T31" fmla="*/ 677 h 1238"/>
                <a:gd name="T32" fmla="*/ 1 w 410"/>
                <a:gd name="T33" fmla="*/ 677 h 1238"/>
                <a:gd name="T34" fmla="*/ 1 w 410"/>
                <a:gd name="T35" fmla="*/ 677 h 1238"/>
                <a:gd name="T36" fmla="*/ 1 w 410"/>
                <a:gd name="T37" fmla="*/ 676 h 1238"/>
                <a:gd name="T38" fmla="*/ 1 w 410"/>
                <a:gd name="T39" fmla="*/ 676 h 1238"/>
                <a:gd name="T40" fmla="*/ 1 w 410"/>
                <a:gd name="T41" fmla="*/ 676 h 1238"/>
                <a:gd name="T42" fmla="*/ 0 w 410"/>
                <a:gd name="T43" fmla="*/ 676 h 1238"/>
                <a:gd name="T44" fmla="*/ 0 w 410"/>
                <a:gd name="T45" fmla="*/ 676 h 1238"/>
                <a:gd name="T46" fmla="*/ 0 w 410"/>
                <a:gd name="T47" fmla="*/ 676 h 1238"/>
                <a:gd name="T48" fmla="*/ 0 w 410"/>
                <a:gd name="T49" fmla="*/ 676 h 1238"/>
                <a:gd name="T50" fmla="*/ 0 w 410"/>
                <a:gd name="T51" fmla="*/ 676 h 1238"/>
                <a:gd name="T52" fmla="*/ 0 w 410"/>
                <a:gd name="T53" fmla="*/ 675 h 1238"/>
                <a:gd name="T54" fmla="*/ 246 w 410"/>
                <a:gd name="T55" fmla="*/ 107 h 1238"/>
                <a:gd name="T56" fmla="*/ 248 w 410"/>
                <a:gd name="T57" fmla="*/ 111 h 1238"/>
                <a:gd name="T58" fmla="*/ 219 w 410"/>
                <a:gd name="T59" fmla="*/ 64 h 1238"/>
                <a:gd name="T60" fmla="*/ 184 w 410"/>
                <a:gd name="T61" fmla="*/ 114 h 1238"/>
                <a:gd name="T62" fmla="*/ 256 w 410"/>
                <a:gd name="T63" fmla="*/ 0 h 1238"/>
                <a:gd name="T64" fmla="*/ 256 w 410"/>
                <a:gd name="T65" fmla="*/ 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0" h="1238">
                  <a:moveTo>
                    <a:pt x="390" y="1229"/>
                  </a:moveTo>
                  <a:cubicBezTo>
                    <a:pt x="389" y="1229"/>
                    <a:pt x="388" y="1230"/>
                    <a:pt x="387" y="1230"/>
                  </a:cubicBezTo>
                  <a:cubicBezTo>
                    <a:pt x="388" y="1230"/>
                    <a:pt x="389" y="1229"/>
                    <a:pt x="390" y="1229"/>
                  </a:cubicBezTo>
                  <a:moveTo>
                    <a:pt x="410" y="1227"/>
                  </a:moveTo>
                  <a:cubicBezTo>
                    <a:pt x="410" y="1227"/>
                    <a:pt x="410" y="1227"/>
                    <a:pt x="410" y="1227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10" y="1227"/>
                    <a:pt x="410" y="1227"/>
                    <a:pt x="410" y="1227"/>
                  </a:cubicBezTo>
                  <a:moveTo>
                    <a:pt x="198" y="1201"/>
                  </a:moveTo>
                  <a:cubicBezTo>
                    <a:pt x="197" y="1212"/>
                    <a:pt x="197" y="1212"/>
                    <a:pt x="197" y="1212"/>
                  </a:cubicBezTo>
                  <a:cubicBezTo>
                    <a:pt x="197" y="1212"/>
                    <a:pt x="197" y="1212"/>
                    <a:pt x="197" y="1212"/>
                  </a:cubicBezTo>
                  <a:cubicBezTo>
                    <a:pt x="198" y="1201"/>
                    <a:pt x="198" y="1201"/>
                    <a:pt x="198" y="1201"/>
                  </a:cubicBezTo>
                  <a:cubicBezTo>
                    <a:pt x="198" y="1201"/>
                    <a:pt x="198" y="1201"/>
                    <a:pt x="198" y="1201"/>
                  </a:cubicBezTo>
                  <a:moveTo>
                    <a:pt x="63" y="1121"/>
                  </a:moveTo>
                  <a:cubicBezTo>
                    <a:pt x="63" y="1121"/>
                    <a:pt x="63" y="1121"/>
                    <a:pt x="63" y="1121"/>
                  </a:cubicBezTo>
                  <a:cubicBezTo>
                    <a:pt x="63" y="1121"/>
                    <a:pt x="63" y="1121"/>
                    <a:pt x="63" y="1121"/>
                  </a:cubicBezTo>
                  <a:moveTo>
                    <a:pt x="2" y="677"/>
                  </a:moveTo>
                  <a:cubicBezTo>
                    <a:pt x="24" y="701"/>
                    <a:pt x="51" y="713"/>
                    <a:pt x="79" y="717"/>
                  </a:cubicBezTo>
                  <a:cubicBezTo>
                    <a:pt x="51" y="713"/>
                    <a:pt x="24" y="701"/>
                    <a:pt x="2" y="677"/>
                  </a:cubicBezTo>
                  <a:moveTo>
                    <a:pt x="1" y="677"/>
                  </a:moveTo>
                  <a:cubicBezTo>
                    <a:pt x="1" y="677"/>
                    <a:pt x="2" y="677"/>
                    <a:pt x="2" y="677"/>
                  </a:cubicBezTo>
                  <a:cubicBezTo>
                    <a:pt x="2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6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6"/>
                  </a:cubicBezTo>
                  <a:moveTo>
                    <a:pt x="1" y="676"/>
                  </a:moveTo>
                  <a:cubicBezTo>
                    <a:pt x="1" y="676"/>
                    <a:pt x="1" y="676"/>
                    <a:pt x="1" y="676"/>
                  </a:cubicBezTo>
                  <a:cubicBezTo>
                    <a:pt x="1" y="676"/>
                    <a:pt x="1" y="676"/>
                    <a:pt x="1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5"/>
                  </a:moveTo>
                  <a:cubicBezTo>
                    <a:pt x="0" y="675"/>
                    <a:pt x="0" y="675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moveTo>
                    <a:pt x="246" y="107"/>
                  </a:moveTo>
                  <a:cubicBezTo>
                    <a:pt x="246" y="107"/>
                    <a:pt x="246" y="107"/>
                    <a:pt x="246" y="107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6" y="107"/>
                    <a:pt x="246" y="107"/>
                    <a:pt x="246" y="107"/>
                  </a:cubicBezTo>
                  <a:moveTo>
                    <a:pt x="219" y="64"/>
                  </a:moveTo>
                  <a:cubicBezTo>
                    <a:pt x="208" y="70"/>
                    <a:pt x="184" y="86"/>
                    <a:pt x="184" y="114"/>
                  </a:cubicBezTo>
                  <a:cubicBezTo>
                    <a:pt x="184" y="114"/>
                    <a:pt x="184" y="114"/>
                    <a:pt x="184" y="114"/>
                  </a:cubicBezTo>
                  <a:cubicBezTo>
                    <a:pt x="184" y="86"/>
                    <a:pt x="208" y="70"/>
                    <a:pt x="219" y="64"/>
                  </a:cubicBezTo>
                  <a:moveTo>
                    <a:pt x="256" y="0"/>
                  </a:moveTo>
                  <a:cubicBezTo>
                    <a:pt x="158" y="49"/>
                    <a:pt x="158" y="49"/>
                    <a:pt x="158" y="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0"/>
                    <a:pt x="256" y="0"/>
                    <a:pt x="256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1" name="Freeform 139">
              <a:extLst>
                <a:ext uri="{FF2B5EF4-FFF2-40B4-BE49-F238E27FC236}">
                  <a16:creationId xmlns:a16="http://schemas.microsoft.com/office/drawing/2014/main" id="{22B6353F-F8BE-4362-B9BE-883312035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6718" y="5116200"/>
              <a:ext cx="114850" cy="79301"/>
            </a:xfrm>
            <a:custGeom>
              <a:avLst/>
              <a:gdLst>
                <a:gd name="T0" fmla="*/ 1 w 45"/>
                <a:gd name="T1" fmla="*/ 0 h 31"/>
                <a:gd name="T2" fmla="*/ 0 w 45"/>
                <a:gd name="T3" fmla="*/ 11 h 31"/>
                <a:gd name="T4" fmla="*/ 42 w 45"/>
                <a:gd name="T5" fmla="*/ 31 h 31"/>
                <a:gd name="T6" fmla="*/ 45 w 45"/>
                <a:gd name="T7" fmla="*/ 14 h 31"/>
                <a:gd name="T8" fmla="*/ 1 w 4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1">
                  <a:moveTo>
                    <a:pt x="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4" y="19"/>
                    <a:pt x="28" y="26"/>
                    <a:pt x="42" y="31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29" y="10"/>
                    <a:pt x="15" y="5"/>
                    <a:pt x="1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2" name="Freeform 140">
              <a:extLst>
                <a:ext uri="{FF2B5EF4-FFF2-40B4-BE49-F238E27FC236}">
                  <a16:creationId xmlns:a16="http://schemas.microsoft.com/office/drawing/2014/main" id="{8873ED6F-463F-4D3D-8635-6BF15A6F9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9520" y="5170890"/>
              <a:ext cx="112115" cy="39651"/>
            </a:xfrm>
            <a:custGeom>
              <a:avLst/>
              <a:gdLst>
                <a:gd name="T0" fmla="*/ 44 w 44"/>
                <a:gd name="T1" fmla="*/ 0 h 16"/>
                <a:gd name="T2" fmla="*/ 1 w 44"/>
                <a:gd name="T3" fmla="*/ 5 h 16"/>
                <a:gd name="T4" fmla="*/ 1 w 44"/>
                <a:gd name="T5" fmla="*/ 5 h 16"/>
                <a:gd name="T6" fmla="*/ 0 w 44"/>
                <a:gd name="T7" fmla="*/ 16 h 16"/>
                <a:gd name="T8" fmla="*/ 43 w 44"/>
                <a:gd name="T9" fmla="*/ 6 h 16"/>
                <a:gd name="T10" fmla="*/ 44 w 4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6">
                  <a:moveTo>
                    <a:pt x="44" y="0"/>
                  </a:moveTo>
                  <a:cubicBezTo>
                    <a:pt x="31" y="2"/>
                    <a:pt x="17" y="3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4" y="13"/>
                    <a:pt x="28" y="9"/>
                    <a:pt x="43" y="6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3" name="Freeform 141">
              <a:extLst>
                <a:ext uri="{FF2B5EF4-FFF2-40B4-BE49-F238E27FC236}">
                  <a16:creationId xmlns:a16="http://schemas.microsoft.com/office/drawing/2014/main" id="{230EE404-0921-4605-B694-F2B82D61C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3904" y="2203934"/>
              <a:ext cx="162704" cy="169540"/>
            </a:xfrm>
            <a:custGeom>
              <a:avLst/>
              <a:gdLst>
                <a:gd name="T0" fmla="*/ 38 w 64"/>
                <a:gd name="T1" fmla="*/ 0 h 66"/>
                <a:gd name="T2" fmla="*/ 35 w 64"/>
                <a:gd name="T3" fmla="*/ 2 h 66"/>
                <a:gd name="T4" fmla="*/ 0 w 64"/>
                <a:gd name="T5" fmla="*/ 52 h 66"/>
                <a:gd name="T6" fmla="*/ 25 w 64"/>
                <a:gd name="T7" fmla="*/ 60 h 66"/>
                <a:gd name="T8" fmla="*/ 32 w 64"/>
                <a:gd name="T9" fmla="*/ 47 h 66"/>
                <a:gd name="T10" fmla="*/ 32 w 64"/>
                <a:gd name="T11" fmla="*/ 60 h 66"/>
                <a:gd name="T12" fmla="*/ 63 w 64"/>
                <a:gd name="T13" fmla="*/ 66 h 66"/>
                <a:gd name="T14" fmla="*/ 64 w 64"/>
                <a:gd name="T15" fmla="*/ 49 h 66"/>
                <a:gd name="T16" fmla="*/ 62 w 64"/>
                <a:gd name="T17" fmla="*/ 45 h 66"/>
                <a:gd name="T18" fmla="*/ 51 w 64"/>
                <a:gd name="T19" fmla="*/ 49 h 66"/>
                <a:gd name="T20" fmla="*/ 49 w 64"/>
                <a:gd name="T21" fmla="*/ 49 h 66"/>
                <a:gd name="T22" fmla="*/ 46 w 64"/>
                <a:gd name="T23" fmla="*/ 48 h 66"/>
                <a:gd name="T24" fmla="*/ 46 w 64"/>
                <a:gd name="T25" fmla="*/ 48 h 66"/>
                <a:gd name="T26" fmla="*/ 33 w 64"/>
                <a:gd name="T27" fmla="*/ 21 h 66"/>
                <a:gd name="T28" fmla="*/ 39 w 64"/>
                <a:gd name="T29" fmla="*/ 18 h 66"/>
                <a:gd name="T30" fmla="*/ 51 w 64"/>
                <a:gd name="T31" fmla="*/ 25 h 66"/>
                <a:gd name="T32" fmla="*/ 50 w 64"/>
                <a:gd name="T33" fmla="*/ 23 h 66"/>
                <a:gd name="T34" fmla="*/ 38 w 64"/>
                <a:gd name="T3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66">
                  <a:moveTo>
                    <a:pt x="38" y="0"/>
                  </a:moveTo>
                  <a:cubicBezTo>
                    <a:pt x="37" y="1"/>
                    <a:pt x="36" y="1"/>
                    <a:pt x="35" y="2"/>
                  </a:cubicBezTo>
                  <a:cubicBezTo>
                    <a:pt x="24" y="8"/>
                    <a:pt x="0" y="24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0" y="46"/>
                    <a:pt x="57" y="49"/>
                    <a:pt x="51" y="49"/>
                  </a:cubicBezTo>
                  <a:cubicBezTo>
                    <a:pt x="50" y="49"/>
                    <a:pt x="49" y="49"/>
                    <a:pt x="49" y="49"/>
                  </a:cubicBezTo>
                  <a:cubicBezTo>
                    <a:pt x="48" y="49"/>
                    <a:pt x="47" y="49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35" y="45"/>
                    <a:pt x="27" y="28"/>
                    <a:pt x="33" y="21"/>
                  </a:cubicBezTo>
                  <a:cubicBezTo>
                    <a:pt x="35" y="19"/>
                    <a:pt x="37" y="18"/>
                    <a:pt x="39" y="18"/>
                  </a:cubicBezTo>
                  <a:cubicBezTo>
                    <a:pt x="45" y="18"/>
                    <a:pt x="50" y="23"/>
                    <a:pt x="51" y="25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4" name="Freeform 142">
              <a:extLst>
                <a:ext uri="{FF2B5EF4-FFF2-40B4-BE49-F238E27FC236}">
                  <a16:creationId xmlns:a16="http://schemas.microsoft.com/office/drawing/2014/main" id="{B416490E-B112-4E94-B80F-4EDCC9145E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23535" y="2661967"/>
              <a:ext cx="1346752" cy="2530800"/>
            </a:xfrm>
            <a:custGeom>
              <a:avLst/>
              <a:gdLst>
                <a:gd name="T0" fmla="*/ 390 w 526"/>
                <a:gd name="T1" fmla="*/ 981 h 990"/>
                <a:gd name="T2" fmla="*/ 168 w 526"/>
                <a:gd name="T3" fmla="*/ 447 h 990"/>
                <a:gd name="T4" fmla="*/ 112 w 526"/>
                <a:gd name="T5" fmla="*/ 468 h 990"/>
                <a:gd name="T6" fmla="*/ 0 w 526"/>
                <a:gd name="T7" fmla="*/ 880 h 990"/>
                <a:gd name="T8" fmla="*/ 0 w 526"/>
                <a:gd name="T9" fmla="*/ 880 h 990"/>
                <a:gd name="T10" fmla="*/ 135 w 526"/>
                <a:gd name="T11" fmla="*/ 960 h 990"/>
                <a:gd name="T12" fmla="*/ 135 w 526"/>
                <a:gd name="T13" fmla="*/ 960 h 990"/>
                <a:gd name="T14" fmla="*/ 179 w 526"/>
                <a:gd name="T15" fmla="*/ 974 h 990"/>
                <a:gd name="T16" fmla="*/ 290 w 526"/>
                <a:gd name="T17" fmla="*/ 990 h 990"/>
                <a:gd name="T18" fmla="*/ 327 w 526"/>
                <a:gd name="T19" fmla="*/ 988 h 990"/>
                <a:gd name="T20" fmla="*/ 347 w 526"/>
                <a:gd name="T21" fmla="*/ 986 h 990"/>
                <a:gd name="T22" fmla="*/ 390 w 526"/>
                <a:gd name="T23" fmla="*/ 981 h 990"/>
                <a:gd name="T24" fmla="*/ 526 w 526"/>
                <a:gd name="T25" fmla="*/ 936 h 990"/>
                <a:gd name="T26" fmla="*/ 477 w 526"/>
                <a:gd name="T27" fmla="*/ 897 h 990"/>
                <a:gd name="T28" fmla="*/ 477 w 526"/>
                <a:gd name="T29" fmla="*/ 896 h 990"/>
                <a:gd name="T30" fmla="*/ 477 w 526"/>
                <a:gd name="T31" fmla="*/ 896 h 990"/>
                <a:gd name="T32" fmla="*/ 477 w 526"/>
                <a:gd name="T33" fmla="*/ 896 h 990"/>
                <a:gd name="T34" fmla="*/ 477 w 526"/>
                <a:gd name="T35" fmla="*/ 896 h 990"/>
                <a:gd name="T36" fmla="*/ 477 w 526"/>
                <a:gd name="T37" fmla="*/ 896 h 990"/>
                <a:gd name="T38" fmla="*/ 477 w 526"/>
                <a:gd name="T39" fmla="*/ 896 h 990"/>
                <a:gd name="T40" fmla="*/ 476 w 526"/>
                <a:gd name="T41" fmla="*/ 896 h 990"/>
                <a:gd name="T42" fmla="*/ 476 w 526"/>
                <a:gd name="T43" fmla="*/ 895 h 990"/>
                <a:gd name="T44" fmla="*/ 479 w 526"/>
                <a:gd name="T45" fmla="*/ 828 h 990"/>
                <a:gd name="T46" fmla="*/ 227 w 526"/>
                <a:gd name="T47" fmla="*/ 252 h 990"/>
                <a:gd name="T48" fmla="*/ 227 w 526"/>
                <a:gd name="T49" fmla="*/ 352 h 990"/>
                <a:gd name="T50" fmla="*/ 201 w 526"/>
                <a:gd name="T51" fmla="*/ 260 h 990"/>
                <a:gd name="T52" fmla="*/ 182 w 526"/>
                <a:gd name="T53" fmla="*/ 234 h 990"/>
                <a:gd name="T54" fmla="*/ 201 w 526"/>
                <a:gd name="T55" fmla="*/ 194 h 990"/>
                <a:gd name="T56" fmla="*/ 222 w 526"/>
                <a:gd name="T57" fmla="*/ 189 h 990"/>
                <a:gd name="T58" fmla="*/ 8 w 526"/>
                <a:gd name="T59" fmla="*/ 80 h 990"/>
                <a:gd name="T60" fmla="*/ 185 w 526"/>
                <a:gd name="T61" fmla="*/ 0 h 990"/>
                <a:gd name="T62" fmla="*/ 87 w 526"/>
                <a:gd name="T63" fmla="*/ 32 h 990"/>
                <a:gd name="T64" fmla="*/ 44 w 526"/>
                <a:gd name="T65" fmla="*/ 201 h 990"/>
                <a:gd name="T66" fmla="*/ 186 w 526"/>
                <a:gd name="T67" fmla="*/ 179 h 990"/>
                <a:gd name="T68" fmla="*/ 202 w 526"/>
                <a:gd name="T69" fmla="*/ 179 h 990"/>
                <a:gd name="T70" fmla="*/ 217 w 526"/>
                <a:gd name="T71" fmla="*/ 101 h 990"/>
                <a:gd name="T72" fmla="*/ 185 w 526"/>
                <a:gd name="T73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6" h="990">
                  <a:moveTo>
                    <a:pt x="390" y="981"/>
                  </a:moveTo>
                  <a:cubicBezTo>
                    <a:pt x="390" y="981"/>
                    <a:pt x="390" y="981"/>
                    <a:pt x="390" y="981"/>
                  </a:cubicBezTo>
                  <a:moveTo>
                    <a:pt x="182" y="234"/>
                  </a:moveTo>
                  <a:cubicBezTo>
                    <a:pt x="168" y="447"/>
                    <a:pt x="168" y="447"/>
                    <a:pt x="168" y="447"/>
                  </a:cubicBezTo>
                  <a:cubicBezTo>
                    <a:pt x="168" y="447"/>
                    <a:pt x="145" y="458"/>
                    <a:pt x="112" y="468"/>
                  </a:cubicBezTo>
                  <a:cubicBezTo>
                    <a:pt x="112" y="468"/>
                    <a:pt x="112" y="468"/>
                    <a:pt x="112" y="468"/>
                  </a:cubicBezTo>
                  <a:cubicBezTo>
                    <a:pt x="107" y="469"/>
                    <a:pt x="103" y="470"/>
                    <a:pt x="98" y="471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52" y="927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49" y="965"/>
                    <a:pt x="163" y="970"/>
                    <a:pt x="179" y="974"/>
                  </a:cubicBezTo>
                  <a:cubicBezTo>
                    <a:pt x="179" y="974"/>
                    <a:pt x="179" y="974"/>
                    <a:pt x="179" y="974"/>
                  </a:cubicBezTo>
                  <a:cubicBezTo>
                    <a:pt x="178" y="974"/>
                    <a:pt x="178" y="974"/>
                    <a:pt x="178" y="974"/>
                  </a:cubicBezTo>
                  <a:cubicBezTo>
                    <a:pt x="212" y="984"/>
                    <a:pt x="250" y="990"/>
                    <a:pt x="290" y="990"/>
                  </a:cubicBezTo>
                  <a:cubicBezTo>
                    <a:pt x="301" y="990"/>
                    <a:pt x="312" y="990"/>
                    <a:pt x="324" y="989"/>
                  </a:cubicBezTo>
                  <a:cubicBezTo>
                    <a:pt x="325" y="989"/>
                    <a:pt x="326" y="988"/>
                    <a:pt x="327" y="988"/>
                  </a:cubicBezTo>
                  <a:cubicBezTo>
                    <a:pt x="327" y="988"/>
                    <a:pt x="327" y="988"/>
                    <a:pt x="327" y="988"/>
                  </a:cubicBezTo>
                  <a:cubicBezTo>
                    <a:pt x="334" y="988"/>
                    <a:pt x="341" y="987"/>
                    <a:pt x="347" y="986"/>
                  </a:cubicBezTo>
                  <a:cubicBezTo>
                    <a:pt x="347" y="986"/>
                    <a:pt x="347" y="986"/>
                    <a:pt x="347" y="986"/>
                  </a:cubicBezTo>
                  <a:cubicBezTo>
                    <a:pt x="363" y="984"/>
                    <a:pt x="377" y="983"/>
                    <a:pt x="390" y="981"/>
                  </a:cubicBezTo>
                  <a:cubicBezTo>
                    <a:pt x="390" y="981"/>
                    <a:pt x="390" y="981"/>
                    <a:pt x="390" y="981"/>
                  </a:cubicBezTo>
                  <a:cubicBezTo>
                    <a:pt x="481" y="966"/>
                    <a:pt x="514" y="947"/>
                    <a:pt x="526" y="936"/>
                  </a:cubicBezTo>
                  <a:cubicBezTo>
                    <a:pt x="508" y="927"/>
                    <a:pt x="491" y="914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9" y="828"/>
                    <a:pt x="479" y="828"/>
                    <a:pt x="479" y="828"/>
                  </a:cubicBezTo>
                  <a:cubicBezTo>
                    <a:pt x="459" y="810"/>
                    <a:pt x="440" y="790"/>
                    <a:pt x="422" y="768"/>
                  </a:cubicBezTo>
                  <a:cubicBezTo>
                    <a:pt x="288" y="615"/>
                    <a:pt x="245" y="437"/>
                    <a:pt x="227" y="252"/>
                  </a:cubicBezTo>
                  <a:cubicBezTo>
                    <a:pt x="227" y="252"/>
                    <a:pt x="227" y="252"/>
                    <a:pt x="227" y="252"/>
                  </a:cubicBezTo>
                  <a:cubicBezTo>
                    <a:pt x="227" y="352"/>
                    <a:pt x="227" y="352"/>
                    <a:pt x="227" y="352"/>
                  </a:cubicBezTo>
                  <a:cubicBezTo>
                    <a:pt x="191" y="374"/>
                    <a:pt x="191" y="374"/>
                    <a:pt x="191" y="374"/>
                  </a:cubicBezTo>
                  <a:cubicBezTo>
                    <a:pt x="201" y="260"/>
                    <a:pt x="201" y="260"/>
                    <a:pt x="201" y="260"/>
                  </a:cubicBezTo>
                  <a:cubicBezTo>
                    <a:pt x="190" y="264"/>
                    <a:pt x="180" y="267"/>
                    <a:pt x="180" y="267"/>
                  </a:cubicBezTo>
                  <a:cubicBezTo>
                    <a:pt x="182" y="234"/>
                    <a:pt x="182" y="234"/>
                    <a:pt x="182" y="234"/>
                  </a:cubicBezTo>
                  <a:moveTo>
                    <a:pt x="222" y="189"/>
                  </a:moveTo>
                  <a:cubicBezTo>
                    <a:pt x="201" y="194"/>
                    <a:pt x="201" y="194"/>
                    <a:pt x="201" y="194"/>
                  </a:cubicBezTo>
                  <a:cubicBezTo>
                    <a:pt x="222" y="189"/>
                    <a:pt x="222" y="189"/>
                    <a:pt x="222" y="189"/>
                  </a:cubicBezTo>
                  <a:cubicBezTo>
                    <a:pt x="222" y="189"/>
                    <a:pt x="222" y="189"/>
                    <a:pt x="222" y="189"/>
                  </a:cubicBezTo>
                  <a:moveTo>
                    <a:pt x="85" y="34"/>
                  </a:moveTo>
                  <a:cubicBezTo>
                    <a:pt x="56" y="47"/>
                    <a:pt x="30" y="62"/>
                    <a:pt x="8" y="80"/>
                  </a:cubicBezTo>
                  <a:cubicBezTo>
                    <a:pt x="30" y="63"/>
                    <a:pt x="55" y="47"/>
                    <a:pt x="85" y="34"/>
                  </a:cubicBezTo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50" y="7"/>
                    <a:pt x="117" y="19"/>
                    <a:pt x="87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44" y="201"/>
                    <a:pt x="44" y="201"/>
                    <a:pt x="44" y="201"/>
                  </a:cubicBezTo>
                  <a:cubicBezTo>
                    <a:pt x="155" y="184"/>
                    <a:pt x="155" y="184"/>
                    <a:pt x="155" y="184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85" y="194"/>
                    <a:pt x="185" y="194"/>
                    <a:pt x="185" y="194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17" y="101"/>
                    <a:pt x="217" y="101"/>
                    <a:pt x="217" y="101"/>
                  </a:cubicBezTo>
                  <a:cubicBezTo>
                    <a:pt x="216" y="73"/>
                    <a:pt x="215" y="44"/>
                    <a:pt x="213" y="16"/>
                  </a:cubicBezTo>
                  <a:cubicBezTo>
                    <a:pt x="197" y="7"/>
                    <a:pt x="185" y="0"/>
                    <a:pt x="185" y="0"/>
                  </a:cubicBezTo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5" name="Freeform 143">
              <a:extLst>
                <a:ext uri="{FF2B5EF4-FFF2-40B4-BE49-F238E27FC236}">
                  <a16:creationId xmlns:a16="http://schemas.microsoft.com/office/drawing/2014/main" id="{2092B7A2-6C4E-431E-A6B1-FC3E72E4B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9844" y="2744003"/>
              <a:ext cx="760197" cy="1140296"/>
            </a:xfrm>
            <a:custGeom>
              <a:avLst/>
              <a:gdLst>
                <a:gd name="T0" fmla="*/ 229 w 297"/>
                <a:gd name="T1" fmla="*/ 0 h 446"/>
                <a:gd name="T2" fmla="*/ 229 w 297"/>
                <a:gd name="T3" fmla="*/ 0 h 446"/>
                <a:gd name="T4" fmla="*/ 228 w 297"/>
                <a:gd name="T5" fmla="*/ 1 h 446"/>
                <a:gd name="T6" fmla="*/ 227 w 297"/>
                <a:gd name="T7" fmla="*/ 2 h 446"/>
                <a:gd name="T8" fmla="*/ 150 w 297"/>
                <a:gd name="T9" fmla="*/ 48 h 446"/>
                <a:gd name="T10" fmla="*/ 147 w 297"/>
                <a:gd name="T11" fmla="*/ 50 h 446"/>
                <a:gd name="T12" fmla="*/ 79 w 297"/>
                <a:gd name="T13" fmla="*/ 402 h 446"/>
                <a:gd name="T14" fmla="*/ 79 w 297"/>
                <a:gd name="T15" fmla="*/ 402 h 446"/>
                <a:gd name="T16" fmla="*/ 79 w 297"/>
                <a:gd name="T17" fmla="*/ 403 h 446"/>
                <a:gd name="T18" fmla="*/ 79 w 297"/>
                <a:gd name="T19" fmla="*/ 403 h 446"/>
                <a:gd name="T20" fmla="*/ 79 w 297"/>
                <a:gd name="T21" fmla="*/ 403 h 446"/>
                <a:gd name="T22" fmla="*/ 79 w 297"/>
                <a:gd name="T23" fmla="*/ 403 h 446"/>
                <a:gd name="T24" fmla="*/ 79 w 297"/>
                <a:gd name="T25" fmla="*/ 403 h 446"/>
                <a:gd name="T26" fmla="*/ 79 w 297"/>
                <a:gd name="T27" fmla="*/ 403 h 446"/>
                <a:gd name="T28" fmla="*/ 80 w 297"/>
                <a:gd name="T29" fmla="*/ 403 h 446"/>
                <a:gd name="T30" fmla="*/ 80 w 297"/>
                <a:gd name="T31" fmla="*/ 403 h 446"/>
                <a:gd name="T32" fmla="*/ 80 w 297"/>
                <a:gd name="T33" fmla="*/ 403 h 446"/>
                <a:gd name="T34" fmla="*/ 80 w 297"/>
                <a:gd name="T35" fmla="*/ 404 h 446"/>
                <a:gd name="T36" fmla="*/ 80 w 297"/>
                <a:gd name="T37" fmla="*/ 404 h 446"/>
                <a:gd name="T38" fmla="*/ 80 w 297"/>
                <a:gd name="T39" fmla="*/ 404 h 446"/>
                <a:gd name="T40" fmla="*/ 80 w 297"/>
                <a:gd name="T41" fmla="*/ 404 h 446"/>
                <a:gd name="T42" fmla="*/ 80 w 297"/>
                <a:gd name="T43" fmla="*/ 404 h 446"/>
                <a:gd name="T44" fmla="*/ 80 w 297"/>
                <a:gd name="T45" fmla="*/ 404 h 446"/>
                <a:gd name="T46" fmla="*/ 80 w 297"/>
                <a:gd name="T47" fmla="*/ 404 h 446"/>
                <a:gd name="T48" fmla="*/ 80 w 297"/>
                <a:gd name="T49" fmla="*/ 404 h 446"/>
                <a:gd name="T50" fmla="*/ 80 w 297"/>
                <a:gd name="T51" fmla="*/ 404 h 446"/>
                <a:gd name="T52" fmla="*/ 80 w 297"/>
                <a:gd name="T53" fmla="*/ 404 h 446"/>
                <a:gd name="T54" fmla="*/ 80 w 297"/>
                <a:gd name="T55" fmla="*/ 404 h 446"/>
                <a:gd name="T56" fmla="*/ 80 w 297"/>
                <a:gd name="T57" fmla="*/ 404 h 446"/>
                <a:gd name="T58" fmla="*/ 81 w 297"/>
                <a:gd name="T59" fmla="*/ 404 h 446"/>
                <a:gd name="T60" fmla="*/ 81 w 297"/>
                <a:gd name="T61" fmla="*/ 404 h 446"/>
                <a:gd name="T62" fmla="*/ 81 w 297"/>
                <a:gd name="T63" fmla="*/ 404 h 446"/>
                <a:gd name="T64" fmla="*/ 158 w 297"/>
                <a:gd name="T65" fmla="*/ 444 h 446"/>
                <a:gd name="T66" fmla="*/ 185 w 297"/>
                <a:gd name="T67" fmla="*/ 446 h 446"/>
                <a:gd name="T68" fmla="*/ 240 w 297"/>
                <a:gd name="T69" fmla="*/ 439 h 446"/>
                <a:gd name="T70" fmla="*/ 240 w 297"/>
                <a:gd name="T71" fmla="*/ 439 h 446"/>
                <a:gd name="T72" fmla="*/ 254 w 297"/>
                <a:gd name="T73" fmla="*/ 436 h 446"/>
                <a:gd name="T74" fmla="*/ 254 w 297"/>
                <a:gd name="T75" fmla="*/ 436 h 446"/>
                <a:gd name="T76" fmla="*/ 254 w 297"/>
                <a:gd name="T77" fmla="*/ 436 h 446"/>
                <a:gd name="T78" fmla="*/ 297 w 297"/>
                <a:gd name="T79" fmla="*/ 152 h 446"/>
                <a:gd name="T80" fmla="*/ 186 w 297"/>
                <a:gd name="T81" fmla="*/ 169 h 446"/>
                <a:gd name="T82" fmla="*/ 229 w 297"/>
                <a:gd name="T83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7" h="446">
                  <a:moveTo>
                    <a:pt x="229" y="0"/>
                  </a:moveTo>
                  <a:cubicBezTo>
                    <a:pt x="229" y="0"/>
                    <a:pt x="229" y="0"/>
                    <a:pt x="229" y="0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8" y="1"/>
                    <a:pt x="227" y="1"/>
                    <a:pt x="227" y="2"/>
                  </a:cubicBezTo>
                  <a:cubicBezTo>
                    <a:pt x="197" y="15"/>
                    <a:pt x="172" y="31"/>
                    <a:pt x="150" y="48"/>
                  </a:cubicBezTo>
                  <a:cubicBezTo>
                    <a:pt x="149" y="48"/>
                    <a:pt x="148" y="49"/>
                    <a:pt x="147" y="50"/>
                  </a:cubicBezTo>
                  <a:cubicBezTo>
                    <a:pt x="0" y="162"/>
                    <a:pt x="10" y="327"/>
                    <a:pt x="79" y="402"/>
                  </a:cubicBezTo>
                  <a:cubicBezTo>
                    <a:pt x="79" y="402"/>
                    <a:pt x="79" y="402"/>
                    <a:pt x="79" y="402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103" y="428"/>
                    <a:pt x="130" y="440"/>
                    <a:pt x="158" y="444"/>
                  </a:cubicBezTo>
                  <a:cubicBezTo>
                    <a:pt x="167" y="445"/>
                    <a:pt x="176" y="446"/>
                    <a:pt x="185" y="446"/>
                  </a:cubicBezTo>
                  <a:cubicBezTo>
                    <a:pt x="204" y="446"/>
                    <a:pt x="223" y="443"/>
                    <a:pt x="240" y="439"/>
                  </a:cubicBezTo>
                  <a:cubicBezTo>
                    <a:pt x="240" y="439"/>
                    <a:pt x="240" y="439"/>
                    <a:pt x="240" y="439"/>
                  </a:cubicBezTo>
                  <a:cubicBezTo>
                    <a:pt x="245" y="438"/>
                    <a:pt x="249" y="437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97" y="152"/>
                    <a:pt x="297" y="152"/>
                    <a:pt x="297" y="152"/>
                  </a:cubicBezTo>
                  <a:cubicBezTo>
                    <a:pt x="186" y="169"/>
                    <a:pt x="186" y="169"/>
                    <a:pt x="186" y="169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6" name="Freeform 144">
              <a:extLst>
                <a:ext uri="{FF2B5EF4-FFF2-40B4-BE49-F238E27FC236}">
                  <a16:creationId xmlns:a16="http://schemas.microsoft.com/office/drawing/2014/main" id="{81345C49-3E7D-4F70-9BA6-BD0824FFB1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660" y="3119999"/>
              <a:ext cx="188682" cy="738321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0 w 74"/>
                <a:gd name="T7" fmla="*/ 289 h 289"/>
                <a:gd name="T8" fmla="*/ 56 w 74"/>
                <a:gd name="T9" fmla="*/ 268 h 289"/>
                <a:gd name="T10" fmla="*/ 70 w 74"/>
                <a:gd name="T11" fmla="*/ 55 h 289"/>
                <a:gd name="T12" fmla="*/ 73 w 74"/>
                <a:gd name="T13" fmla="*/ 15 h 289"/>
                <a:gd name="T14" fmla="*/ 73 w 74"/>
                <a:gd name="T15" fmla="*/ 15 h 289"/>
                <a:gd name="T16" fmla="*/ 74 w 74"/>
                <a:gd name="T17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1E21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7" name="Freeform 145">
              <a:extLst>
                <a:ext uri="{FF2B5EF4-FFF2-40B4-BE49-F238E27FC236}">
                  <a16:creationId xmlns:a16="http://schemas.microsoft.com/office/drawing/2014/main" id="{D11ADD85-68F4-4242-AD2D-9A3AEA87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4303" y="3119999"/>
              <a:ext cx="120319" cy="224231"/>
            </a:xfrm>
            <a:custGeom>
              <a:avLst/>
              <a:gdLst>
                <a:gd name="T0" fmla="*/ 22 w 47"/>
                <a:gd name="T1" fmla="*/ 0 h 88"/>
                <a:gd name="T2" fmla="*/ 5 w 47"/>
                <a:gd name="T3" fmla="*/ 15 h 88"/>
                <a:gd name="T4" fmla="*/ 5 w 47"/>
                <a:gd name="T5" fmla="*/ 15 h 88"/>
                <a:gd name="T6" fmla="*/ 2 w 47"/>
                <a:gd name="T7" fmla="*/ 55 h 88"/>
                <a:gd name="T8" fmla="*/ 0 w 47"/>
                <a:gd name="T9" fmla="*/ 88 h 88"/>
                <a:gd name="T10" fmla="*/ 21 w 47"/>
                <a:gd name="T11" fmla="*/ 81 h 88"/>
                <a:gd name="T12" fmla="*/ 21 w 47"/>
                <a:gd name="T13" fmla="*/ 81 h 88"/>
                <a:gd name="T14" fmla="*/ 47 w 47"/>
                <a:gd name="T15" fmla="*/ 73 h 88"/>
                <a:gd name="T16" fmla="*/ 47 w 47"/>
                <a:gd name="T17" fmla="*/ 73 h 88"/>
                <a:gd name="T18" fmla="*/ 42 w 47"/>
                <a:gd name="T19" fmla="*/ 10 h 88"/>
                <a:gd name="T20" fmla="*/ 21 w 47"/>
                <a:gd name="T21" fmla="*/ 15 h 88"/>
                <a:gd name="T22" fmla="*/ 21 w 47"/>
                <a:gd name="T23" fmla="*/ 10 h 88"/>
                <a:gd name="T24" fmla="*/ 20 w 47"/>
                <a:gd name="T25" fmla="*/ 7 h 88"/>
                <a:gd name="T26" fmla="*/ 21 w 47"/>
                <a:gd name="T27" fmla="*/ 7 h 88"/>
                <a:gd name="T28" fmla="*/ 22 w 47"/>
                <a:gd name="T2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88">
                  <a:moveTo>
                    <a:pt x="22" y="0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8"/>
                    <a:pt x="10" y="85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5" y="52"/>
                    <a:pt x="44" y="31"/>
                    <a:pt x="42" y="1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8" name="Freeform 146">
              <a:extLst>
                <a:ext uri="{FF2B5EF4-FFF2-40B4-BE49-F238E27FC236}">
                  <a16:creationId xmlns:a16="http://schemas.microsoft.com/office/drawing/2014/main" id="{AE2A5EEC-08DD-419C-9D2D-1A6192E5BE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96608" y="2324253"/>
              <a:ext cx="72465" cy="378732"/>
            </a:xfrm>
            <a:custGeom>
              <a:avLst/>
              <a:gdLst>
                <a:gd name="T0" fmla="*/ 0 w 28"/>
                <a:gd name="T1" fmla="*/ 2 h 148"/>
                <a:gd name="T2" fmla="*/ 0 w 28"/>
                <a:gd name="T3" fmla="*/ 2 h 148"/>
                <a:gd name="T4" fmla="*/ 0 w 28"/>
                <a:gd name="T5" fmla="*/ 0 h 148"/>
                <a:gd name="T6" fmla="*/ 0 w 28"/>
                <a:gd name="T7" fmla="*/ 2 h 148"/>
                <a:gd name="T8" fmla="*/ 0 w 28"/>
                <a:gd name="T9" fmla="*/ 132 h 148"/>
                <a:gd name="T10" fmla="*/ 28 w 28"/>
                <a:gd name="T11" fmla="*/ 148 h 148"/>
                <a:gd name="T12" fmla="*/ 22 w 28"/>
                <a:gd name="T13" fmla="*/ 31 h 148"/>
                <a:gd name="T14" fmla="*/ 14 w 28"/>
                <a:gd name="T15" fmla="*/ 26 h 148"/>
                <a:gd name="T16" fmla="*/ 0 w 28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48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2" y="139"/>
                    <a:pt x="28" y="148"/>
                  </a:cubicBezTo>
                  <a:cubicBezTo>
                    <a:pt x="27" y="109"/>
                    <a:pt x="25" y="70"/>
                    <a:pt x="22" y="31"/>
                  </a:cubicBezTo>
                  <a:cubicBezTo>
                    <a:pt x="17" y="29"/>
                    <a:pt x="14" y="26"/>
                    <a:pt x="14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9" name="Freeform 147">
              <a:extLst>
                <a:ext uri="{FF2B5EF4-FFF2-40B4-BE49-F238E27FC236}">
                  <a16:creationId xmlns:a16="http://schemas.microsoft.com/office/drawing/2014/main" id="{41BEEED1-566E-4661-84C3-14C785128E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51488" y="2186160"/>
              <a:ext cx="102545" cy="217395"/>
            </a:xfrm>
            <a:custGeom>
              <a:avLst/>
              <a:gdLst>
                <a:gd name="T0" fmla="*/ 0 w 40"/>
                <a:gd name="T1" fmla="*/ 55 h 85"/>
                <a:gd name="T2" fmla="*/ 3 w 40"/>
                <a:gd name="T3" fmla="*/ 56 h 85"/>
                <a:gd name="T4" fmla="*/ 0 w 40"/>
                <a:gd name="T5" fmla="*/ 55 h 85"/>
                <a:gd name="T6" fmla="*/ 33 w 40"/>
                <a:gd name="T7" fmla="*/ 0 h 85"/>
                <a:gd name="T8" fmla="*/ 4 w 40"/>
                <a:gd name="T9" fmla="*/ 30 h 85"/>
                <a:gd name="T10" fmla="*/ 4 w 40"/>
                <a:gd name="T11" fmla="*/ 30 h 85"/>
                <a:gd name="T12" fmla="*/ 5 w 40"/>
                <a:gd name="T13" fmla="*/ 32 h 85"/>
                <a:gd name="T14" fmla="*/ 5 w 40"/>
                <a:gd name="T15" fmla="*/ 32 h 85"/>
                <a:gd name="T16" fmla="*/ 16 w 40"/>
                <a:gd name="T17" fmla="*/ 51 h 85"/>
                <a:gd name="T18" fmla="*/ 18 w 40"/>
                <a:gd name="T19" fmla="*/ 54 h 85"/>
                <a:gd name="T20" fmla="*/ 18 w 40"/>
                <a:gd name="T21" fmla="*/ 54 h 85"/>
                <a:gd name="T22" fmla="*/ 32 w 40"/>
                <a:gd name="T23" fmla="*/ 80 h 85"/>
                <a:gd name="T24" fmla="*/ 40 w 40"/>
                <a:gd name="T25" fmla="*/ 85 h 85"/>
                <a:gd name="T26" fmla="*/ 37 w 40"/>
                <a:gd name="T27" fmla="*/ 39 h 85"/>
                <a:gd name="T28" fmla="*/ 28 w 40"/>
                <a:gd name="T29" fmla="*/ 27 h 85"/>
                <a:gd name="T30" fmla="*/ 26 w 40"/>
                <a:gd name="T31" fmla="*/ 30 h 85"/>
                <a:gd name="T32" fmla="*/ 25 w 40"/>
                <a:gd name="T33" fmla="*/ 31 h 85"/>
                <a:gd name="T34" fmla="*/ 24 w 40"/>
                <a:gd name="T35" fmla="*/ 30 h 85"/>
                <a:gd name="T36" fmla="*/ 24 w 40"/>
                <a:gd name="T37" fmla="*/ 29 h 85"/>
                <a:gd name="T38" fmla="*/ 30 w 40"/>
                <a:gd name="T39" fmla="*/ 23 h 85"/>
                <a:gd name="T40" fmla="*/ 31 w 40"/>
                <a:gd name="T41" fmla="*/ 23 h 85"/>
                <a:gd name="T42" fmla="*/ 31 w 40"/>
                <a:gd name="T43" fmla="*/ 23 h 85"/>
                <a:gd name="T44" fmla="*/ 31 w 40"/>
                <a:gd name="T45" fmla="*/ 24 h 85"/>
                <a:gd name="T46" fmla="*/ 29 w 40"/>
                <a:gd name="T47" fmla="*/ 26 h 85"/>
                <a:gd name="T48" fmla="*/ 32 w 40"/>
                <a:gd name="T49" fmla="*/ 27 h 85"/>
                <a:gd name="T50" fmla="*/ 32 w 40"/>
                <a:gd name="T51" fmla="*/ 27 h 85"/>
                <a:gd name="T52" fmla="*/ 36 w 40"/>
                <a:gd name="T53" fmla="*/ 27 h 85"/>
                <a:gd name="T54" fmla="*/ 33 w 40"/>
                <a:gd name="T5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" h="85">
                  <a:moveTo>
                    <a:pt x="0" y="55"/>
                  </a:moveTo>
                  <a:cubicBezTo>
                    <a:pt x="1" y="56"/>
                    <a:pt x="2" y="56"/>
                    <a:pt x="3" y="56"/>
                  </a:cubicBezTo>
                  <a:cubicBezTo>
                    <a:pt x="2" y="56"/>
                    <a:pt x="1" y="56"/>
                    <a:pt x="0" y="55"/>
                  </a:cubicBezTo>
                  <a:moveTo>
                    <a:pt x="33" y="0"/>
                  </a:moveTo>
                  <a:cubicBezTo>
                    <a:pt x="26" y="13"/>
                    <a:pt x="14" y="27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5" y="83"/>
                    <a:pt x="40" y="85"/>
                  </a:cubicBezTo>
                  <a:cubicBezTo>
                    <a:pt x="39" y="69"/>
                    <a:pt x="38" y="54"/>
                    <a:pt x="37" y="39"/>
                  </a:cubicBezTo>
                  <a:cubicBezTo>
                    <a:pt x="31" y="34"/>
                    <a:pt x="29" y="29"/>
                    <a:pt x="28" y="27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5" y="31"/>
                    <a:pt x="25" y="31"/>
                  </a:cubicBezTo>
                  <a:cubicBezTo>
                    <a:pt x="25" y="31"/>
                    <a:pt x="24" y="30"/>
                    <a:pt x="24" y="30"/>
                  </a:cubicBezTo>
                  <a:cubicBezTo>
                    <a:pt x="24" y="30"/>
                    <a:pt x="24" y="29"/>
                    <a:pt x="24" y="29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2" y="23"/>
                    <a:pt x="32" y="24"/>
                    <a:pt x="31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18"/>
                    <a:pt x="34" y="9"/>
                    <a:pt x="33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0" name="Freeform 148">
              <a:extLst>
                <a:ext uri="{FF2B5EF4-FFF2-40B4-BE49-F238E27FC236}">
                  <a16:creationId xmlns:a16="http://schemas.microsoft.com/office/drawing/2014/main" id="{46FC3D64-F87A-4976-9390-D7BF0944C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37625" y="2920379"/>
              <a:ext cx="54690" cy="237903"/>
            </a:xfrm>
            <a:custGeom>
              <a:avLst/>
              <a:gdLst>
                <a:gd name="T0" fmla="*/ 21 w 21"/>
                <a:gd name="T1" fmla="*/ 88 h 93"/>
                <a:gd name="T2" fmla="*/ 2 w 21"/>
                <a:gd name="T3" fmla="*/ 93 h 93"/>
                <a:gd name="T4" fmla="*/ 0 w 21"/>
                <a:gd name="T5" fmla="*/ 88 h 93"/>
                <a:gd name="T6" fmla="*/ 0 w 21"/>
                <a:gd name="T7" fmla="*/ 93 h 93"/>
                <a:gd name="T8" fmla="*/ 21 w 21"/>
                <a:gd name="T9" fmla="*/ 88 h 93"/>
                <a:gd name="T10" fmla="*/ 21 w 21"/>
                <a:gd name="T11" fmla="*/ 88 h 93"/>
                <a:gd name="T12" fmla="*/ 16 w 21"/>
                <a:gd name="T13" fmla="*/ 0 h 93"/>
                <a:gd name="T14" fmla="*/ 3 w 21"/>
                <a:gd name="T15" fmla="*/ 4 h 93"/>
                <a:gd name="T16" fmla="*/ 1 w 21"/>
                <a:gd name="T17" fmla="*/ 78 h 93"/>
                <a:gd name="T18" fmla="*/ 0 w 21"/>
                <a:gd name="T19" fmla="*/ 85 h 93"/>
                <a:gd name="T20" fmla="*/ 21 w 21"/>
                <a:gd name="T21" fmla="*/ 79 h 93"/>
                <a:gd name="T22" fmla="*/ 16 w 21"/>
                <a:gd name="T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93">
                  <a:moveTo>
                    <a:pt x="21" y="88"/>
                  </a:moveTo>
                  <a:cubicBezTo>
                    <a:pt x="2" y="93"/>
                    <a:pt x="2" y="93"/>
                    <a:pt x="2" y="93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moveTo>
                    <a:pt x="16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19" y="53"/>
                    <a:pt x="17" y="26"/>
                    <a:pt x="16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1" name="Freeform 149">
              <a:extLst>
                <a:ext uri="{FF2B5EF4-FFF2-40B4-BE49-F238E27FC236}">
                  <a16:creationId xmlns:a16="http://schemas.microsoft.com/office/drawing/2014/main" id="{7DD444D1-D352-4F69-AFC1-C8B60DE962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3305947"/>
              <a:ext cx="91607" cy="311735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2" name="Freeform 150">
              <a:extLst>
                <a:ext uri="{FF2B5EF4-FFF2-40B4-BE49-F238E27FC236}">
                  <a16:creationId xmlns:a16="http://schemas.microsoft.com/office/drawing/2014/main" id="{25F7A64F-F0F5-4F1A-8961-A52889254D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3305947"/>
              <a:ext cx="91607" cy="311735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3" name="Freeform 151">
              <a:extLst>
                <a:ext uri="{FF2B5EF4-FFF2-40B4-BE49-F238E27FC236}">
                  <a16:creationId xmlns:a16="http://schemas.microsoft.com/office/drawing/2014/main" id="{206A12E7-3949-4405-8D2E-440CC3374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6259" y="3122734"/>
              <a:ext cx="56058" cy="35549"/>
            </a:xfrm>
            <a:custGeom>
              <a:avLst/>
              <a:gdLst>
                <a:gd name="T0" fmla="*/ 22 w 22"/>
                <a:gd name="T1" fmla="*/ 0 h 14"/>
                <a:gd name="T2" fmla="*/ 1 w 22"/>
                <a:gd name="T3" fmla="*/ 6 h 14"/>
                <a:gd name="T4" fmla="*/ 0 w 22"/>
                <a:gd name="T5" fmla="*/ 6 h 14"/>
                <a:gd name="T6" fmla="*/ 1 w 22"/>
                <a:gd name="T7" fmla="*/ 9 h 14"/>
                <a:gd name="T8" fmla="*/ 3 w 22"/>
                <a:gd name="T9" fmla="*/ 14 h 14"/>
                <a:gd name="T10" fmla="*/ 22 w 22"/>
                <a:gd name="T11" fmla="*/ 9 h 14"/>
                <a:gd name="T12" fmla="*/ 22 w 22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4">
                  <a:moveTo>
                    <a:pt x="22" y="0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2" y="3"/>
                    <a:pt x="22" y="0"/>
                  </a:cubicBezTo>
                </a:path>
              </a:pathLst>
            </a:custGeom>
            <a:solidFill>
              <a:srgbClr val="A10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4" name="Freeform 152">
              <a:extLst>
                <a:ext uri="{FF2B5EF4-FFF2-40B4-BE49-F238E27FC236}">
                  <a16:creationId xmlns:a16="http://schemas.microsoft.com/office/drawing/2014/main" id="{66F1BC76-F7B1-4C9B-8771-F56DCD0A0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5890"/>
              <a:ext cx="23244" cy="30080"/>
            </a:xfrm>
            <a:custGeom>
              <a:avLst/>
              <a:gdLst>
                <a:gd name="T0" fmla="*/ 1 w 9"/>
                <a:gd name="T1" fmla="*/ 0 h 12"/>
                <a:gd name="T2" fmla="*/ 0 w 9"/>
                <a:gd name="T3" fmla="*/ 0 h 12"/>
                <a:gd name="T4" fmla="*/ 9 w 9"/>
                <a:gd name="T5" fmla="*/ 12 h 12"/>
                <a:gd name="T6" fmla="*/ 9 w 9"/>
                <a:gd name="T7" fmla="*/ 11 h 12"/>
                <a:gd name="T8" fmla="*/ 1 w 9"/>
                <a:gd name="T9" fmla="*/ 2 h 12"/>
                <a:gd name="T10" fmla="*/ 1 w 9"/>
                <a:gd name="T11" fmla="*/ 3 h 12"/>
                <a:gd name="T12" fmla="*/ 1 w 9"/>
                <a:gd name="T13" fmla="*/ 2 h 12"/>
                <a:gd name="T14" fmla="*/ 1 w 9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7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5" y="8"/>
                    <a:pt x="3" y="5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5" name="Freeform 153">
              <a:extLst>
                <a:ext uri="{FF2B5EF4-FFF2-40B4-BE49-F238E27FC236}">
                  <a16:creationId xmlns:a16="http://schemas.microsoft.com/office/drawing/2014/main" id="{EB1FEB95-7A09-4A2B-A608-2680EAF5A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3015" y="2244952"/>
              <a:ext cx="20509" cy="20509"/>
            </a:xfrm>
            <a:custGeom>
              <a:avLst/>
              <a:gdLst>
                <a:gd name="T0" fmla="*/ 7 w 8"/>
                <a:gd name="T1" fmla="*/ 0 h 8"/>
                <a:gd name="T2" fmla="*/ 6 w 8"/>
                <a:gd name="T3" fmla="*/ 0 h 8"/>
                <a:gd name="T4" fmla="*/ 0 w 8"/>
                <a:gd name="T5" fmla="*/ 6 h 8"/>
                <a:gd name="T6" fmla="*/ 0 w 8"/>
                <a:gd name="T7" fmla="*/ 7 h 8"/>
                <a:gd name="T8" fmla="*/ 1 w 8"/>
                <a:gd name="T9" fmla="*/ 8 h 8"/>
                <a:gd name="T10" fmla="*/ 2 w 8"/>
                <a:gd name="T11" fmla="*/ 7 h 8"/>
                <a:gd name="T12" fmla="*/ 4 w 8"/>
                <a:gd name="T13" fmla="*/ 4 h 8"/>
                <a:gd name="T14" fmla="*/ 5 w 8"/>
                <a:gd name="T15" fmla="*/ 4 h 8"/>
                <a:gd name="T16" fmla="*/ 4 w 8"/>
                <a:gd name="T17" fmla="*/ 3 h 8"/>
                <a:gd name="T18" fmla="*/ 4 w 8"/>
                <a:gd name="T19" fmla="*/ 3 h 8"/>
                <a:gd name="T20" fmla="*/ 5 w 8"/>
                <a:gd name="T21" fmla="*/ 3 h 8"/>
                <a:gd name="T22" fmla="*/ 7 w 8"/>
                <a:gd name="T23" fmla="*/ 1 h 8"/>
                <a:gd name="T24" fmla="*/ 7 w 8"/>
                <a:gd name="T25" fmla="*/ 0 h 8"/>
                <a:gd name="T26" fmla="*/ 7 w 8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8"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6" name="Freeform 154">
              <a:extLst>
                <a:ext uri="{FF2B5EF4-FFF2-40B4-BE49-F238E27FC236}">
                  <a16:creationId xmlns:a16="http://schemas.microsoft.com/office/drawing/2014/main" id="{E81D47B2-EFD4-4146-BC2C-130B9681A8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22586" y="2253156"/>
              <a:ext cx="23244" cy="30080"/>
            </a:xfrm>
            <a:custGeom>
              <a:avLst/>
              <a:gdLst>
                <a:gd name="T0" fmla="*/ 4 w 9"/>
                <a:gd name="T1" fmla="*/ 1 h 12"/>
                <a:gd name="T2" fmla="*/ 1 w 9"/>
                <a:gd name="T3" fmla="*/ 3 h 12"/>
                <a:gd name="T4" fmla="*/ 9 w 9"/>
                <a:gd name="T5" fmla="*/ 12 h 12"/>
                <a:gd name="T6" fmla="*/ 8 w 9"/>
                <a:gd name="T7" fmla="*/ 1 h 12"/>
                <a:gd name="T8" fmla="*/ 4 w 9"/>
                <a:gd name="T9" fmla="*/ 1 h 12"/>
                <a:gd name="T10" fmla="*/ 0 w 9"/>
                <a:gd name="T11" fmla="*/ 0 h 12"/>
                <a:gd name="T12" fmla="*/ 1 w 9"/>
                <a:gd name="T13" fmla="*/ 1 h 12"/>
                <a:gd name="T14" fmla="*/ 1 w 9"/>
                <a:gd name="T15" fmla="*/ 3 h 12"/>
                <a:gd name="T16" fmla="*/ 0 w 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4" y="1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3" y="6"/>
                    <a:pt x="5" y="9"/>
                    <a:pt x="9" y="12"/>
                  </a:cubicBezTo>
                  <a:cubicBezTo>
                    <a:pt x="9" y="8"/>
                    <a:pt x="8" y="5"/>
                    <a:pt x="8" y="1"/>
                  </a:cubicBezTo>
                  <a:cubicBezTo>
                    <a:pt x="4" y="1"/>
                    <a:pt x="4" y="1"/>
                    <a:pt x="4" y="1"/>
                  </a:cubicBezTo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7" name="Freeform 155">
              <a:extLst>
                <a:ext uri="{FF2B5EF4-FFF2-40B4-BE49-F238E27FC236}">
                  <a16:creationId xmlns:a16="http://schemas.microsoft.com/office/drawing/2014/main" id="{FF15DCE1-49B5-41FA-ABF0-ED62940E21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8245" y="2201200"/>
              <a:ext cx="5469" cy="273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8" name="Freeform 156">
              <a:extLst>
                <a:ext uri="{FF2B5EF4-FFF2-40B4-BE49-F238E27FC236}">
                  <a16:creationId xmlns:a16="http://schemas.microsoft.com/office/drawing/2014/main" id="{9BA5E2EC-76D3-4770-8A9A-5E9C29DB52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8245" y="2201200"/>
              <a:ext cx="5469" cy="273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9" name="Freeform 157">
              <a:extLst>
                <a:ext uri="{FF2B5EF4-FFF2-40B4-BE49-F238E27FC236}">
                  <a16:creationId xmlns:a16="http://schemas.microsoft.com/office/drawing/2014/main" id="{117A9941-7118-4162-92D9-9AD87619EC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0938" cy="9571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0" name="Freeform 158">
              <a:extLst>
                <a:ext uri="{FF2B5EF4-FFF2-40B4-BE49-F238E27FC236}">
                  <a16:creationId xmlns:a16="http://schemas.microsoft.com/office/drawing/2014/main" id="{CB9D3ECC-F06A-4F64-8AEE-1448DF1BBD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22586" y="2253156"/>
              <a:ext cx="10938" cy="9571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1" name="Freeform 159">
              <a:extLst>
                <a:ext uri="{FF2B5EF4-FFF2-40B4-BE49-F238E27FC236}">
                  <a16:creationId xmlns:a16="http://schemas.microsoft.com/office/drawing/2014/main" id="{94769B11-3B5E-4F4E-A4C7-F8C4E3C3F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267" y="2250421"/>
              <a:ext cx="90239" cy="79301"/>
            </a:xfrm>
            <a:custGeom>
              <a:avLst/>
              <a:gdLst>
                <a:gd name="T0" fmla="*/ 12 w 35"/>
                <a:gd name="T1" fmla="*/ 0 h 31"/>
                <a:gd name="T2" fmla="*/ 6 w 35"/>
                <a:gd name="T3" fmla="*/ 3 h 31"/>
                <a:gd name="T4" fmla="*/ 19 w 35"/>
                <a:gd name="T5" fmla="*/ 30 h 31"/>
                <a:gd name="T6" fmla="*/ 19 w 35"/>
                <a:gd name="T7" fmla="*/ 30 h 31"/>
                <a:gd name="T8" fmla="*/ 22 w 35"/>
                <a:gd name="T9" fmla="*/ 31 h 31"/>
                <a:gd name="T10" fmla="*/ 24 w 35"/>
                <a:gd name="T11" fmla="*/ 31 h 31"/>
                <a:gd name="T12" fmla="*/ 35 w 35"/>
                <a:gd name="T13" fmla="*/ 27 h 31"/>
                <a:gd name="T14" fmla="*/ 35 w 35"/>
                <a:gd name="T15" fmla="*/ 27 h 31"/>
                <a:gd name="T16" fmla="*/ 35 w 35"/>
                <a:gd name="T17" fmla="*/ 27 h 31"/>
                <a:gd name="T18" fmla="*/ 35 w 35"/>
                <a:gd name="T19" fmla="*/ 26 h 31"/>
                <a:gd name="T20" fmla="*/ 24 w 35"/>
                <a:gd name="T21" fmla="*/ 7 h 31"/>
                <a:gd name="T22" fmla="*/ 24 w 35"/>
                <a:gd name="T23" fmla="*/ 7 h 31"/>
                <a:gd name="T24" fmla="*/ 12 w 3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31">
                  <a:moveTo>
                    <a:pt x="12" y="0"/>
                  </a:moveTo>
                  <a:cubicBezTo>
                    <a:pt x="10" y="0"/>
                    <a:pt x="8" y="1"/>
                    <a:pt x="6" y="3"/>
                  </a:cubicBezTo>
                  <a:cubicBezTo>
                    <a:pt x="0" y="10"/>
                    <a:pt x="8" y="27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1" y="31"/>
                    <a:pt x="22" y="31"/>
                  </a:cubicBezTo>
                  <a:cubicBezTo>
                    <a:pt x="22" y="31"/>
                    <a:pt x="23" y="31"/>
                    <a:pt x="24" y="31"/>
                  </a:cubicBezTo>
                  <a:cubicBezTo>
                    <a:pt x="30" y="31"/>
                    <a:pt x="33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5"/>
                    <a:pt x="18" y="0"/>
                    <a:pt x="12" y="0"/>
                  </a:cubicBezTo>
                </a:path>
              </a:pathLst>
            </a:custGeom>
            <a:solidFill>
              <a:srgbClr val="C56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2" name="Freeform 160">
              <a:extLst>
                <a:ext uri="{FF2B5EF4-FFF2-40B4-BE49-F238E27FC236}">
                  <a16:creationId xmlns:a16="http://schemas.microsoft.com/office/drawing/2014/main" id="{D85E5E50-38F2-475E-9C7F-A7F96D95C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8245" y="2162916"/>
              <a:ext cx="108014" cy="99810"/>
            </a:xfrm>
            <a:custGeom>
              <a:avLst/>
              <a:gdLst>
                <a:gd name="T0" fmla="*/ 41 w 42"/>
                <a:gd name="T1" fmla="*/ 0 h 39"/>
                <a:gd name="T2" fmla="*/ 2 w 42"/>
                <a:gd name="T3" fmla="*/ 16 h 39"/>
                <a:gd name="T4" fmla="*/ 2 w 42"/>
                <a:gd name="T5" fmla="*/ 15 h 39"/>
                <a:gd name="T6" fmla="*/ 0 w 42"/>
                <a:gd name="T7" fmla="*/ 16 h 39"/>
                <a:gd name="T8" fmla="*/ 1 w 42"/>
                <a:gd name="T9" fmla="*/ 16 h 39"/>
                <a:gd name="T10" fmla="*/ 1 w 42"/>
                <a:gd name="T11" fmla="*/ 16 h 39"/>
                <a:gd name="T12" fmla="*/ 13 w 42"/>
                <a:gd name="T13" fmla="*/ 39 h 39"/>
                <a:gd name="T14" fmla="*/ 13 w 42"/>
                <a:gd name="T15" fmla="*/ 39 h 39"/>
                <a:gd name="T16" fmla="*/ 42 w 42"/>
                <a:gd name="T17" fmla="*/ 9 h 39"/>
                <a:gd name="T18" fmla="*/ 41 w 42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9">
                  <a:moveTo>
                    <a:pt x="41" y="0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23" y="36"/>
                    <a:pt x="35" y="22"/>
                    <a:pt x="42" y="9"/>
                  </a:cubicBezTo>
                  <a:cubicBezTo>
                    <a:pt x="42" y="6"/>
                    <a:pt x="42" y="3"/>
                    <a:pt x="41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3" name="Freeform 161">
              <a:extLst>
                <a:ext uri="{FF2B5EF4-FFF2-40B4-BE49-F238E27FC236}">
                  <a16:creationId xmlns:a16="http://schemas.microsoft.com/office/drawing/2014/main" id="{8935ADEF-4B5B-4246-ADA0-C6EA440873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6908" y="2045332"/>
              <a:ext cx="266616" cy="158602"/>
            </a:xfrm>
            <a:custGeom>
              <a:avLst/>
              <a:gdLst>
                <a:gd name="T0" fmla="*/ 98 w 104"/>
                <a:gd name="T1" fmla="*/ 0 h 62"/>
                <a:gd name="T2" fmla="*/ 0 w 104"/>
                <a:gd name="T3" fmla="*/ 49 h 62"/>
                <a:gd name="T4" fmla="*/ 1 w 104"/>
                <a:gd name="T5" fmla="*/ 57 h 62"/>
                <a:gd name="T6" fmla="*/ 44 w 104"/>
                <a:gd name="T7" fmla="*/ 31 h 62"/>
                <a:gd name="T8" fmla="*/ 65 w 104"/>
                <a:gd name="T9" fmla="*/ 61 h 62"/>
                <a:gd name="T10" fmla="*/ 65 w 104"/>
                <a:gd name="T11" fmla="*/ 61 h 62"/>
                <a:gd name="T12" fmla="*/ 65 w 104"/>
                <a:gd name="T13" fmla="*/ 61 h 62"/>
                <a:gd name="T14" fmla="*/ 65 w 104"/>
                <a:gd name="T15" fmla="*/ 62 h 62"/>
                <a:gd name="T16" fmla="*/ 104 w 104"/>
                <a:gd name="T17" fmla="*/ 46 h 62"/>
                <a:gd name="T18" fmla="*/ 101 w 104"/>
                <a:gd name="T19" fmla="*/ 18 h 62"/>
                <a:gd name="T20" fmla="*/ 98 w 104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62">
                  <a:moveTo>
                    <a:pt x="98" y="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3" y="37"/>
                    <a:pt x="102" y="27"/>
                    <a:pt x="101" y="18"/>
                  </a:cubicBezTo>
                  <a:cubicBezTo>
                    <a:pt x="101" y="12"/>
                    <a:pt x="100" y="6"/>
                    <a:pt x="98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4" name="Freeform 162">
              <a:extLst>
                <a:ext uri="{FF2B5EF4-FFF2-40B4-BE49-F238E27FC236}">
                  <a16:creationId xmlns:a16="http://schemas.microsoft.com/office/drawing/2014/main" id="{8B5C280D-7406-4203-8BFD-1D2BCB8C6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114" y="5406059"/>
              <a:ext cx="375997" cy="309001"/>
            </a:xfrm>
            <a:custGeom>
              <a:avLst/>
              <a:gdLst>
                <a:gd name="T0" fmla="*/ 143 w 147"/>
                <a:gd name="T1" fmla="*/ 7 h 121"/>
                <a:gd name="T2" fmla="*/ 147 w 147"/>
                <a:gd name="T3" fmla="*/ 42 h 121"/>
                <a:gd name="T4" fmla="*/ 17 w 147"/>
                <a:gd name="T5" fmla="*/ 117 h 121"/>
                <a:gd name="T6" fmla="*/ 46 w 147"/>
                <a:gd name="T7" fmla="*/ 47 h 121"/>
                <a:gd name="T8" fmla="*/ 109 w 147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21">
                  <a:moveTo>
                    <a:pt x="143" y="7"/>
                  </a:move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33" y="121"/>
                    <a:pt x="17" y="117"/>
                  </a:cubicBezTo>
                  <a:cubicBezTo>
                    <a:pt x="0" y="113"/>
                    <a:pt x="2" y="69"/>
                    <a:pt x="46" y="47"/>
                  </a:cubicBezTo>
                  <a:cubicBezTo>
                    <a:pt x="91" y="26"/>
                    <a:pt x="109" y="0"/>
                    <a:pt x="109" y="0"/>
                  </a:cubicBezTo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5" name="Freeform 163">
              <a:extLst>
                <a:ext uri="{FF2B5EF4-FFF2-40B4-BE49-F238E27FC236}">
                  <a16:creationId xmlns:a16="http://schemas.microsoft.com/office/drawing/2014/main" id="{576957D3-E4E3-459E-B5F8-62C65CA43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5996" y="5077917"/>
              <a:ext cx="117584" cy="370528"/>
            </a:xfrm>
            <a:custGeom>
              <a:avLst/>
              <a:gdLst>
                <a:gd name="T0" fmla="*/ 46 w 46"/>
                <a:gd name="T1" fmla="*/ 10 h 145"/>
                <a:gd name="T2" fmla="*/ 38 w 46"/>
                <a:gd name="T3" fmla="*/ 136 h 145"/>
                <a:gd name="T4" fmla="*/ 6 w 46"/>
                <a:gd name="T5" fmla="*/ 126 h 145"/>
                <a:gd name="T6" fmla="*/ 0 w 46"/>
                <a:gd name="T7" fmla="*/ 0 h 145"/>
                <a:gd name="T8" fmla="*/ 46 w 46"/>
                <a:gd name="T9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45">
                  <a:moveTo>
                    <a:pt x="46" y="10"/>
                  </a:moveTo>
                  <a:cubicBezTo>
                    <a:pt x="38" y="136"/>
                    <a:pt x="38" y="136"/>
                    <a:pt x="38" y="136"/>
                  </a:cubicBezTo>
                  <a:cubicBezTo>
                    <a:pt x="38" y="136"/>
                    <a:pt x="16" y="145"/>
                    <a:pt x="6" y="1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7" y="10"/>
                    <a:pt x="46" y="10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6" name="Freeform 164">
              <a:extLst>
                <a:ext uri="{FF2B5EF4-FFF2-40B4-BE49-F238E27FC236}">
                  <a16:creationId xmlns:a16="http://schemas.microsoft.com/office/drawing/2014/main" id="{F0E5B758-4353-456F-A643-AAFCF3E57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20269" y="2794591"/>
              <a:ext cx="414280" cy="1207292"/>
            </a:xfrm>
            <a:custGeom>
              <a:avLst/>
              <a:gdLst>
                <a:gd name="T0" fmla="*/ 148 w 162"/>
                <a:gd name="T1" fmla="*/ 0 h 472"/>
                <a:gd name="T2" fmla="*/ 77 w 162"/>
                <a:gd name="T3" fmla="*/ 73 h 472"/>
                <a:gd name="T4" fmla="*/ 0 w 162"/>
                <a:gd name="T5" fmla="*/ 442 h 472"/>
                <a:gd name="T6" fmla="*/ 96 w 162"/>
                <a:gd name="T7" fmla="*/ 467 h 472"/>
                <a:gd name="T8" fmla="*/ 100 w 162"/>
                <a:gd name="T9" fmla="*/ 466 h 472"/>
                <a:gd name="T10" fmla="*/ 148 w 162"/>
                <a:gd name="T11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472">
                  <a:moveTo>
                    <a:pt x="148" y="0"/>
                  </a:moveTo>
                  <a:cubicBezTo>
                    <a:pt x="148" y="0"/>
                    <a:pt x="93" y="10"/>
                    <a:pt x="77" y="73"/>
                  </a:cubicBezTo>
                  <a:cubicBezTo>
                    <a:pt x="60" y="136"/>
                    <a:pt x="0" y="442"/>
                    <a:pt x="0" y="442"/>
                  </a:cubicBezTo>
                  <a:cubicBezTo>
                    <a:pt x="0" y="442"/>
                    <a:pt x="37" y="472"/>
                    <a:pt x="96" y="467"/>
                  </a:cubicBezTo>
                  <a:cubicBezTo>
                    <a:pt x="98" y="467"/>
                    <a:pt x="99" y="466"/>
                    <a:pt x="100" y="466"/>
                  </a:cubicBezTo>
                  <a:cubicBezTo>
                    <a:pt x="162" y="459"/>
                    <a:pt x="148" y="0"/>
                    <a:pt x="148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7" name="Freeform 165">
              <a:extLst>
                <a:ext uri="{FF2B5EF4-FFF2-40B4-BE49-F238E27FC236}">
                  <a16:creationId xmlns:a16="http://schemas.microsoft.com/office/drawing/2014/main" id="{BA813C68-CAB8-432E-A079-296EC86A5A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132" y="2749472"/>
              <a:ext cx="974857" cy="2571818"/>
            </a:xfrm>
            <a:custGeom>
              <a:avLst/>
              <a:gdLst>
                <a:gd name="T0" fmla="*/ 197 w 381"/>
                <a:gd name="T1" fmla="*/ 0 h 1006"/>
                <a:gd name="T2" fmla="*/ 270 w 381"/>
                <a:gd name="T3" fmla="*/ 60 h 1006"/>
                <a:gd name="T4" fmla="*/ 381 w 381"/>
                <a:gd name="T5" fmla="*/ 840 h 1006"/>
                <a:gd name="T6" fmla="*/ 0 w 381"/>
                <a:gd name="T7" fmla="*/ 861 h 1006"/>
                <a:gd name="T8" fmla="*/ 28 w 381"/>
                <a:gd name="T9" fmla="*/ 57 h 1006"/>
                <a:gd name="T10" fmla="*/ 61 w 381"/>
                <a:gd name="T11" fmla="*/ 18 h 1006"/>
                <a:gd name="T12" fmla="*/ 100 w 381"/>
                <a:gd name="T13" fmla="*/ 4 h 1006"/>
                <a:gd name="T14" fmla="*/ 197 w 381"/>
                <a:gd name="T1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" h="1006">
                  <a:moveTo>
                    <a:pt x="197" y="0"/>
                  </a:moveTo>
                  <a:cubicBezTo>
                    <a:pt x="197" y="0"/>
                    <a:pt x="257" y="1"/>
                    <a:pt x="270" y="60"/>
                  </a:cubicBezTo>
                  <a:cubicBezTo>
                    <a:pt x="282" y="119"/>
                    <a:pt x="381" y="840"/>
                    <a:pt x="381" y="840"/>
                  </a:cubicBezTo>
                  <a:cubicBezTo>
                    <a:pt x="381" y="840"/>
                    <a:pt x="114" y="1006"/>
                    <a:pt x="0" y="861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36" y="29"/>
                    <a:pt x="61" y="18"/>
                  </a:cubicBezTo>
                  <a:cubicBezTo>
                    <a:pt x="86" y="7"/>
                    <a:pt x="100" y="4"/>
                    <a:pt x="100" y="4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8" name="Freeform 166">
              <a:extLst>
                <a:ext uri="{FF2B5EF4-FFF2-40B4-BE49-F238E27FC236}">
                  <a16:creationId xmlns:a16="http://schemas.microsoft.com/office/drawing/2014/main" id="{A2734A27-781B-46BF-AE76-5BDE30A8F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8062" y="2214872"/>
              <a:ext cx="302165" cy="380099"/>
            </a:xfrm>
            <a:custGeom>
              <a:avLst/>
              <a:gdLst>
                <a:gd name="T0" fmla="*/ 16 w 118"/>
                <a:gd name="T1" fmla="*/ 13 h 149"/>
                <a:gd name="T2" fmla="*/ 4 w 118"/>
                <a:gd name="T3" fmla="*/ 113 h 149"/>
                <a:gd name="T4" fmla="*/ 36 w 118"/>
                <a:gd name="T5" fmla="*/ 148 h 149"/>
                <a:gd name="T6" fmla="*/ 94 w 118"/>
                <a:gd name="T7" fmla="*/ 96 h 149"/>
                <a:gd name="T8" fmla="*/ 100 w 118"/>
                <a:gd name="T9" fmla="*/ 75 h 149"/>
                <a:gd name="T10" fmla="*/ 118 w 118"/>
                <a:gd name="T11" fmla="*/ 57 h 149"/>
                <a:gd name="T12" fmla="*/ 99 w 118"/>
                <a:gd name="T13" fmla="*/ 35 h 149"/>
                <a:gd name="T14" fmla="*/ 102 w 118"/>
                <a:gd name="T15" fmla="*/ 0 h 149"/>
                <a:gd name="T16" fmla="*/ 16 w 118"/>
                <a:gd name="T17" fmla="*/ 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49">
                  <a:moveTo>
                    <a:pt x="16" y="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0" y="147"/>
                    <a:pt x="36" y="148"/>
                  </a:cubicBezTo>
                  <a:cubicBezTo>
                    <a:pt x="73" y="149"/>
                    <a:pt x="90" y="112"/>
                    <a:pt x="94" y="96"/>
                  </a:cubicBezTo>
                  <a:cubicBezTo>
                    <a:pt x="99" y="80"/>
                    <a:pt x="100" y="75"/>
                    <a:pt x="100" y="75"/>
                  </a:cubicBezTo>
                  <a:cubicBezTo>
                    <a:pt x="100" y="75"/>
                    <a:pt x="118" y="76"/>
                    <a:pt x="118" y="57"/>
                  </a:cubicBezTo>
                  <a:cubicBezTo>
                    <a:pt x="117" y="37"/>
                    <a:pt x="107" y="30"/>
                    <a:pt x="99" y="3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6" y="13"/>
                    <a:pt x="16" y="13"/>
                    <a:pt x="16" y="13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9" name="Freeform 167">
              <a:extLst>
                <a:ext uri="{FF2B5EF4-FFF2-40B4-BE49-F238E27FC236}">
                  <a16:creationId xmlns:a16="http://schemas.microsoft.com/office/drawing/2014/main" id="{655A3740-EA1A-431C-86AE-DC39A20F2A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3261" y="2406289"/>
              <a:ext cx="284390" cy="575617"/>
            </a:xfrm>
            <a:custGeom>
              <a:avLst/>
              <a:gdLst>
                <a:gd name="T0" fmla="*/ 71 w 111"/>
                <a:gd name="T1" fmla="*/ 0 h 225"/>
                <a:gd name="T2" fmla="*/ 75 w 111"/>
                <a:gd name="T3" fmla="*/ 116 h 225"/>
                <a:gd name="T4" fmla="*/ 111 w 111"/>
                <a:gd name="T5" fmla="*/ 134 h 225"/>
                <a:gd name="T6" fmla="*/ 17 w 111"/>
                <a:gd name="T7" fmla="*/ 225 h 225"/>
                <a:gd name="T8" fmla="*/ 0 w 111"/>
                <a:gd name="T9" fmla="*/ 141 h 225"/>
                <a:gd name="T10" fmla="*/ 34 w 111"/>
                <a:gd name="T11" fmla="*/ 122 h 225"/>
                <a:gd name="T12" fmla="*/ 42 w 111"/>
                <a:gd name="T13" fmla="*/ 58 h 225"/>
                <a:gd name="T14" fmla="*/ 71 w 111"/>
                <a:gd name="T1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225">
                  <a:moveTo>
                    <a:pt x="71" y="0"/>
                  </a:moveTo>
                  <a:cubicBezTo>
                    <a:pt x="71" y="0"/>
                    <a:pt x="65" y="106"/>
                    <a:pt x="75" y="116"/>
                  </a:cubicBezTo>
                  <a:cubicBezTo>
                    <a:pt x="86" y="126"/>
                    <a:pt x="111" y="134"/>
                    <a:pt x="111" y="134"/>
                  </a:cubicBezTo>
                  <a:cubicBezTo>
                    <a:pt x="17" y="225"/>
                    <a:pt x="17" y="225"/>
                    <a:pt x="17" y="225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41"/>
                    <a:pt x="30" y="139"/>
                    <a:pt x="34" y="122"/>
                  </a:cubicBezTo>
                  <a:cubicBezTo>
                    <a:pt x="39" y="105"/>
                    <a:pt x="42" y="58"/>
                    <a:pt x="42" y="58"/>
                  </a:cubicBezTo>
                  <a:cubicBezTo>
                    <a:pt x="42" y="58"/>
                    <a:pt x="61" y="39"/>
                    <a:pt x="71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0" name="Freeform 168">
              <a:extLst>
                <a:ext uri="{FF2B5EF4-FFF2-40B4-BE49-F238E27FC236}">
                  <a16:creationId xmlns:a16="http://schemas.microsoft.com/office/drawing/2014/main" id="{46121852-A7D3-4D0A-9662-F4EAF8A0B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4549" y="2429533"/>
              <a:ext cx="94341" cy="45120"/>
            </a:xfrm>
            <a:custGeom>
              <a:avLst/>
              <a:gdLst>
                <a:gd name="T0" fmla="*/ 0 w 37"/>
                <a:gd name="T1" fmla="*/ 11 h 18"/>
                <a:gd name="T2" fmla="*/ 14 w 37"/>
                <a:gd name="T3" fmla="*/ 18 h 18"/>
                <a:gd name="T4" fmla="*/ 21 w 37"/>
                <a:gd name="T5" fmla="*/ 17 h 18"/>
                <a:gd name="T6" fmla="*/ 37 w 37"/>
                <a:gd name="T7" fmla="*/ 1 h 18"/>
                <a:gd name="T8" fmla="*/ 36 w 37"/>
                <a:gd name="T9" fmla="*/ 0 h 18"/>
                <a:gd name="T10" fmla="*/ 35 w 37"/>
                <a:gd name="T11" fmla="*/ 1 h 18"/>
                <a:gd name="T12" fmla="*/ 35 w 37"/>
                <a:gd name="T13" fmla="*/ 1 h 18"/>
                <a:gd name="T14" fmla="*/ 20 w 37"/>
                <a:gd name="T15" fmla="*/ 15 h 18"/>
                <a:gd name="T16" fmla="*/ 14 w 37"/>
                <a:gd name="T17" fmla="*/ 16 h 18"/>
                <a:gd name="T18" fmla="*/ 5 w 37"/>
                <a:gd name="T19" fmla="*/ 13 h 18"/>
                <a:gd name="T20" fmla="*/ 3 w 37"/>
                <a:gd name="T21" fmla="*/ 11 h 18"/>
                <a:gd name="T22" fmla="*/ 2 w 37"/>
                <a:gd name="T23" fmla="*/ 10 h 18"/>
                <a:gd name="T24" fmla="*/ 2 w 37"/>
                <a:gd name="T25" fmla="*/ 10 h 18"/>
                <a:gd name="T26" fmla="*/ 0 w 37"/>
                <a:gd name="T27" fmla="*/ 10 h 18"/>
                <a:gd name="T28" fmla="*/ 0 w 37"/>
                <a:gd name="T2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18">
                  <a:moveTo>
                    <a:pt x="0" y="11"/>
                  </a:moveTo>
                  <a:cubicBezTo>
                    <a:pt x="0" y="11"/>
                    <a:pt x="6" y="18"/>
                    <a:pt x="14" y="18"/>
                  </a:cubicBezTo>
                  <a:cubicBezTo>
                    <a:pt x="16" y="18"/>
                    <a:pt x="19" y="18"/>
                    <a:pt x="21" y="17"/>
                  </a:cubicBezTo>
                  <a:cubicBezTo>
                    <a:pt x="33" y="13"/>
                    <a:pt x="37" y="1"/>
                    <a:pt x="37" y="1"/>
                  </a:cubicBezTo>
                  <a:cubicBezTo>
                    <a:pt x="37" y="1"/>
                    <a:pt x="36" y="0"/>
                    <a:pt x="36" y="0"/>
                  </a:cubicBezTo>
                  <a:cubicBezTo>
                    <a:pt x="35" y="0"/>
                    <a:pt x="35" y="0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3"/>
                    <a:pt x="30" y="12"/>
                    <a:pt x="20" y="15"/>
                  </a:cubicBezTo>
                  <a:cubicBezTo>
                    <a:pt x="18" y="16"/>
                    <a:pt x="16" y="16"/>
                    <a:pt x="14" y="16"/>
                  </a:cubicBezTo>
                  <a:cubicBezTo>
                    <a:pt x="11" y="16"/>
                    <a:pt x="7" y="15"/>
                    <a:pt x="5" y="13"/>
                  </a:cubicBezTo>
                  <a:cubicBezTo>
                    <a:pt x="4" y="12"/>
                    <a:pt x="3" y="12"/>
                    <a:pt x="3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1" name="Freeform 169">
              <a:extLst>
                <a:ext uri="{FF2B5EF4-FFF2-40B4-BE49-F238E27FC236}">
                  <a16:creationId xmlns:a16="http://schemas.microsoft.com/office/drawing/2014/main" id="{04256A93-A9CE-41AF-99DE-3A3A793310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55058" y="2329722"/>
              <a:ext cx="31447" cy="106646"/>
            </a:xfrm>
            <a:custGeom>
              <a:avLst/>
              <a:gdLst>
                <a:gd name="T0" fmla="*/ 6 w 23"/>
                <a:gd name="T1" fmla="*/ 0 h 78"/>
                <a:gd name="T2" fmla="*/ 23 w 23"/>
                <a:gd name="T3" fmla="*/ 56 h 78"/>
                <a:gd name="T4" fmla="*/ 0 w 23"/>
                <a:gd name="T5" fmla="*/ 78 h 78"/>
                <a:gd name="T6" fmla="*/ 6 w 2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78">
                  <a:moveTo>
                    <a:pt x="6" y="0"/>
                  </a:moveTo>
                  <a:lnTo>
                    <a:pt x="23" y="56"/>
                  </a:lnTo>
                  <a:lnTo>
                    <a:pt x="0" y="7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2" name="Freeform 170">
              <a:extLst>
                <a:ext uri="{FF2B5EF4-FFF2-40B4-BE49-F238E27FC236}">
                  <a16:creationId xmlns:a16="http://schemas.microsoft.com/office/drawing/2014/main" id="{689A5A27-8CAE-48A6-8CFF-7C36DE56A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52323" y="2294173"/>
              <a:ext cx="49221" cy="144930"/>
            </a:xfrm>
            <a:custGeom>
              <a:avLst/>
              <a:gdLst>
                <a:gd name="T0" fmla="*/ 4 w 19"/>
                <a:gd name="T1" fmla="*/ 1 h 57"/>
                <a:gd name="T2" fmla="*/ 0 w 19"/>
                <a:gd name="T3" fmla="*/ 56 h 57"/>
                <a:gd name="T4" fmla="*/ 0 w 19"/>
                <a:gd name="T5" fmla="*/ 57 h 57"/>
                <a:gd name="T6" fmla="*/ 1 w 19"/>
                <a:gd name="T7" fmla="*/ 57 h 57"/>
                <a:gd name="T8" fmla="*/ 18 w 19"/>
                <a:gd name="T9" fmla="*/ 45 h 57"/>
                <a:gd name="T10" fmla="*/ 18 w 19"/>
                <a:gd name="T11" fmla="*/ 43 h 57"/>
                <a:gd name="T12" fmla="*/ 17 w 19"/>
                <a:gd name="T13" fmla="*/ 43 h 57"/>
                <a:gd name="T14" fmla="*/ 2 w 19"/>
                <a:gd name="T15" fmla="*/ 54 h 57"/>
                <a:gd name="T16" fmla="*/ 6 w 19"/>
                <a:gd name="T17" fmla="*/ 1 h 57"/>
                <a:gd name="T18" fmla="*/ 5 w 19"/>
                <a:gd name="T19" fmla="*/ 0 h 57"/>
                <a:gd name="T20" fmla="*/ 4 w 19"/>
                <a:gd name="T21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7">
                  <a:moveTo>
                    <a:pt x="4" y="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9" y="44"/>
                    <a:pt x="19" y="44"/>
                    <a:pt x="18" y="43"/>
                  </a:cubicBezTo>
                  <a:cubicBezTo>
                    <a:pt x="18" y="43"/>
                    <a:pt x="17" y="43"/>
                    <a:pt x="17" y="4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3" name="Freeform 171">
              <a:extLst>
                <a:ext uri="{FF2B5EF4-FFF2-40B4-BE49-F238E27FC236}">
                  <a16:creationId xmlns:a16="http://schemas.microsoft.com/office/drawing/2014/main" id="{ED76F4C2-D03E-41FE-B120-D2BF560FE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3660" y="2295541"/>
              <a:ext cx="99810" cy="113483"/>
            </a:xfrm>
            <a:custGeom>
              <a:avLst/>
              <a:gdLst>
                <a:gd name="T0" fmla="*/ 7 w 39"/>
                <a:gd name="T1" fmla="*/ 7 h 44"/>
                <a:gd name="T2" fmla="*/ 21 w 39"/>
                <a:gd name="T3" fmla="*/ 3 h 44"/>
                <a:gd name="T4" fmla="*/ 20 w 39"/>
                <a:gd name="T5" fmla="*/ 42 h 44"/>
                <a:gd name="T6" fmla="*/ 7 w 39"/>
                <a:gd name="T7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44">
                  <a:moveTo>
                    <a:pt x="7" y="7"/>
                  </a:moveTo>
                  <a:cubicBezTo>
                    <a:pt x="7" y="7"/>
                    <a:pt x="9" y="0"/>
                    <a:pt x="21" y="3"/>
                  </a:cubicBezTo>
                  <a:cubicBezTo>
                    <a:pt x="32" y="5"/>
                    <a:pt x="39" y="39"/>
                    <a:pt x="20" y="42"/>
                  </a:cubicBezTo>
                  <a:cubicBezTo>
                    <a:pt x="1" y="44"/>
                    <a:pt x="0" y="19"/>
                    <a:pt x="7" y="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4" name="Freeform 172">
              <a:extLst>
                <a:ext uri="{FF2B5EF4-FFF2-40B4-BE49-F238E27FC236}">
                  <a16:creationId xmlns:a16="http://schemas.microsoft.com/office/drawing/2014/main" id="{011112D0-D68F-4029-A55C-5178B23FE2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9638" y="2321519"/>
              <a:ext cx="20509" cy="64262"/>
            </a:xfrm>
            <a:custGeom>
              <a:avLst/>
              <a:gdLst>
                <a:gd name="T0" fmla="*/ 6 w 8"/>
                <a:gd name="T1" fmla="*/ 1 h 25"/>
                <a:gd name="T2" fmla="*/ 0 w 8"/>
                <a:gd name="T3" fmla="*/ 24 h 25"/>
                <a:gd name="T4" fmla="*/ 0 w 8"/>
                <a:gd name="T5" fmla="*/ 25 h 25"/>
                <a:gd name="T6" fmla="*/ 1 w 8"/>
                <a:gd name="T7" fmla="*/ 25 h 25"/>
                <a:gd name="T8" fmla="*/ 8 w 8"/>
                <a:gd name="T9" fmla="*/ 20 h 25"/>
                <a:gd name="T10" fmla="*/ 8 w 8"/>
                <a:gd name="T11" fmla="*/ 18 h 25"/>
                <a:gd name="T12" fmla="*/ 7 w 8"/>
                <a:gd name="T13" fmla="*/ 18 h 25"/>
                <a:gd name="T14" fmla="*/ 3 w 8"/>
                <a:gd name="T15" fmla="*/ 21 h 25"/>
                <a:gd name="T16" fmla="*/ 8 w 8"/>
                <a:gd name="T17" fmla="*/ 2 h 25"/>
                <a:gd name="T18" fmla="*/ 8 w 8"/>
                <a:gd name="T19" fmla="*/ 0 h 25"/>
                <a:gd name="T20" fmla="*/ 6 w 8"/>
                <a:gd name="T21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25">
                  <a:moveTo>
                    <a:pt x="6" y="1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7" y="0"/>
                    <a:pt x="7" y="1"/>
                    <a:pt x="6" y="1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5" name="Freeform 173">
              <a:extLst>
                <a:ext uri="{FF2B5EF4-FFF2-40B4-BE49-F238E27FC236}">
                  <a16:creationId xmlns:a16="http://schemas.microsoft.com/office/drawing/2014/main" id="{BB9764ED-8BF3-471C-A8E6-10CA2F706B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78491" y="2298276"/>
              <a:ext cx="68363" cy="82036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1 w 27"/>
                <a:gd name="T5" fmla="*/ 26 h 32"/>
                <a:gd name="T6" fmla="*/ 13 w 27"/>
                <a:gd name="T7" fmla="*/ 30 h 32"/>
                <a:gd name="T8" fmla="*/ 5 w 27"/>
                <a:gd name="T9" fmla="*/ 26 h 32"/>
                <a:gd name="T10" fmla="*/ 2 w 27"/>
                <a:gd name="T11" fmla="*/ 16 h 32"/>
                <a:gd name="T12" fmla="*/ 5 w 27"/>
                <a:gd name="T13" fmla="*/ 6 h 32"/>
                <a:gd name="T14" fmla="*/ 13 w 27"/>
                <a:gd name="T15" fmla="*/ 2 h 32"/>
                <a:gd name="T16" fmla="*/ 21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3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3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3" y="24"/>
                    <a:pt x="21" y="26"/>
                  </a:cubicBezTo>
                  <a:cubicBezTo>
                    <a:pt x="19" y="29"/>
                    <a:pt x="16" y="30"/>
                    <a:pt x="13" y="30"/>
                  </a:cubicBezTo>
                  <a:cubicBezTo>
                    <a:pt x="10" y="30"/>
                    <a:pt x="8" y="29"/>
                    <a:pt x="5" y="26"/>
                  </a:cubicBezTo>
                  <a:cubicBezTo>
                    <a:pt x="3" y="24"/>
                    <a:pt x="2" y="20"/>
                    <a:pt x="2" y="16"/>
                  </a:cubicBezTo>
                  <a:cubicBezTo>
                    <a:pt x="2" y="12"/>
                    <a:pt x="3" y="9"/>
                    <a:pt x="5" y="6"/>
                  </a:cubicBezTo>
                  <a:cubicBezTo>
                    <a:pt x="8" y="4"/>
                    <a:pt x="10" y="2"/>
                    <a:pt x="13" y="2"/>
                  </a:cubicBezTo>
                  <a:cubicBezTo>
                    <a:pt x="16" y="2"/>
                    <a:pt x="19" y="4"/>
                    <a:pt x="21" y="6"/>
                  </a:cubicBezTo>
                  <a:cubicBezTo>
                    <a:pt x="23" y="9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2"/>
                    <a:pt x="25" y="8"/>
                    <a:pt x="23" y="5"/>
                  </a:cubicBezTo>
                  <a:cubicBezTo>
                    <a:pt x="20" y="2"/>
                    <a:pt x="17" y="0"/>
                    <a:pt x="13" y="0"/>
                  </a:cubicBezTo>
                  <a:cubicBezTo>
                    <a:pt x="10" y="0"/>
                    <a:pt x="6" y="2"/>
                    <a:pt x="4" y="5"/>
                  </a:cubicBezTo>
                  <a:cubicBezTo>
                    <a:pt x="2" y="8"/>
                    <a:pt x="0" y="12"/>
                    <a:pt x="0" y="16"/>
                  </a:cubicBezTo>
                  <a:cubicBezTo>
                    <a:pt x="0" y="21"/>
                    <a:pt x="2" y="25"/>
                    <a:pt x="4" y="27"/>
                  </a:cubicBezTo>
                  <a:cubicBezTo>
                    <a:pt x="6" y="30"/>
                    <a:pt x="10" y="32"/>
                    <a:pt x="13" y="32"/>
                  </a:cubicBezTo>
                  <a:cubicBezTo>
                    <a:pt x="17" y="32"/>
                    <a:pt x="20" y="30"/>
                    <a:pt x="23" y="27"/>
                  </a:cubicBezTo>
                  <a:cubicBezTo>
                    <a:pt x="25" y="25"/>
                    <a:pt x="27" y="21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6" name="Freeform 174">
              <a:extLst>
                <a:ext uri="{FF2B5EF4-FFF2-40B4-BE49-F238E27FC236}">
                  <a16:creationId xmlns:a16="http://schemas.microsoft.com/office/drawing/2014/main" id="{0CC83382-04B0-4950-93AD-D00E97DAFE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3770" y="2288704"/>
              <a:ext cx="68363" cy="82036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2 w 27"/>
                <a:gd name="T5" fmla="*/ 26 h 32"/>
                <a:gd name="T6" fmla="*/ 14 w 27"/>
                <a:gd name="T7" fmla="*/ 30 h 32"/>
                <a:gd name="T8" fmla="*/ 6 w 27"/>
                <a:gd name="T9" fmla="*/ 26 h 32"/>
                <a:gd name="T10" fmla="*/ 2 w 27"/>
                <a:gd name="T11" fmla="*/ 16 h 32"/>
                <a:gd name="T12" fmla="*/ 6 w 27"/>
                <a:gd name="T13" fmla="*/ 6 h 32"/>
                <a:gd name="T14" fmla="*/ 14 w 27"/>
                <a:gd name="T15" fmla="*/ 2 h 32"/>
                <a:gd name="T16" fmla="*/ 22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4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4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4" y="23"/>
                    <a:pt x="22" y="26"/>
                  </a:cubicBezTo>
                  <a:cubicBezTo>
                    <a:pt x="20" y="28"/>
                    <a:pt x="17" y="30"/>
                    <a:pt x="14" y="30"/>
                  </a:cubicBezTo>
                  <a:cubicBezTo>
                    <a:pt x="11" y="30"/>
                    <a:pt x="8" y="28"/>
                    <a:pt x="6" y="26"/>
                  </a:cubicBezTo>
                  <a:cubicBezTo>
                    <a:pt x="4" y="23"/>
                    <a:pt x="2" y="20"/>
                    <a:pt x="2" y="16"/>
                  </a:cubicBezTo>
                  <a:cubicBezTo>
                    <a:pt x="2" y="12"/>
                    <a:pt x="4" y="8"/>
                    <a:pt x="6" y="6"/>
                  </a:cubicBezTo>
                  <a:cubicBezTo>
                    <a:pt x="8" y="3"/>
                    <a:pt x="11" y="2"/>
                    <a:pt x="14" y="2"/>
                  </a:cubicBezTo>
                  <a:cubicBezTo>
                    <a:pt x="17" y="2"/>
                    <a:pt x="20" y="3"/>
                    <a:pt x="22" y="6"/>
                  </a:cubicBezTo>
                  <a:cubicBezTo>
                    <a:pt x="24" y="8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1"/>
                    <a:pt x="26" y="7"/>
                    <a:pt x="23" y="5"/>
                  </a:cubicBezTo>
                  <a:cubicBezTo>
                    <a:pt x="21" y="2"/>
                    <a:pt x="17" y="0"/>
                    <a:pt x="14" y="0"/>
                  </a:cubicBezTo>
                  <a:cubicBezTo>
                    <a:pt x="10" y="0"/>
                    <a:pt x="7" y="2"/>
                    <a:pt x="4" y="5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0"/>
                    <a:pt x="2" y="24"/>
                    <a:pt x="4" y="27"/>
                  </a:cubicBezTo>
                  <a:cubicBezTo>
                    <a:pt x="7" y="30"/>
                    <a:pt x="10" y="32"/>
                    <a:pt x="14" y="32"/>
                  </a:cubicBezTo>
                  <a:cubicBezTo>
                    <a:pt x="17" y="32"/>
                    <a:pt x="21" y="30"/>
                    <a:pt x="23" y="27"/>
                  </a:cubicBezTo>
                  <a:cubicBezTo>
                    <a:pt x="26" y="24"/>
                    <a:pt x="27" y="20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7" name="Freeform 175">
              <a:extLst>
                <a:ext uri="{FF2B5EF4-FFF2-40B4-BE49-F238E27FC236}">
                  <a16:creationId xmlns:a16="http://schemas.microsoft.com/office/drawing/2014/main" id="{4C85A655-653D-47D7-8A46-F1595BDB88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2752" y="2332457"/>
              <a:ext cx="47855" cy="15040"/>
            </a:xfrm>
            <a:custGeom>
              <a:avLst/>
              <a:gdLst>
                <a:gd name="T0" fmla="*/ 1 w 19"/>
                <a:gd name="T1" fmla="*/ 6 h 6"/>
                <a:gd name="T2" fmla="*/ 18 w 19"/>
                <a:gd name="T3" fmla="*/ 2 h 6"/>
                <a:gd name="T4" fmla="*/ 18 w 19"/>
                <a:gd name="T5" fmla="*/ 1 h 6"/>
                <a:gd name="T6" fmla="*/ 17 w 19"/>
                <a:gd name="T7" fmla="*/ 0 h 6"/>
                <a:gd name="T8" fmla="*/ 0 w 19"/>
                <a:gd name="T9" fmla="*/ 4 h 6"/>
                <a:gd name="T10" fmla="*/ 0 w 19"/>
                <a:gd name="T11" fmla="*/ 5 h 6"/>
                <a:gd name="T12" fmla="*/ 1 w 19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">
                  <a:moveTo>
                    <a:pt x="1" y="6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9" y="2"/>
                    <a:pt x="18" y="1"/>
                  </a:cubicBezTo>
                  <a:cubicBezTo>
                    <a:pt x="18" y="1"/>
                    <a:pt x="18" y="0"/>
                    <a:pt x="17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1" y="6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8" name="Freeform 176">
              <a:extLst>
                <a:ext uri="{FF2B5EF4-FFF2-40B4-BE49-F238E27FC236}">
                  <a16:creationId xmlns:a16="http://schemas.microsoft.com/office/drawing/2014/main" id="{AFA4B8F6-78D1-4EE9-8749-1F4CBA2A3A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46664" y="2298276"/>
              <a:ext cx="102545" cy="34182"/>
            </a:xfrm>
            <a:custGeom>
              <a:avLst/>
              <a:gdLst>
                <a:gd name="T0" fmla="*/ 1 w 40"/>
                <a:gd name="T1" fmla="*/ 13 h 13"/>
                <a:gd name="T2" fmla="*/ 39 w 40"/>
                <a:gd name="T3" fmla="*/ 2 h 13"/>
                <a:gd name="T4" fmla="*/ 40 w 40"/>
                <a:gd name="T5" fmla="*/ 1 h 13"/>
                <a:gd name="T6" fmla="*/ 39 w 40"/>
                <a:gd name="T7" fmla="*/ 0 h 13"/>
                <a:gd name="T8" fmla="*/ 1 w 40"/>
                <a:gd name="T9" fmla="*/ 11 h 13"/>
                <a:gd name="T10" fmla="*/ 0 w 40"/>
                <a:gd name="T11" fmla="*/ 12 h 13"/>
                <a:gd name="T12" fmla="*/ 1 w 4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3">
                  <a:moveTo>
                    <a:pt x="1" y="13"/>
                  </a:move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0" y="1"/>
                  </a:cubicBezTo>
                  <a:cubicBezTo>
                    <a:pt x="40" y="1"/>
                    <a:pt x="39" y="0"/>
                    <a:pt x="39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3"/>
                    <a:pt x="1" y="13"/>
                    <a:pt x="1" y="13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9" name="Freeform 177">
              <a:extLst>
                <a:ext uri="{FF2B5EF4-FFF2-40B4-BE49-F238E27FC236}">
                  <a16:creationId xmlns:a16="http://schemas.microsoft.com/office/drawing/2014/main" id="{FB5689BF-0161-46A0-8AAE-708FC482ED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9080" y="2104125"/>
              <a:ext cx="228333" cy="146297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0" name="Freeform 178">
              <a:extLst>
                <a:ext uri="{FF2B5EF4-FFF2-40B4-BE49-F238E27FC236}">
                  <a16:creationId xmlns:a16="http://schemas.microsoft.com/office/drawing/2014/main" id="{355CE205-C837-4D89-B4C0-F2A7D60A6C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9080" y="2104125"/>
              <a:ext cx="228333" cy="146297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1" name="Freeform 179">
              <a:extLst>
                <a:ext uri="{FF2B5EF4-FFF2-40B4-BE49-F238E27FC236}">
                  <a16:creationId xmlns:a16="http://schemas.microsoft.com/office/drawing/2014/main" id="{53868D60-1D85-483D-96FE-3BB67FE42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17155" y="2080881"/>
              <a:ext cx="660387" cy="5742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2" name="Freeform 180">
              <a:extLst>
                <a:ext uri="{FF2B5EF4-FFF2-40B4-BE49-F238E27FC236}">
                  <a16:creationId xmlns:a16="http://schemas.microsoft.com/office/drawing/2014/main" id="{E6AAFCE0-81E4-4A96-8C89-921C171206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17155" y="2080881"/>
              <a:ext cx="660387" cy="5742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3" name="Freeform 181">
              <a:extLst>
                <a:ext uri="{FF2B5EF4-FFF2-40B4-BE49-F238E27FC236}">
                  <a16:creationId xmlns:a16="http://schemas.microsoft.com/office/drawing/2014/main" id="{07396706-A54D-434C-B954-F09D4ECDA9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70097" y="2214872"/>
              <a:ext cx="179112" cy="153133"/>
            </a:xfrm>
            <a:custGeom>
              <a:avLst/>
              <a:gdLst>
                <a:gd name="T0" fmla="*/ 0 w 70"/>
                <a:gd name="T1" fmla="*/ 12 h 60"/>
                <a:gd name="T2" fmla="*/ 47 w 70"/>
                <a:gd name="T3" fmla="*/ 32 h 60"/>
                <a:gd name="T4" fmla="*/ 56 w 70"/>
                <a:gd name="T5" fmla="*/ 45 h 60"/>
                <a:gd name="T6" fmla="*/ 59 w 70"/>
                <a:gd name="T7" fmla="*/ 59 h 60"/>
                <a:gd name="T8" fmla="*/ 63 w 70"/>
                <a:gd name="T9" fmla="*/ 39 h 60"/>
                <a:gd name="T10" fmla="*/ 65 w 70"/>
                <a:gd name="T11" fmla="*/ 37 h 60"/>
                <a:gd name="T12" fmla="*/ 70 w 70"/>
                <a:gd name="T13" fmla="*/ 0 h 60"/>
                <a:gd name="T14" fmla="*/ 0 w 70"/>
                <a:gd name="T15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0">
                  <a:moveTo>
                    <a:pt x="0" y="12"/>
                  </a:moveTo>
                  <a:cubicBezTo>
                    <a:pt x="0" y="12"/>
                    <a:pt x="17" y="29"/>
                    <a:pt x="47" y="32"/>
                  </a:cubicBezTo>
                  <a:cubicBezTo>
                    <a:pt x="47" y="32"/>
                    <a:pt x="56" y="29"/>
                    <a:pt x="56" y="45"/>
                  </a:cubicBezTo>
                  <a:cubicBezTo>
                    <a:pt x="56" y="60"/>
                    <a:pt x="59" y="59"/>
                    <a:pt x="59" y="59"/>
                  </a:cubicBezTo>
                  <a:cubicBezTo>
                    <a:pt x="59" y="59"/>
                    <a:pt x="59" y="43"/>
                    <a:pt x="63" y="39"/>
                  </a:cubicBezTo>
                  <a:cubicBezTo>
                    <a:pt x="67" y="35"/>
                    <a:pt x="65" y="37"/>
                    <a:pt x="65" y="37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4" name="Freeform 182">
              <a:extLst>
                <a:ext uri="{FF2B5EF4-FFF2-40B4-BE49-F238E27FC236}">
                  <a16:creationId xmlns:a16="http://schemas.microsoft.com/office/drawing/2014/main" id="{E531A849-C6F9-40D4-8505-DC3696D3F7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27333" y="2214872"/>
              <a:ext cx="56058" cy="109381"/>
            </a:xfrm>
            <a:custGeom>
              <a:avLst/>
              <a:gdLst>
                <a:gd name="T0" fmla="*/ 9 w 22"/>
                <a:gd name="T1" fmla="*/ 0 h 43"/>
                <a:gd name="T2" fmla="*/ 16 w 22"/>
                <a:gd name="T3" fmla="*/ 35 h 43"/>
                <a:gd name="T4" fmla="*/ 0 w 22"/>
                <a:gd name="T5" fmla="*/ 43 h 43"/>
                <a:gd name="T6" fmla="*/ 9 w 22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3">
                  <a:moveTo>
                    <a:pt x="9" y="0"/>
                  </a:moveTo>
                  <a:cubicBezTo>
                    <a:pt x="9" y="0"/>
                    <a:pt x="22" y="21"/>
                    <a:pt x="16" y="35"/>
                  </a:cubicBezTo>
                  <a:cubicBezTo>
                    <a:pt x="16" y="35"/>
                    <a:pt x="3" y="33"/>
                    <a:pt x="0" y="4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5" name="Freeform 183">
              <a:extLst>
                <a:ext uri="{FF2B5EF4-FFF2-40B4-BE49-F238E27FC236}">
                  <a16:creationId xmlns:a16="http://schemas.microsoft.com/office/drawing/2014/main" id="{3D6C9E0B-F44F-44E7-8341-5946648E10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06444" y="2091819"/>
              <a:ext cx="127156" cy="288492"/>
            </a:xfrm>
            <a:custGeom>
              <a:avLst/>
              <a:gdLst>
                <a:gd name="T0" fmla="*/ 16 w 50"/>
                <a:gd name="T1" fmla="*/ 0 h 113"/>
                <a:gd name="T2" fmla="*/ 20 w 50"/>
                <a:gd name="T3" fmla="*/ 75 h 113"/>
                <a:gd name="T4" fmla="*/ 6 w 50"/>
                <a:gd name="T5" fmla="*/ 97 h 113"/>
                <a:gd name="T6" fmla="*/ 39 w 50"/>
                <a:gd name="T7" fmla="*/ 93 h 113"/>
                <a:gd name="T8" fmla="*/ 16 w 50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13">
                  <a:moveTo>
                    <a:pt x="16" y="0"/>
                  </a:moveTo>
                  <a:cubicBezTo>
                    <a:pt x="16" y="0"/>
                    <a:pt x="39" y="36"/>
                    <a:pt x="20" y="75"/>
                  </a:cubicBezTo>
                  <a:cubicBezTo>
                    <a:pt x="0" y="113"/>
                    <a:pt x="6" y="97"/>
                    <a:pt x="6" y="97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50" y="28"/>
                    <a:pt x="16" y="0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6" name="Freeform 184">
              <a:extLst>
                <a:ext uri="{FF2B5EF4-FFF2-40B4-BE49-F238E27FC236}">
                  <a16:creationId xmlns:a16="http://schemas.microsoft.com/office/drawing/2014/main" id="{E96DDE6C-645B-4848-9E51-BA170D4E2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1226" y="2774082"/>
              <a:ext cx="736954" cy="843600"/>
            </a:xfrm>
            <a:custGeom>
              <a:avLst/>
              <a:gdLst>
                <a:gd name="T0" fmla="*/ 178 w 288"/>
                <a:gd name="T1" fmla="*/ 0 h 330"/>
                <a:gd name="T2" fmla="*/ 260 w 288"/>
                <a:gd name="T3" fmla="*/ 78 h 330"/>
                <a:gd name="T4" fmla="*/ 288 w 288"/>
                <a:gd name="T5" fmla="*/ 254 h 330"/>
                <a:gd name="T6" fmla="*/ 25 w 288"/>
                <a:gd name="T7" fmla="*/ 330 h 330"/>
                <a:gd name="T8" fmla="*/ 0 w 288"/>
                <a:gd name="T9" fmla="*/ 152 h 330"/>
                <a:gd name="T10" fmla="*/ 162 w 288"/>
                <a:gd name="T11" fmla="*/ 148 h 330"/>
                <a:gd name="T12" fmla="*/ 178 w 288"/>
                <a:gd name="T1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330">
                  <a:moveTo>
                    <a:pt x="178" y="0"/>
                  </a:moveTo>
                  <a:cubicBezTo>
                    <a:pt x="178" y="0"/>
                    <a:pt x="242" y="23"/>
                    <a:pt x="260" y="78"/>
                  </a:cubicBezTo>
                  <a:cubicBezTo>
                    <a:pt x="282" y="145"/>
                    <a:pt x="288" y="254"/>
                    <a:pt x="288" y="254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78" y="0"/>
                    <a:pt x="178" y="0"/>
                    <a:pt x="178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7" name="Freeform 185">
              <a:extLst>
                <a:ext uri="{FF2B5EF4-FFF2-40B4-BE49-F238E27FC236}">
                  <a16:creationId xmlns:a16="http://schemas.microsoft.com/office/drawing/2014/main" id="{B0909EA4-67C1-4115-8D3A-B51BB6D21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3789" y="5412896"/>
              <a:ext cx="333612" cy="276187"/>
            </a:xfrm>
            <a:custGeom>
              <a:avLst/>
              <a:gdLst>
                <a:gd name="T0" fmla="*/ 29 w 130"/>
                <a:gd name="T1" fmla="*/ 0 h 108"/>
                <a:gd name="T2" fmla="*/ 128 w 130"/>
                <a:gd name="T3" fmla="*/ 71 h 108"/>
                <a:gd name="T4" fmla="*/ 114 w 130"/>
                <a:gd name="T5" fmla="*/ 108 h 108"/>
                <a:gd name="T6" fmla="*/ 35 w 130"/>
                <a:gd name="T7" fmla="*/ 61 h 108"/>
                <a:gd name="T8" fmla="*/ 3 w 130"/>
                <a:gd name="T9" fmla="*/ 24 h 108"/>
                <a:gd name="T10" fmla="*/ 0 w 130"/>
                <a:gd name="T11" fmla="*/ 5 h 108"/>
                <a:gd name="T12" fmla="*/ 29 w 130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08">
                  <a:moveTo>
                    <a:pt x="29" y="0"/>
                  </a:moveTo>
                  <a:cubicBezTo>
                    <a:pt x="29" y="0"/>
                    <a:pt x="125" y="40"/>
                    <a:pt x="128" y="71"/>
                  </a:cubicBezTo>
                  <a:cubicBezTo>
                    <a:pt x="130" y="101"/>
                    <a:pt x="114" y="108"/>
                    <a:pt x="114" y="108"/>
                  </a:cubicBezTo>
                  <a:cubicBezTo>
                    <a:pt x="114" y="108"/>
                    <a:pt x="60" y="84"/>
                    <a:pt x="35" y="61"/>
                  </a:cubicBezTo>
                  <a:cubicBezTo>
                    <a:pt x="11" y="38"/>
                    <a:pt x="3" y="24"/>
                    <a:pt x="3" y="24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8" name="Freeform 186">
              <a:extLst>
                <a:ext uri="{FF2B5EF4-FFF2-40B4-BE49-F238E27FC236}">
                  <a16:creationId xmlns:a16="http://schemas.microsoft.com/office/drawing/2014/main" id="{4C989316-F2FF-48F6-904B-4BD73DD70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8160" y="5036899"/>
              <a:ext cx="147664" cy="417015"/>
            </a:xfrm>
            <a:custGeom>
              <a:avLst/>
              <a:gdLst>
                <a:gd name="T0" fmla="*/ 0 w 58"/>
                <a:gd name="T1" fmla="*/ 17 h 163"/>
                <a:gd name="T2" fmla="*/ 26 w 58"/>
                <a:gd name="T3" fmla="*/ 152 h 163"/>
                <a:gd name="T4" fmla="*/ 55 w 58"/>
                <a:gd name="T5" fmla="*/ 152 h 163"/>
                <a:gd name="T6" fmla="*/ 58 w 58"/>
                <a:gd name="T7" fmla="*/ 0 h 163"/>
                <a:gd name="T8" fmla="*/ 0 w 58"/>
                <a:gd name="T9" fmla="*/ 1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63">
                  <a:moveTo>
                    <a:pt x="0" y="17"/>
                  </a:moveTo>
                  <a:cubicBezTo>
                    <a:pt x="26" y="152"/>
                    <a:pt x="26" y="152"/>
                    <a:pt x="26" y="152"/>
                  </a:cubicBezTo>
                  <a:cubicBezTo>
                    <a:pt x="26" y="152"/>
                    <a:pt x="36" y="163"/>
                    <a:pt x="55" y="15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0" y="17"/>
                    <a:pt x="0" y="17"/>
                    <a:pt x="0" y="17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9" name="Freeform 187">
              <a:extLst>
                <a:ext uri="{FF2B5EF4-FFF2-40B4-BE49-F238E27FC236}">
                  <a16:creationId xmlns:a16="http://schemas.microsoft.com/office/drawing/2014/main" id="{33A9A866-4E20-49D5-9E44-22911F8F5B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1992" y="5479891"/>
              <a:ext cx="284390" cy="217395"/>
            </a:xfrm>
            <a:custGeom>
              <a:avLst/>
              <a:gdLst>
                <a:gd name="T0" fmla="*/ 0 w 111"/>
                <a:gd name="T1" fmla="*/ 0 h 85"/>
                <a:gd name="T2" fmla="*/ 2 w 111"/>
                <a:gd name="T3" fmla="*/ 12 h 85"/>
                <a:gd name="T4" fmla="*/ 95 w 111"/>
                <a:gd name="T5" fmla="*/ 85 h 85"/>
                <a:gd name="T6" fmla="*/ 111 w 111"/>
                <a:gd name="T7" fmla="*/ 82 h 85"/>
                <a:gd name="T8" fmla="*/ 37 w 111"/>
                <a:gd name="T9" fmla="*/ 36 h 85"/>
                <a:gd name="T10" fmla="*/ 0 w 111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5">
                  <a:moveTo>
                    <a:pt x="0" y="0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44" y="72"/>
                    <a:pt x="95" y="85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67" y="63"/>
                    <a:pt x="37" y="36"/>
                  </a:cubicBezTo>
                  <a:cubicBezTo>
                    <a:pt x="8" y="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0" name="Freeform 188">
              <a:extLst>
                <a:ext uri="{FF2B5EF4-FFF2-40B4-BE49-F238E27FC236}">
                  <a16:creationId xmlns:a16="http://schemas.microsoft.com/office/drawing/2014/main" id="{987C7DAE-1B0A-40F7-895B-9A1EC73B1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4500" y="5512706"/>
              <a:ext cx="333612" cy="205089"/>
            </a:xfrm>
            <a:custGeom>
              <a:avLst/>
              <a:gdLst>
                <a:gd name="T0" fmla="*/ 130 w 130"/>
                <a:gd name="T1" fmla="*/ 0 h 80"/>
                <a:gd name="T2" fmla="*/ 130 w 130"/>
                <a:gd name="T3" fmla="*/ 17 h 80"/>
                <a:gd name="T4" fmla="*/ 8 w 130"/>
                <a:gd name="T5" fmla="*/ 80 h 80"/>
                <a:gd name="T6" fmla="*/ 0 w 130"/>
                <a:gd name="T7" fmla="*/ 75 h 80"/>
                <a:gd name="T8" fmla="*/ 79 w 130"/>
                <a:gd name="T9" fmla="*/ 33 h 80"/>
                <a:gd name="T10" fmla="*/ 130 w 130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0">
                  <a:moveTo>
                    <a:pt x="130" y="0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130" y="17"/>
                    <a:pt x="55" y="74"/>
                    <a:pt x="8" y="8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34" y="61"/>
                    <a:pt x="79" y="33"/>
                  </a:cubicBezTo>
                  <a:cubicBezTo>
                    <a:pt x="123" y="6"/>
                    <a:pt x="130" y="0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1" name="Freeform 189">
              <a:extLst>
                <a:ext uri="{FF2B5EF4-FFF2-40B4-BE49-F238E27FC236}">
                  <a16:creationId xmlns:a16="http://schemas.microsoft.com/office/drawing/2014/main" id="{C12D0B5B-6DB5-4FD8-9952-3C4F411E5F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4040" y="5459383"/>
              <a:ext cx="87505" cy="41018"/>
            </a:xfrm>
            <a:custGeom>
              <a:avLst/>
              <a:gdLst>
                <a:gd name="T0" fmla="*/ 2 w 34"/>
                <a:gd name="T1" fmla="*/ 5 h 16"/>
                <a:gd name="T2" fmla="*/ 2 w 34"/>
                <a:gd name="T3" fmla="*/ 5 h 16"/>
                <a:gd name="T4" fmla="*/ 8 w 34"/>
                <a:gd name="T5" fmla="*/ 4 h 16"/>
                <a:gd name="T6" fmla="*/ 19 w 34"/>
                <a:gd name="T7" fmla="*/ 6 h 16"/>
                <a:gd name="T8" fmla="*/ 30 w 34"/>
                <a:gd name="T9" fmla="*/ 15 h 16"/>
                <a:gd name="T10" fmla="*/ 33 w 34"/>
                <a:gd name="T11" fmla="*/ 15 h 16"/>
                <a:gd name="T12" fmla="*/ 34 w 34"/>
                <a:gd name="T13" fmla="*/ 12 h 16"/>
                <a:gd name="T14" fmla="*/ 20 w 34"/>
                <a:gd name="T15" fmla="*/ 2 h 16"/>
                <a:gd name="T16" fmla="*/ 8 w 34"/>
                <a:gd name="T17" fmla="*/ 0 h 16"/>
                <a:gd name="T18" fmla="*/ 1 w 34"/>
                <a:gd name="T19" fmla="*/ 1 h 16"/>
                <a:gd name="T20" fmla="*/ 0 w 34"/>
                <a:gd name="T21" fmla="*/ 3 h 16"/>
                <a:gd name="T22" fmla="*/ 2 w 34"/>
                <a:gd name="T23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16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5" y="4"/>
                    <a:pt x="8" y="4"/>
                  </a:cubicBezTo>
                  <a:cubicBezTo>
                    <a:pt x="11" y="4"/>
                    <a:pt x="15" y="5"/>
                    <a:pt x="19" y="6"/>
                  </a:cubicBezTo>
                  <a:cubicBezTo>
                    <a:pt x="23" y="8"/>
                    <a:pt x="27" y="10"/>
                    <a:pt x="30" y="15"/>
                  </a:cubicBezTo>
                  <a:cubicBezTo>
                    <a:pt x="31" y="16"/>
                    <a:pt x="32" y="16"/>
                    <a:pt x="33" y="15"/>
                  </a:cubicBezTo>
                  <a:cubicBezTo>
                    <a:pt x="34" y="14"/>
                    <a:pt x="34" y="13"/>
                    <a:pt x="34" y="12"/>
                  </a:cubicBezTo>
                  <a:cubicBezTo>
                    <a:pt x="30" y="7"/>
                    <a:pt x="25" y="4"/>
                    <a:pt x="20" y="2"/>
                  </a:cubicBezTo>
                  <a:cubicBezTo>
                    <a:pt x="16" y="1"/>
                    <a:pt x="11" y="0"/>
                    <a:pt x="8" y="0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2" name="Freeform 190">
              <a:extLst>
                <a:ext uri="{FF2B5EF4-FFF2-40B4-BE49-F238E27FC236}">
                  <a16:creationId xmlns:a16="http://schemas.microsoft.com/office/drawing/2014/main" id="{D7DDA776-6AC8-412E-91BD-67E9F6A29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1226" y="5485360"/>
              <a:ext cx="76567" cy="45120"/>
            </a:xfrm>
            <a:custGeom>
              <a:avLst/>
              <a:gdLst>
                <a:gd name="T0" fmla="*/ 1 w 30"/>
                <a:gd name="T1" fmla="*/ 4 h 18"/>
                <a:gd name="T2" fmla="*/ 2 w 30"/>
                <a:gd name="T3" fmla="*/ 4 h 18"/>
                <a:gd name="T4" fmla="*/ 14 w 30"/>
                <a:gd name="T5" fmla="*/ 8 h 18"/>
                <a:gd name="T6" fmla="*/ 26 w 30"/>
                <a:gd name="T7" fmla="*/ 17 h 18"/>
                <a:gd name="T8" fmla="*/ 29 w 30"/>
                <a:gd name="T9" fmla="*/ 18 h 18"/>
                <a:gd name="T10" fmla="*/ 29 w 30"/>
                <a:gd name="T11" fmla="*/ 15 h 18"/>
                <a:gd name="T12" fmla="*/ 22 w 30"/>
                <a:gd name="T13" fmla="*/ 8 h 18"/>
                <a:gd name="T14" fmla="*/ 2 w 30"/>
                <a:gd name="T15" fmla="*/ 0 h 18"/>
                <a:gd name="T16" fmla="*/ 0 w 30"/>
                <a:gd name="T17" fmla="*/ 2 h 18"/>
                <a:gd name="T18" fmla="*/ 1 w 30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1" y="4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4" y="5"/>
                    <a:pt x="9" y="6"/>
                    <a:pt x="14" y="8"/>
                  </a:cubicBezTo>
                  <a:cubicBezTo>
                    <a:pt x="19" y="10"/>
                    <a:pt x="24" y="13"/>
                    <a:pt x="26" y="17"/>
                  </a:cubicBezTo>
                  <a:cubicBezTo>
                    <a:pt x="26" y="18"/>
                    <a:pt x="28" y="18"/>
                    <a:pt x="29" y="18"/>
                  </a:cubicBezTo>
                  <a:cubicBezTo>
                    <a:pt x="30" y="17"/>
                    <a:pt x="30" y="16"/>
                    <a:pt x="29" y="15"/>
                  </a:cubicBezTo>
                  <a:cubicBezTo>
                    <a:pt x="28" y="12"/>
                    <a:pt x="25" y="10"/>
                    <a:pt x="22" y="8"/>
                  </a:cubicBezTo>
                  <a:cubicBezTo>
                    <a:pt x="14" y="2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3" name="Freeform 191">
              <a:extLst>
                <a:ext uri="{FF2B5EF4-FFF2-40B4-BE49-F238E27FC236}">
                  <a16:creationId xmlns:a16="http://schemas.microsoft.com/office/drawing/2014/main" id="{3082E413-513C-4CBE-B9EF-F2506BDE7C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7473" y="5509971"/>
              <a:ext cx="66996" cy="46487"/>
            </a:xfrm>
            <a:custGeom>
              <a:avLst/>
              <a:gdLst>
                <a:gd name="T0" fmla="*/ 2 w 26"/>
                <a:gd name="T1" fmla="*/ 4 h 18"/>
                <a:gd name="T2" fmla="*/ 2 w 26"/>
                <a:gd name="T3" fmla="*/ 4 h 18"/>
                <a:gd name="T4" fmla="*/ 11 w 26"/>
                <a:gd name="T5" fmla="*/ 7 h 18"/>
                <a:gd name="T6" fmla="*/ 22 w 26"/>
                <a:gd name="T7" fmla="*/ 17 h 18"/>
                <a:gd name="T8" fmla="*/ 25 w 26"/>
                <a:gd name="T9" fmla="*/ 18 h 18"/>
                <a:gd name="T10" fmla="*/ 26 w 26"/>
                <a:gd name="T11" fmla="*/ 15 h 18"/>
                <a:gd name="T12" fmla="*/ 20 w 26"/>
                <a:gd name="T13" fmla="*/ 7 h 18"/>
                <a:gd name="T14" fmla="*/ 2 w 26"/>
                <a:gd name="T15" fmla="*/ 0 h 18"/>
                <a:gd name="T16" fmla="*/ 0 w 26"/>
                <a:gd name="T17" fmla="*/ 2 h 18"/>
                <a:gd name="T18" fmla="*/ 2 w 26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8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7" y="5"/>
                    <a:pt x="11" y="7"/>
                  </a:cubicBezTo>
                  <a:cubicBezTo>
                    <a:pt x="16" y="9"/>
                    <a:pt x="21" y="12"/>
                    <a:pt x="22" y="17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26" y="17"/>
                    <a:pt x="26" y="16"/>
                    <a:pt x="26" y="15"/>
                  </a:cubicBezTo>
                  <a:cubicBezTo>
                    <a:pt x="25" y="12"/>
                    <a:pt x="23" y="9"/>
                    <a:pt x="20" y="7"/>
                  </a:cubicBezTo>
                  <a:cubicBezTo>
                    <a:pt x="13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4" name="Freeform 192">
              <a:extLst>
                <a:ext uri="{FF2B5EF4-FFF2-40B4-BE49-F238E27FC236}">
                  <a16:creationId xmlns:a16="http://schemas.microsoft.com/office/drawing/2014/main" id="{8BB66DB1-3910-4BD9-BB47-E276F9B22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15635" y="5520909"/>
              <a:ext cx="108014" cy="58793"/>
            </a:xfrm>
            <a:custGeom>
              <a:avLst/>
              <a:gdLst>
                <a:gd name="T0" fmla="*/ 4 w 42"/>
                <a:gd name="T1" fmla="*/ 22 h 23"/>
                <a:gd name="T2" fmla="*/ 4 w 42"/>
                <a:gd name="T3" fmla="*/ 22 h 23"/>
                <a:gd name="T4" fmla="*/ 40 w 42"/>
                <a:gd name="T5" fmla="*/ 4 h 23"/>
                <a:gd name="T6" fmla="*/ 41 w 42"/>
                <a:gd name="T7" fmla="*/ 2 h 23"/>
                <a:gd name="T8" fmla="*/ 39 w 42"/>
                <a:gd name="T9" fmla="*/ 0 h 23"/>
                <a:gd name="T10" fmla="*/ 0 w 42"/>
                <a:gd name="T11" fmla="*/ 20 h 23"/>
                <a:gd name="T12" fmla="*/ 1 w 42"/>
                <a:gd name="T13" fmla="*/ 23 h 23"/>
                <a:gd name="T14" fmla="*/ 4 w 4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3">
                  <a:moveTo>
                    <a:pt x="4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14" y="7"/>
                    <a:pt x="40" y="4"/>
                  </a:cubicBezTo>
                  <a:cubicBezTo>
                    <a:pt x="41" y="4"/>
                    <a:pt x="42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1" y="4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3"/>
                    <a:pt x="3" y="23"/>
                    <a:pt x="4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5" name="Freeform 193">
              <a:extLst>
                <a:ext uri="{FF2B5EF4-FFF2-40B4-BE49-F238E27FC236}">
                  <a16:creationId xmlns:a16="http://schemas.microsoft.com/office/drawing/2014/main" id="{CE7E8DD2-9F52-43FF-AC79-B8A1C5D78B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7352" y="5485360"/>
              <a:ext cx="87505" cy="53324"/>
            </a:xfrm>
            <a:custGeom>
              <a:avLst/>
              <a:gdLst>
                <a:gd name="T0" fmla="*/ 4 w 34"/>
                <a:gd name="T1" fmla="*/ 20 h 21"/>
                <a:gd name="T2" fmla="*/ 4 w 34"/>
                <a:gd name="T3" fmla="*/ 20 h 21"/>
                <a:gd name="T4" fmla="*/ 12 w 34"/>
                <a:gd name="T5" fmla="*/ 12 h 21"/>
                <a:gd name="T6" fmla="*/ 32 w 34"/>
                <a:gd name="T7" fmla="*/ 4 h 21"/>
                <a:gd name="T8" fmla="*/ 34 w 34"/>
                <a:gd name="T9" fmla="*/ 2 h 21"/>
                <a:gd name="T10" fmla="*/ 31 w 34"/>
                <a:gd name="T11" fmla="*/ 0 h 21"/>
                <a:gd name="T12" fmla="*/ 9 w 34"/>
                <a:gd name="T13" fmla="*/ 10 h 21"/>
                <a:gd name="T14" fmla="*/ 1 w 34"/>
                <a:gd name="T15" fmla="*/ 18 h 21"/>
                <a:gd name="T16" fmla="*/ 2 w 34"/>
                <a:gd name="T17" fmla="*/ 21 h 21"/>
                <a:gd name="T18" fmla="*/ 4 w 34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1">
                  <a:moveTo>
                    <a:pt x="4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5" y="19"/>
                    <a:pt x="8" y="16"/>
                    <a:pt x="12" y="12"/>
                  </a:cubicBezTo>
                  <a:cubicBezTo>
                    <a:pt x="17" y="9"/>
                    <a:pt x="24" y="5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3" y="1"/>
                    <a:pt x="33" y="0"/>
                    <a:pt x="31" y="0"/>
                  </a:cubicBezTo>
                  <a:cubicBezTo>
                    <a:pt x="22" y="1"/>
                    <a:pt x="14" y="6"/>
                    <a:pt x="9" y="10"/>
                  </a:cubicBezTo>
                  <a:cubicBezTo>
                    <a:pt x="4" y="14"/>
                    <a:pt x="1" y="18"/>
                    <a:pt x="1" y="18"/>
                  </a:cubicBezTo>
                  <a:cubicBezTo>
                    <a:pt x="0" y="19"/>
                    <a:pt x="1" y="20"/>
                    <a:pt x="2" y="21"/>
                  </a:cubicBezTo>
                  <a:cubicBezTo>
                    <a:pt x="3" y="21"/>
                    <a:pt x="4" y="21"/>
                    <a:pt x="4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6" name="Freeform 194">
              <a:extLst>
                <a:ext uri="{FF2B5EF4-FFF2-40B4-BE49-F238E27FC236}">
                  <a16:creationId xmlns:a16="http://schemas.microsoft.com/office/drawing/2014/main" id="{9E923B5B-24CC-46D9-9880-A38A4142C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0865" y="5451179"/>
              <a:ext cx="72465" cy="43752"/>
            </a:xfrm>
            <a:custGeom>
              <a:avLst/>
              <a:gdLst>
                <a:gd name="T0" fmla="*/ 4 w 28"/>
                <a:gd name="T1" fmla="*/ 16 h 17"/>
                <a:gd name="T2" fmla="*/ 4 w 28"/>
                <a:gd name="T3" fmla="*/ 16 h 17"/>
                <a:gd name="T4" fmla="*/ 4 w 28"/>
                <a:gd name="T5" fmla="*/ 16 h 17"/>
                <a:gd name="T6" fmla="*/ 4 w 28"/>
                <a:gd name="T7" fmla="*/ 16 h 17"/>
                <a:gd name="T8" fmla="*/ 4 w 28"/>
                <a:gd name="T9" fmla="*/ 16 h 17"/>
                <a:gd name="T10" fmla="*/ 4 w 28"/>
                <a:gd name="T11" fmla="*/ 16 h 17"/>
                <a:gd name="T12" fmla="*/ 9 w 28"/>
                <a:gd name="T13" fmla="*/ 10 h 17"/>
                <a:gd name="T14" fmla="*/ 26 w 28"/>
                <a:gd name="T15" fmla="*/ 4 h 17"/>
                <a:gd name="T16" fmla="*/ 28 w 28"/>
                <a:gd name="T17" fmla="*/ 2 h 17"/>
                <a:gd name="T18" fmla="*/ 26 w 28"/>
                <a:gd name="T19" fmla="*/ 0 h 17"/>
                <a:gd name="T20" fmla="*/ 6 w 28"/>
                <a:gd name="T21" fmla="*/ 8 h 17"/>
                <a:gd name="T22" fmla="*/ 0 w 28"/>
                <a:gd name="T23" fmla="*/ 14 h 17"/>
                <a:gd name="T24" fmla="*/ 1 w 28"/>
                <a:gd name="T25" fmla="*/ 17 h 17"/>
                <a:gd name="T26" fmla="*/ 4 w 28"/>
                <a:gd name="T2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5" y="13"/>
                    <a:pt x="9" y="10"/>
                  </a:cubicBezTo>
                  <a:cubicBezTo>
                    <a:pt x="12" y="8"/>
                    <a:pt x="18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16" y="1"/>
                    <a:pt x="10" y="4"/>
                    <a:pt x="6" y="8"/>
                  </a:cubicBezTo>
                  <a:cubicBezTo>
                    <a:pt x="2" y="11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7"/>
                    <a:pt x="3" y="17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7" name="Freeform 195">
              <a:extLst>
                <a:ext uri="{FF2B5EF4-FFF2-40B4-BE49-F238E27FC236}">
                  <a16:creationId xmlns:a16="http://schemas.microsoft.com/office/drawing/2014/main" id="{76BC830F-00E3-473A-BC0A-611469AF8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8252" y="3214340"/>
              <a:ext cx="120319" cy="165439"/>
            </a:xfrm>
            <a:custGeom>
              <a:avLst/>
              <a:gdLst>
                <a:gd name="T0" fmla="*/ 40 w 47"/>
                <a:gd name="T1" fmla="*/ 11 h 65"/>
                <a:gd name="T2" fmla="*/ 21 w 47"/>
                <a:gd name="T3" fmla="*/ 0 h 65"/>
                <a:gd name="T4" fmla="*/ 24 w 47"/>
                <a:gd name="T5" fmla="*/ 8 h 65"/>
                <a:gd name="T6" fmla="*/ 2 w 47"/>
                <a:gd name="T7" fmla="*/ 12 h 65"/>
                <a:gd name="T8" fmla="*/ 10 w 47"/>
                <a:gd name="T9" fmla="*/ 50 h 65"/>
                <a:gd name="T10" fmla="*/ 47 w 47"/>
                <a:gd name="T11" fmla="*/ 50 h 65"/>
                <a:gd name="T12" fmla="*/ 40 w 47"/>
                <a:gd name="T13" fmla="*/ 1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65">
                  <a:moveTo>
                    <a:pt x="40" y="11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0" y="35"/>
                    <a:pt x="10" y="50"/>
                  </a:cubicBezTo>
                  <a:cubicBezTo>
                    <a:pt x="21" y="65"/>
                    <a:pt x="47" y="50"/>
                    <a:pt x="47" y="50"/>
                  </a:cubicBezTo>
                  <a:lnTo>
                    <a:pt x="40" y="11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8" name="Freeform 196">
              <a:extLst>
                <a:ext uri="{FF2B5EF4-FFF2-40B4-BE49-F238E27FC236}">
                  <a16:creationId xmlns:a16="http://schemas.microsoft.com/office/drawing/2014/main" id="{2AC56C5F-F2CB-4C70-A3A2-3E1BB2B9F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3163" y="3960865"/>
              <a:ext cx="79301" cy="226965"/>
            </a:xfrm>
            <a:custGeom>
              <a:avLst/>
              <a:gdLst>
                <a:gd name="T0" fmla="*/ 0 w 31"/>
                <a:gd name="T1" fmla="*/ 0 h 89"/>
                <a:gd name="T2" fmla="*/ 11 w 31"/>
                <a:gd name="T3" fmla="*/ 68 h 89"/>
                <a:gd name="T4" fmla="*/ 28 w 31"/>
                <a:gd name="T5" fmla="*/ 87 h 89"/>
                <a:gd name="T6" fmla="*/ 22 w 31"/>
                <a:gd name="T7" fmla="*/ 36 h 89"/>
                <a:gd name="T8" fmla="*/ 31 w 31"/>
                <a:gd name="T9" fmla="*/ 48 h 89"/>
                <a:gd name="T10" fmla="*/ 31 w 31"/>
                <a:gd name="T11" fmla="*/ 8 h 89"/>
                <a:gd name="T12" fmla="*/ 0 w 31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89">
                  <a:moveTo>
                    <a:pt x="0" y="0"/>
                  </a:moveTo>
                  <a:cubicBezTo>
                    <a:pt x="0" y="0"/>
                    <a:pt x="0" y="46"/>
                    <a:pt x="11" y="68"/>
                  </a:cubicBezTo>
                  <a:cubicBezTo>
                    <a:pt x="22" y="89"/>
                    <a:pt x="28" y="87"/>
                    <a:pt x="28" y="87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30" y="53"/>
                    <a:pt x="31" y="48"/>
                  </a:cubicBezTo>
                  <a:cubicBezTo>
                    <a:pt x="31" y="43"/>
                    <a:pt x="31" y="8"/>
                    <a:pt x="31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9" name="Freeform 197">
              <a:extLst>
                <a:ext uri="{FF2B5EF4-FFF2-40B4-BE49-F238E27FC236}">
                  <a16:creationId xmlns:a16="http://schemas.microsoft.com/office/drawing/2014/main" id="{354A6A84-B84A-4A96-BEA6-58A6DB173A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2703" y="3081716"/>
              <a:ext cx="97076" cy="162704"/>
            </a:xfrm>
            <a:custGeom>
              <a:avLst/>
              <a:gdLst>
                <a:gd name="T0" fmla="*/ 30 w 71"/>
                <a:gd name="T1" fmla="*/ 119 h 119"/>
                <a:gd name="T2" fmla="*/ 0 w 71"/>
                <a:gd name="T3" fmla="*/ 7 h 119"/>
                <a:gd name="T4" fmla="*/ 49 w 71"/>
                <a:gd name="T5" fmla="*/ 0 h 119"/>
                <a:gd name="T6" fmla="*/ 71 w 71"/>
                <a:gd name="T7" fmla="*/ 112 h 119"/>
                <a:gd name="T8" fmla="*/ 30 w 71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9">
                  <a:moveTo>
                    <a:pt x="30" y="119"/>
                  </a:moveTo>
                  <a:lnTo>
                    <a:pt x="0" y="7"/>
                  </a:lnTo>
                  <a:lnTo>
                    <a:pt x="49" y="0"/>
                  </a:lnTo>
                  <a:lnTo>
                    <a:pt x="71" y="112"/>
                  </a:lnTo>
                  <a:lnTo>
                    <a:pt x="30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0" name="Freeform 198">
              <a:extLst>
                <a:ext uri="{FF2B5EF4-FFF2-40B4-BE49-F238E27FC236}">
                  <a16:creationId xmlns:a16="http://schemas.microsoft.com/office/drawing/2014/main" id="{DE68A500-6E33-4734-9E5A-DC0C96C3F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6535" y="3352433"/>
              <a:ext cx="95708" cy="188682"/>
            </a:xfrm>
            <a:custGeom>
              <a:avLst/>
              <a:gdLst>
                <a:gd name="T0" fmla="*/ 0 w 37"/>
                <a:gd name="T1" fmla="*/ 0 h 74"/>
                <a:gd name="T2" fmla="*/ 9 w 37"/>
                <a:gd name="T3" fmla="*/ 67 h 74"/>
                <a:gd name="T4" fmla="*/ 37 w 37"/>
                <a:gd name="T5" fmla="*/ 64 h 74"/>
                <a:gd name="T6" fmla="*/ 22 w 37"/>
                <a:gd name="T7" fmla="*/ 0 h 74"/>
                <a:gd name="T8" fmla="*/ 0 w 37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4">
                  <a:moveTo>
                    <a:pt x="0" y="0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24" y="74"/>
                    <a:pt x="37" y="6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11" y="5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1" name="Freeform 199">
              <a:extLst>
                <a:ext uri="{FF2B5EF4-FFF2-40B4-BE49-F238E27FC236}">
                  <a16:creationId xmlns:a16="http://schemas.microsoft.com/office/drawing/2014/main" id="{76ADB15F-2FB4-4837-9851-D491084A30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8172" y="3085818"/>
              <a:ext cx="58793" cy="13673"/>
            </a:xfrm>
            <a:custGeom>
              <a:avLst/>
              <a:gdLst>
                <a:gd name="T0" fmla="*/ 0 w 23"/>
                <a:gd name="T1" fmla="*/ 3 h 5"/>
                <a:gd name="T2" fmla="*/ 11 w 23"/>
                <a:gd name="T3" fmla="*/ 5 h 5"/>
                <a:gd name="T4" fmla="*/ 12 w 23"/>
                <a:gd name="T5" fmla="*/ 5 h 5"/>
                <a:gd name="T6" fmla="*/ 18 w 23"/>
                <a:gd name="T7" fmla="*/ 5 h 5"/>
                <a:gd name="T8" fmla="*/ 13 w 23"/>
                <a:gd name="T9" fmla="*/ 4 h 5"/>
                <a:gd name="T10" fmla="*/ 23 w 23"/>
                <a:gd name="T11" fmla="*/ 0 h 5"/>
                <a:gd name="T12" fmla="*/ 11 w 23"/>
                <a:gd name="T13" fmla="*/ 3 h 5"/>
                <a:gd name="T14" fmla="*/ 0 w 2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5">
                  <a:moveTo>
                    <a:pt x="0" y="3"/>
                  </a:moveTo>
                  <a:cubicBezTo>
                    <a:pt x="0" y="3"/>
                    <a:pt x="4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20" y="3"/>
                    <a:pt x="23" y="0"/>
                  </a:cubicBezTo>
                  <a:cubicBezTo>
                    <a:pt x="23" y="0"/>
                    <a:pt x="17" y="2"/>
                    <a:pt x="11" y="3"/>
                  </a:cubicBezTo>
                  <a:cubicBezTo>
                    <a:pt x="5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2" name="Freeform 200">
              <a:extLst>
                <a:ext uri="{FF2B5EF4-FFF2-40B4-BE49-F238E27FC236}">
                  <a16:creationId xmlns:a16="http://schemas.microsoft.com/office/drawing/2014/main" id="{BF60DA23-E854-4485-A3E6-4F5FD2A5A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0987" y="3226645"/>
              <a:ext cx="58793" cy="17775"/>
            </a:xfrm>
            <a:custGeom>
              <a:avLst/>
              <a:gdLst>
                <a:gd name="T0" fmla="*/ 43 w 43"/>
                <a:gd name="T1" fmla="*/ 6 h 13"/>
                <a:gd name="T2" fmla="*/ 2 w 43"/>
                <a:gd name="T3" fmla="*/ 13 h 13"/>
                <a:gd name="T4" fmla="*/ 0 w 43"/>
                <a:gd name="T5" fmla="*/ 6 h 13"/>
                <a:gd name="T6" fmla="*/ 43 w 43"/>
                <a:gd name="T7" fmla="*/ 0 h 13"/>
                <a:gd name="T8" fmla="*/ 43 w 43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3">
                  <a:moveTo>
                    <a:pt x="43" y="6"/>
                  </a:moveTo>
                  <a:lnTo>
                    <a:pt x="2" y="13"/>
                  </a:lnTo>
                  <a:lnTo>
                    <a:pt x="0" y="6"/>
                  </a:lnTo>
                  <a:lnTo>
                    <a:pt x="43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3" name="Freeform 201">
              <a:extLst>
                <a:ext uri="{FF2B5EF4-FFF2-40B4-BE49-F238E27FC236}">
                  <a16:creationId xmlns:a16="http://schemas.microsoft.com/office/drawing/2014/main" id="{94F69C07-037A-47A4-9D6A-8029AE1B89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0987" y="3240318"/>
              <a:ext cx="10938" cy="211926"/>
            </a:xfrm>
            <a:custGeom>
              <a:avLst/>
              <a:gdLst>
                <a:gd name="T0" fmla="*/ 0 w 8"/>
                <a:gd name="T1" fmla="*/ 0 h 155"/>
                <a:gd name="T2" fmla="*/ 0 w 8"/>
                <a:gd name="T3" fmla="*/ 155 h 155"/>
                <a:gd name="T4" fmla="*/ 8 w 8"/>
                <a:gd name="T5" fmla="*/ 155 h 155"/>
                <a:gd name="T6" fmla="*/ 0 w 8"/>
                <a:gd name="T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5">
                  <a:moveTo>
                    <a:pt x="0" y="0"/>
                  </a:moveTo>
                  <a:lnTo>
                    <a:pt x="0" y="155"/>
                  </a:lnTo>
                  <a:lnTo>
                    <a:pt x="8" y="1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4" name="Freeform 202">
              <a:extLst>
                <a:ext uri="{FF2B5EF4-FFF2-40B4-BE49-F238E27FC236}">
                  <a16:creationId xmlns:a16="http://schemas.microsoft.com/office/drawing/2014/main" id="{43F734E6-C32E-4EF3-B21A-BC2146B3A8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5505" y="3152813"/>
              <a:ext cx="161337" cy="132625"/>
            </a:xfrm>
            <a:custGeom>
              <a:avLst/>
              <a:gdLst>
                <a:gd name="T0" fmla="*/ 0 w 63"/>
                <a:gd name="T1" fmla="*/ 0 h 52"/>
                <a:gd name="T2" fmla="*/ 63 w 63"/>
                <a:gd name="T3" fmla="*/ 52 h 52"/>
                <a:gd name="T4" fmla="*/ 0 w 6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52">
                  <a:moveTo>
                    <a:pt x="0" y="0"/>
                  </a:moveTo>
                  <a:cubicBezTo>
                    <a:pt x="0" y="0"/>
                    <a:pt x="50" y="15"/>
                    <a:pt x="63" y="52"/>
                  </a:cubicBezTo>
                  <a:cubicBezTo>
                    <a:pt x="63" y="52"/>
                    <a:pt x="33" y="9"/>
                    <a:pt x="0" y="0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5" name="Freeform 203">
              <a:extLst>
                <a:ext uri="{FF2B5EF4-FFF2-40B4-BE49-F238E27FC236}">
                  <a16:creationId xmlns:a16="http://schemas.microsoft.com/office/drawing/2014/main" id="{76D04AA2-3722-47CF-BC5A-050C96539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5505" y="3109061"/>
              <a:ext cx="143563" cy="43752"/>
            </a:xfrm>
            <a:custGeom>
              <a:avLst/>
              <a:gdLst>
                <a:gd name="T0" fmla="*/ 0 w 56"/>
                <a:gd name="T1" fmla="*/ 17 h 17"/>
                <a:gd name="T2" fmla="*/ 56 w 56"/>
                <a:gd name="T3" fmla="*/ 17 h 17"/>
                <a:gd name="T4" fmla="*/ 0 w 56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7">
                  <a:moveTo>
                    <a:pt x="0" y="17"/>
                  </a:moveTo>
                  <a:cubicBezTo>
                    <a:pt x="0" y="17"/>
                    <a:pt x="27" y="0"/>
                    <a:pt x="56" y="17"/>
                  </a:cubicBezTo>
                  <a:cubicBezTo>
                    <a:pt x="56" y="17"/>
                    <a:pt x="17" y="10"/>
                    <a:pt x="0" y="17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6" name="Freeform 204">
              <a:extLst>
                <a:ext uri="{FF2B5EF4-FFF2-40B4-BE49-F238E27FC236}">
                  <a16:creationId xmlns:a16="http://schemas.microsoft.com/office/drawing/2014/main" id="{9EFB0C20-70BB-435E-825B-14D7070F0C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7283" y="2744003"/>
              <a:ext cx="328143" cy="278921"/>
            </a:xfrm>
            <a:custGeom>
              <a:avLst/>
              <a:gdLst>
                <a:gd name="T0" fmla="*/ 10 w 128"/>
                <a:gd name="T1" fmla="*/ 9 h 109"/>
                <a:gd name="T2" fmla="*/ 0 w 128"/>
                <a:gd name="T3" fmla="*/ 14 h 109"/>
                <a:gd name="T4" fmla="*/ 24 w 128"/>
                <a:gd name="T5" fmla="*/ 109 h 109"/>
                <a:gd name="T6" fmla="*/ 128 w 128"/>
                <a:gd name="T7" fmla="*/ 3 h 109"/>
                <a:gd name="T8" fmla="*/ 121 w 128"/>
                <a:gd name="T9" fmla="*/ 0 h 109"/>
                <a:gd name="T10" fmla="*/ 25 w 128"/>
                <a:gd name="T11" fmla="*/ 99 h 109"/>
                <a:gd name="T12" fmla="*/ 10 w 128"/>
                <a:gd name="T13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09">
                  <a:moveTo>
                    <a:pt x="10" y="9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23" y="108"/>
                    <a:pt x="24" y="109"/>
                  </a:cubicBezTo>
                  <a:cubicBezTo>
                    <a:pt x="25" y="109"/>
                    <a:pt x="128" y="3"/>
                    <a:pt x="128" y="3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10" y="9"/>
                    <a:pt x="10" y="9"/>
                    <a:pt x="10" y="9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B1F8C2FD-B975-4792-B114-9DF014138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0637" y="3995046"/>
              <a:ext cx="570148" cy="561945"/>
            </a:xfrm>
            <a:custGeom>
              <a:avLst/>
              <a:gdLst>
                <a:gd name="T0" fmla="*/ 0 w 223"/>
                <a:gd name="T1" fmla="*/ 0 h 220"/>
                <a:gd name="T2" fmla="*/ 161 w 223"/>
                <a:gd name="T3" fmla="*/ 181 h 220"/>
                <a:gd name="T4" fmla="*/ 0 w 223"/>
                <a:gd name="T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3" h="220">
                  <a:moveTo>
                    <a:pt x="0" y="0"/>
                  </a:moveTo>
                  <a:cubicBezTo>
                    <a:pt x="0" y="0"/>
                    <a:pt x="99" y="141"/>
                    <a:pt x="161" y="181"/>
                  </a:cubicBezTo>
                  <a:cubicBezTo>
                    <a:pt x="223" y="220"/>
                    <a:pt x="26" y="58"/>
                    <a:pt x="0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92A66AB4-72B6-4D88-BD09-6E9634C07C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9106" y="1475185"/>
              <a:ext cx="542803" cy="317205"/>
            </a:xfrm>
            <a:custGeom>
              <a:avLst/>
              <a:gdLst>
                <a:gd name="T0" fmla="*/ 210 w 212"/>
                <a:gd name="T1" fmla="*/ 124 h 124"/>
                <a:gd name="T2" fmla="*/ 212 w 212"/>
                <a:gd name="T3" fmla="*/ 105 h 124"/>
                <a:gd name="T4" fmla="*/ 106 w 212"/>
                <a:gd name="T5" fmla="*/ 0 h 124"/>
                <a:gd name="T6" fmla="*/ 0 w 212"/>
                <a:gd name="T7" fmla="*/ 105 h 124"/>
                <a:gd name="T8" fmla="*/ 2 w 212"/>
                <a:gd name="T9" fmla="*/ 124 h 124"/>
                <a:gd name="T10" fmla="*/ 210 w 212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24">
                  <a:moveTo>
                    <a:pt x="210" y="124"/>
                  </a:moveTo>
                  <a:cubicBezTo>
                    <a:pt x="211" y="118"/>
                    <a:pt x="212" y="112"/>
                    <a:pt x="212" y="105"/>
                  </a:cubicBezTo>
                  <a:cubicBezTo>
                    <a:pt x="212" y="47"/>
                    <a:pt x="164" y="0"/>
                    <a:pt x="106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12"/>
                    <a:pt x="1" y="118"/>
                    <a:pt x="2" y="124"/>
                  </a:cubicBezTo>
                  <a:lnTo>
                    <a:pt x="210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B5BDAD87-9BA5-43A7-A434-AFCAE6BD75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7518" y="1633787"/>
              <a:ext cx="438891" cy="158602"/>
            </a:xfrm>
            <a:custGeom>
              <a:avLst/>
              <a:gdLst>
                <a:gd name="T0" fmla="*/ 171 w 171"/>
                <a:gd name="T1" fmla="*/ 62 h 62"/>
                <a:gd name="T2" fmla="*/ 86 w 171"/>
                <a:gd name="T3" fmla="*/ 0 h 62"/>
                <a:gd name="T4" fmla="*/ 0 w 171"/>
                <a:gd name="T5" fmla="*/ 62 h 62"/>
                <a:gd name="T6" fmla="*/ 171 w 171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" h="62">
                  <a:moveTo>
                    <a:pt x="171" y="62"/>
                  </a:moveTo>
                  <a:cubicBezTo>
                    <a:pt x="159" y="26"/>
                    <a:pt x="126" y="0"/>
                    <a:pt x="86" y="0"/>
                  </a:cubicBezTo>
                  <a:cubicBezTo>
                    <a:pt x="46" y="0"/>
                    <a:pt x="12" y="26"/>
                    <a:pt x="0" y="62"/>
                  </a:cubicBezTo>
                  <a:lnTo>
                    <a:pt x="171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32DF190D-6790-4E68-A1BA-141BAA514C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428" y="1677539"/>
              <a:ext cx="429320" cy="114850"/>
            </a:xfrm>
            <a:custGeom>
              <a:avLst/>
              <a:gdLst>
                <a:gd name="T0" fmla="*/ 168 w 168"/>
                <a:gd name="T1" fmla="*/ 45 h 45"/>
                <a:gd name="T2" fmla="*/ 84 w 168"/>
                <a:gd name="T3" fmla="*/ 0 h 45"/>
                <a:gd name="T4" fmla="*/ 0 w 168"/>
                <a:gd name="T5" fmla="*/ 45 h 45"/>
                <a:gd name="T6" fmla="*/ 168 w 168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" h="45">
                  <a:moveTo>
                    <a:pt x="168" y="45"/>
                  </a:moveTo>
                  <a:cubicBezTo>
                    <a:pt x="150" y="18"/>
                    <a:pt x="119" y="0"/>
                    <a:pt x="84" y="0"/>
                  </a:cubicBezTo>
                  <a:cubicBezTo>
                    <a:pt x="49" y="0"/>
                    <a:pt x="18" y="18"/>
                    <a:pt x="0" y="45"/>
                  </a:cubicBezTo>
                  <a:lnTo>
                    <a:pt x="168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E79C4923-24D2-44EE-A2C6-BCFE5DD63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1163" y="3252953"/>
              <a:ext cx="235169" cy="370528"/>
            </a:xfrm>
            <a:custGeom>
              <a:avLst/>
              <a:gdLst>
                <a:gd name="T0" fmla="*/ 92 w 92"/>
                <a:gd name="T1" fmla="*/ 0 h 145"/>
                <a:gd name="T2" fmla="*/ 0 w 92"/>
                <a:gd name="T3" fmla="*/ 123 h 145"/>
                <a:gd name="T4" fmla="*/ 2 w 92"/>
                <a:gd name="T5" fmla="*/ 145 h 145"/>
                <a:gd name="T6" fmla="*/ 92 w 92"/>
                <a:gd name="T7" fmla="*/ 145 h 145"/>
                <a:gd name="T8" fmla="*/ 92 w 92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45">
                  <a:moveTo>
                    <a:pt x="92" y="0"/>
                  </a:moveTo>
                  <a:cubicBezTo>
                    <a:pt x="39" y="15"/>
                    <a:pt x="0" y="65"/>
                    <a:pt x="0" y="123"/>
                  </a:cubicBezTo>
                  <a:cubicBezTo>
                    <a:pt x="0" y="131"/>
                    <a:pt x="0" y="138"/>
                    <a:pt x="2" y="145"/>
                  </a:cubicBezTo>
                  <a:cubicBezTo>
                    <a:pt x="92" y="145"/>
                    <a:pt x="92" y="145"/>
                    <a:pt x="92" y="145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61B9E674-314C-48FE-B388-404107A7D7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84327" y="3485058"/>
              <a:ext cx="525028" cy="138094"/>
            </a:xfrm>
            <a:custGeom>
              <a:avLst/>
              <a:gdLst>
                <a:gd name="T0" fmla="*/ 205 w 205"/>
                <a:gd name="T1" fmla="*/ 54 h 54"/>
                <a:gd name="T2" fmla="*/ 102 w 205"/>
                <a:gd name="T3" fmla="*/ 0 h 54"/>
                <a:gd name="T4" fmla="*/ 0 w 205"/>
                <a:gd name="T5" fmla="*/ 54 h 54"/>
                <a:gd name="T6" fmla="*/ 205 w 205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54">
                  <a:moveTo>
                    <a:pt x="205" y="54"/>
                  </a:moveTo>
                  <a:cubicBezTo>
                    <a:pt x="182" y="21"/>
                    <a:pt x="145" y="0"/>
                    <a:pt x="102" y="0"/>
                  </a:cubicBezTo>
                  <a:cubicBezTo>
                    <a:pt x="60" y="0"/>
                    <a:pt x="22" y="21"/>
                    <a:pt x="0" y="54"/>
                  </a:cubicBezTo>
                  <a:lnTo>
                    <a:pt x="205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90D98B31-F5FA-4D6D-9AA2-6F7A27AE2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7891" y="2097288"/>
              <a:ext cx="106646" cy="247475"/>
            </a:xfrm>
            <a:custGeom>
              <a:avLst/>
              <a:gdLst>
                <a:gd name="T0" fmla="*/ 0 w 42"/>
                <a:gd name="T1" fmla="*/ 97 h 97"/>
                <a:gd name="T2" fmla="*/ 31 w 42"/>
                <a:gd name="T3" fmla="*/ 93 h 97"/>
                <a:gd name="T4" fmla="*/ 8 w 42"/>
                <a:gd name="T5" fmla="*/ 0 h 97"/>
                <a:gd name="T6" fmla="*/ 12 w 42"/>
                <a:gd name="T7" fmla="*/ 75 h 97"/>
                <a:gd name="T8" fmla="*/ 0 w 42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97">
                  <a:moveTo>
                    <a:pt x="0" y="97"/>
                  </a:moveTo>
                  <a:cubicBezTo>
                    <a:pt x="31" y="93"/>
                    <a:pt x="31" y="93"/>
                    <a:pt x="31" y="93"/>
                  </a:cubicBezTo>
                  <a:cubicBezTo>
                    <a:pt x="31" y="93"/>
                    <a:pt x="42" y="28"/>
                    <a:pt x="8" y="0"/>
                  </a:cubicBezTo>
                  <a:cubicBezTo>
                    <a:pt x="8" y="0"/>
                    <a:pt x="31" y="36"/>
                    <a:pt x="12" y="75"/>
                  </a:cubicBezTo>
                  <a:cubicBezTo>
                    <a:pt x="6" y="87"/>
                    <a:pt x="2" y="93"/>
                    <a:pt x="0" y="97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00C1EF31-6C66-41C8-8886-82EF9674D4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218" y="2344763"/>
              <a:ext cx="13673" cy="20509"/>
            </a:xfrm>
            <a:custGeom>
              <a:avLst/>
              <a:gdLst>
                <a:gd name="T0" fmla="*/ 5 w 5"/>
                <a:gd name="T1" fmla="*/ 0 h 8"/>
                <a:gd name="T2" fmla="*/ 3 w 5"/>
                <a:gd name="T3" fmla="*/ 0 h 8"/>
                <a:gd name="T4" fmla="*/ 5 w 5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8"/>
                    <a:pt x="5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138109B5-2830-4C19-A750-CAD18CAA90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47841" y="2411758"/>
              <a:ext cx="8204" cy="196886"/>
            </a:xfrm>
            <a:custGeom>
              <a:avLst/>
              <a:gdLst>
                <a:gd name="T0" fmla="*/ 3 w 3"/>
                <a:gd name="T1" fmla="*/ 0 h 77"/>
                <a:gd name="T2" fmla="*/ 2 w 3"/>
                <a:gd name="T3" fmla="*/ 77 h 77"/>
                <a:gd name="T4" fmla="*/ 2 w 3"/>
                <a:gd name="T5" fmla="*/ 77 h 77"/>
                <a:gd name="T6" fmla="*/ 3 w 3"/>
                <a:gd name="T7" fmla="*/ 0 h 77"/>
                <a:gd name="T8" fmla="*/ 3 w 3"/>
                <a:gd name="T9" fmla="*/ 0 h 77"/>
                <a:gd name="T10" fmla="*/ 3 w 3"/>
                <a:gd name="T11" fmla="*/ 0 h 77"/>
                <a:gd name="T12" fmla="*/ 3 w 3"/>
                <a:gd name="T13" fmla="*/ 0 h 77"/>
                <a:gd name="T14" fmla="*/ 3 w 3"/>
                <a:gd name="T15" fmla="*/ 0 h 77"/>
                <a:gd name="T16" fmla="*/ 3 w 3"/>
                <a:gd name="T17" fmla="*/ 0 h 77"/>
                <a:gd name="T18" fmla="*/ 3 w 3"/>
                <a:gd name="T19" fmla="*/ 0 h 77"/>
                <a:gd name="T20" fmla="*/ 3 w 3"/>
                <a:gd name="T21" fmla="*/ 0 h 77"/>
                <a:gd name="T22" fmla="*/ 3 w 3"/>
                <a:gd name="T23" fmla="*/ 0 h 77"/>
                <a:gd name="T24" fmla="*/ 3 w 3"/>
                <a:gd name="T25" fmla="*/ 0 h 77"/>
                <a:gd name="T26" fmla="*/ 3 w 3"/>
                <a:gd name="T27" fmla="*/ 0 h 77"/>
                <a:gd name="T28" fmla="*/ 0 w 3"/>
                <a:gd name="T29" fmla="*/ 10 h 77"/>
                <a:gd name="T30" fmla="*/ 3 w 3"/>
                <a:gd name="T31" fmla="*/ 0 h 77"/>
                <a:gd name="T32" fmla="*/ 0 w 3"/>
                <a:gd name="T33" fmla="*/ 9 h 77"/>
                <a:gd name="T34" fmla="*/ 3 w 3"/>
                <a:gd name="T35" fmla="*/ 0 h 77"/>
                <a:gd name="T36" fmla="*/ 3 w 3"/>
                <a:gd name="T37" fmla="*/ 0 h 77"/>
                <a:gd name="T38" fmla="*/ 3 w 3"/>
                <a:gd name="T39" fmla="*/ 0 h 77"/>
                <a:gd name="T40" fmla="*/ 3 w 3"/>
                <a:gd name="T41" fmla="*/ 0 h 77"/>
                <a:gd name="T42" fmla="*/ 3 w 3"/>
                <a:gd name="T43" fmla="*/ 0 h 77"/>
                <a:gd name="T44" fmla="*/ 3 w 3"/>
                <a:gd name="T45" fmla="*/ 0 h 77"/>
                <a:gd name="T46" fmla="*/ 3 w 3"/>
                <a:gd name="T4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77">
                  <a:moveTo>
                    <a:pt x="3" y="0"/>
                  </a:moveTo>
                  <a:cubicBezTo>
                    <a:pt x="3" y="1"/>
                    <a:pt x="1" y="43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43"/>
                    <a:pt x="3" y="1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2" y="2"/>
                    <a:pt x="0" y="10"/>
                  </a:cubicBezTo>
                  <a:cubicBezTo>
                    <a:pt x="1" y="7"/>
                    <a:pt x="2" y="4"/>
                    <a:pt x="3" y="0"/>
                  </a:cubicBezTo>
                  <a:cubicBezTo>
                    <a:pt x="2" y="3"/>
                    <a:pt x="1" y="6"/>
                    <a:pt x="0" y="9"/>
                  </a:cubicBezTo>
                  <a:cubicBezTo>
                    <a:pt x="2" y="2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E3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695C5148-BF9F-463B-9348-EF981F89A7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8111" y="2301010"/>
              <a:ext cx="98443" cy="210558"/>
            </a:xfrm>
            <a:custGeom>
              <a:avLst/>
              <a:gdLst>
                <a:gd name="T0" fmla="*/ 30 w 38"/>
                <a:gd name="T1" fmla="*/ 43 h 82"/>
                <a:gd name="T2" fmla="*/ 30 w 38"/>
                <a:gd name="T3" fmla="*/ 43 h 82"/>
                <a:gd name="T4" fmla="*/ 30 w 38"/>
                <a:gd name="T5" fmla="*/ 43 h 82"/>
                <a:gd name="T6" fmla="*/ 30 w 38"/>
                <a:gd name="T7" fmla="*/ 43 h 82"/>
                <a:gd name="T8" fmla="*/ 24 w 38"/>
                <a:gd name="T9" fmla="*/ 10 h 82"/>
                <a:gd name="T10" fmla="*/ 22 w 38"/>
                <a:gd name="T11" fmla="*/ 14 h 82"/>
                <a:gd name="T12" fmla="*/ 23 w 38"/>
                <a:gd name="T13" fmla="*/ 11 h 82"/>
                <a:gd name="T14" fmla="*/ 24 w 38"/>
                <a:gd name="T15" fmla="*/ 10 h 82"/>
                <a:gd name="T16" fmla="*/ 24 w 38"/>
                <a:gd name="T17" fmla="*/ 8 h 82"/>
                <a:gd name="T18" fmla="*/ 23 w 38"/>
                <a:gd name="T19" fmla="*/ 11 h 82"/>
                <a:gd name="T20" fmla="*/ 24 w 38"/>
                <a:gd name="T21" fmla="*/ 8 h 82"/>
                <a:gd name="T22" fmla="*/ 18 w 38"/>
                <a:gd name="T23" fmla="*/ 7 h 82"/>
                <a:gd name="T24" fmla="*/ 4 w 38"/>
                <a:gd name="T25" fmla="*/ 11 h 82"/>
                <a:gd name="T26" fmla="*/ 7 w 38"/>
                <a:gd name="T27" fmla="*/ 64 h 82"/>
                <a:gd name="T28" fmla="*/ 15 w 38"/>
                <a:gd name="T29" fmla="*/ 82 h 82"/>
                <a:gd name="T30" fmla="*/ 27 w 38"/>
                <a:gd name="T31" fmla="*/ 53 h 82"/>
                <a:gd name="T32" fmla="*/ 30 w 38"/>
                <a:gd name="T33" fmla="*/ 43 h 82"/>
                <a:gd name="T34" fmla="*/ 30 w 38"/>
                <a:gd name="T35" fmla="*/ 43 h 82"/>
                <a:gd name="T36" fmla="*/ 30 w 38"/>
                <a:gd name="T37" fmla="*/ 43 h 82"/>
                <a:gd name="T38" fmla="*/ 30 w 38"/>
                <a:gd name="T39" fmla="*/ 43 h 82"/>
                <a:gd name="T40" fmla="*/ 31 w 38"/>
                <a:gd name="T41" fmla="*/ 43 h 82"/>
                <a:gd name="T42" fmla="*/ 38 w 38"/>
                <a:gd name="T43" fmla="*/ 42 h 82"/>
                <a:gd name="T44" fmla="*/ 35 w 38"/>
                <a:gd name="T45" fmla="*/ 42 h 82"/>
                <a:gd name="T46" fmla="*/ 21 w 38"/>
                <a:gd name="T47" fmla="*/ 25 h 82"/>
                <a:gd name="T48" fmla="*/ 21 w 38"/>
                <a:gd name="T49" fmla="*/ 27 h 82"/>
                <a:gd name="T50" fmla="*/ 21 w 38"/>
                <a:gd name="T51" fmla="*/ 27 h 82"/>
                <a:gd name="T52" fmla="*/ 18 w 38"/>
                <a:gd name="T53" fmla="*/ 13 h 82"/>
                <a:gd name="T54" fmla="*/ 18 w 38"/>
                <a:gd name="T55" fmla="*/ 7 h 82"/>
                <a:gd name="T56" fmla="*/ 6 w 38"/>
                <a:gd name="T57" fmla="*/ 0 h 82"/>
                <a:gd name="T58" fmla="*/ 5 w 38"/>
                <a:gd name="T59" fmla="*/ 8 h 82"/>
                <a:gd name="T60" fmla="*/ 17 w 38"/>
                <a:gd name="T61" fmla="*/ 5 h 82"/>
                <a:gd name="T62" fmla="*/ 10 w 38"/>
                <a:gd name="T63" fmla="*/ 0 h 82"/>
                <a:gd name="T64" fmla="*/ 9 w 38"/>
                <a:gd name="T65" fmla="*/ 0 h 82"/>
                <a:gd name="T66" fmla="*/ 6 w 38"/>
                <a:gd name="T6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" h="82">
                  <a:moveTo>
                    <a:pt x="30" y="43"/>
                  </a:move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moveTo>
                    <a:pt x="24" y="10"/>
                  </a:moveTo>
                  <a:cubicBezTo>
                    <a:pt x="23" y="11"/>
                    <a:pt x="23" y="13"/>
                    <a:pt x="22" y="14"/>
                  </a:cubicBezTo>
                  <a:cubicBezTo>
                    <a:pt x="22" y="13"/>
                    <a:pt x="23" y="12"/>
                    <a:pt x="23" y="11"/>
                  </a:cubicBezTo>
                  <a:cubicBezTo>
                    <a:pt x="24" y="10"/>
                    <a:pt x="24" y="10"/>
                    <a:pt x="24" y="10"/>
                  </a:cubicBezTo>
                  <a:moveTo>
                    <a:pt x="24" y="8"/>
                  </a:moveTo>
                  <a:cubicBezTo>
                    <a:pt x="24" y="9"/>
                    <a:pt x="23" y="10"/>
                    <a:pt x="23" y="11"/>
                  </a:cubicBezTo>
                  <a:cubicBezTo>
                    <a:pt x="24" y="10"/>
                    <a:pt x="24" y="9"/>
                    <a:pt x="24" y="8"/>
                  </a:cubicBezTo>
                  <a:moveTo>
                    <a:pt x="18" y="7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1" y="30"/>
                    <a:pt x="0" y="48"/>
                    <a:pt x="7" y="64"/>
                  </a:cubicBezTo>
                  <a:cubicBezTo>
                    <a:pt x="10" y="70"/>
                    <a:pt x="12" y="76"/>
                    <a:pt x="15" y="82"/>
                  </a:cubicBezTo>
                  <a:cubicBezTo>
                    <a:pt x="19" y="75"/>
                    <a:pt x="23" y="65"/>
                    <a:pt x="27" y="53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1" y="43"/>
                  </a:cubicBezTo>
                  <a:cubicBezTo>
                    <a:pt x="32" y="43"/>
                    <a:pt x="35" y="43"/>
                    <a:pt x="38" y="42"/>
                  </a:cubicBezTo>
                  <a:cubicBezTo>
                    <a:pt x="37" y="42"/>
                    <a:pt x="36" y="42"/>
                    <a:pt x="35" y="42"/>
                  </a:cubicBezTo>
                  <a:cubicBezTo>
                    <a:pt x="26" y="42"/>
                    <a:pt x="22" y="34"/>
                    <a:pt x="21" y="25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18" y="27"/>
                    <a:pt x="18" y="13"/>
                  </a:cubicBezTo>
                  <a:cubicBezTo>
                    <a:pt x="18" y="10"/>
                    <a:pt x="18" y="9"/>
                    <a:pt x="18" y="7"/>
                  </a:cubicBezTo>
                  <a:moveTo>
                    <a:pt x="6" y="0"/>
                  </a:moveTo>
                  <a:cubicBezTo>
                    <a:pt x="6" y="3"/>
                    <a:pt x="5" y="6"/>
                    <a:pt x="5" y="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</a:path>
              </a:pathLst>
            </a:custGeom>
            <a:solidFill>
              <a:srgbClr val="966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4BC8E0E0-AE8D-48C8-BC0B-F0EC82C66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7762" y="2411758"/>
              <a:ext cx="38283" cy="196886"/>
            </a:xfrm>
            <a:custGeom>
              <a:avLst/>
              <a:gdLst>
                <a:gd name="T0" fmla="*/ 15 w 15"/>
                <a:gd name="T1" fmla="*/ 0 h 77"/>
                <a:gd name="T2" fmla="*/ 15 w 15"/>
                <a:gd name="T3" fmla="*/ 0 h 77"/>
                <a:gd name="T4" fmla="*/ 15 w 15"/>
                <a:gd name="T5" fmla="*/ 0 h 77"/>
                <a:gd name="T6" fmla="*/ 12 w 15"/>
                <a:gd name="T7" fmla="*/ 10 h 77"/>
                <a:gd name="T8" fmla="*/ 0 w 15"/>
                <a:gd name="T9" fmla="*/ 39 h 77"/>
                <a:gd name="T10" fmla="*/ 14 w 15"/>
                <a:gd name="T11" fmla="*/ 77 h 77"/>
                <a:gd name="T12" fmla="*/ 15 w 15"/>
                <a:gd name="T13" fmla="*/ 0 h 77"/>
                <a:gd name="T14" fmla="*/ 15 w 15"/>
                <a:gd name="T15" fmla="*/ 0 h 77"/>
                <a:gd name="T16" fmla="*/ 15 w 15"/>
                <a:gd name="T17" fmla="*/ 0 h 77"/>
                <a:gd name="T18" fmla="*/ 15 w 15"/>
                <a:gd name="T19" fmla="*/ 0 h 77"/>
                <a:gd name="T20" fmla="*/ 15 w 15"/>
                <a:gd name="T21" fmla="*/ 0 h 77"/>
                <a:gd name="T22" fmla="*/ 15 w 15"/>
                <a:gd name="T23" fmla="*/ 0 h 77"/>
                <a:gd name="T24" fmla="*/ 15 w 15"/>
                <a:gd name="T25" fmla="*/ 0 h 77"/>
                <a:gd name="T26" fmla="*/ 15 w 15"/>
                <a:gd name="T27" fmla="*/ 0 h 77"/>
                <a:gd name="T28" fmla="*/ 15 w 15"/>
                <a:gd name="T29" fmla="*/ 0 h 77"/>
                <a:gd name="T30" fmla="*/ 15 w 15"/>
                <a:gd name="T3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77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3" y="7"/>
                    <a:pt x="12" y="10"/>
                  </a:cubicBezTo>
                  <a:cubicBezTo>
                    <a:pt x="8" y="22"/>
                    <a:pt x="4" y="32"/>
                    <a:pt x="0" y="39"/>
                  </a:cubicBezTo>
                  <a:cubicBezTo>
                    <a:pt x="5" y="52"/>
                    <a:pt x="9" y="64"/>
                    <a:pt x="14" y="77"/>
                  </a:cubicBezTo>
                  <a:cubicBezTo>
                    <a:pt x="13" y="43"/>
                    <a:pt x="15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965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81BF4B29-C424-4425-B8FE-21842D1919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2802" y="2309214"/>
              <a:ext cx="73832" cy="99810"/>
            </a:xfrm>
            <a:custGeom>
              <a:avLst/>
              <a:gdLst>
                <a:gd name="T0" fmla="*/ 7 w 29"/>
                <a:gd name="T1" fmla="*/ 32 h 39"/>
                <a:gd name="T2" fmla="*/ 7 w 29"/>
                <a:gd name="T3" fmla="*/ 31 h 39"/>
                <a:gd name="T4" fmla="*/ 13 w 29"/>
                <a:gd name="T5" fmla="*/ 8 h 39"/>
                <a:gd name="T6" fmla="*/ 14 w 29"/>
                <a:gd name="T7" fmla="*/ 7 h 39"/>
                <a:gd name="T8" fmla="*/ 15 w 29"/>
                <a:gd name="T9" fmla="*/ 7 h 39"/>
                <a:gd name="T10" fmla="*/ 15 w 29"/>
                <a:gd name="T11" fmla="*/ 9 h 39"/>
                <a:gd name="T12" fmla="*/ 10 w 29"/>
                <a:gd name="T13" fmla="*/ 28 h 39"/>
                <a:gd name="T14" fmla="*/ 14 w 29"/>
                <a:gd name="T15" fmla="*/ 25 h 39"/>
                <a:gd name="T16" fmla="*/ 14 w 29"/>
                <a:gd name="T17" fmla="*/ 25 h 39"/>
                <a:gd name="T18" fmla="*/ 15 w 29"/>
                <a:gd name="T19" fmla="*/ 25 h 39"/>
                <a:gd name="T20" fmla="*/ 15 w 29"/>
                <a:gd name="T21" fmla="*/ 27 h 39"/>
                <a:gd name="T22" fmla="*/ 8 w 29"/>
                <a:gd name="T23" fmla="*/ 32 h 39"/>
                <a:gd name="T24" fmla="*/ 7 w 29"/>
                <a:gd name="T25" fmla="*/ 32 h 39"/>
                <a:gd name="T26" fmla="*/ 15 w 29"/>
                <a:gd name="T27" fmla="*/ 0 h 39"/>
                <a:gd name="T28" fmla="*/ 3 w 29"/>
                <a:gd name="T29" fmla="*/ 5 h 39"/>
                <a:gd name="T30" fmla="*/ 2 w 29"/>
                <a:gd name="T31" fmla="*/ 8 h 39"/>
                <a:gd name="T32" fmla="*/ 2 w 29"/>
                <a:gd name="T33" fmla="*/ 8 h 39"/>
                <a:gd name="T34" fmla="*/ 2 w 29"/>
                <a:gd name="T35" fmla="*/ 8 h 39"/>
                <a:gd name="T36" fmla="*/ 1 w 29"/>
                <a:gd name="T37" fmla="*/ 11 h 39"/>
                <a:gd name="T38" fmla="*/ 0 w 29"/>
                <a:gd name="T39" fmla="*/ 22 h 39"/>
                <a:gd name="T40" fmla="*/ 14 w 29"/>
                <a:gd name="T41" fmla="*/ 39 h 39"/>
                <a:gd name="T42" fmla="*/ 17 w 29"/>
                <a:gd name="T43" fmla="*/ 39 h 39"/>
                <a:gd name="T44" fmla="*/ 17 w 29"/>
                <a:gd name="T45" fmla="*/ 39 h 39"/>
                <a:gd name="T46" fmla="*/ 17 w 29"/>
                <a:gd name="T47" fmla="*/ 39 h 39"/>
                <a:gd name="T48" fmla="*/ 29 w 29"/>
                <a:gd name="T49" fmla="*/ 22 h 39"/>
                <a:gd name="T50" fmla="*/ 18 w 29"/>
                <a:gd name="T51" fmla="*/ 0 h 39"/>
                <a:gd name="T52" fmla="*/ 18 w 29"/>
                <a:gd name="T53" fmla="*/ 0 h 39"/>
                <a:gd name="T54" fmla="*/ 18 w 29"/>
                <a:gd name="T55" fmla="*/ 0 h 39"/>
                <a:gd name="T56" fmla="*/ 15 w 29"/>
                <a:gd name="T5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39">
                  <a:moveTo>
                    <a:pt x="7" y="32"/>
                  </a:moveTo>
                  <a:cubicBezTo>
                    <a:pt x="7" y="31"/>
                    <a:pt x="7" y="31"/>
                    <a:pt x="7" y="3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7"/>
                    <a:pt x="14" y="7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7"/>
                    <a:pt x="15" y="27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moveTo>
                    <a:pt x="15" y="0"/>
                  </a:moveTo>
                  <a:cubicBezTo>
                    <a:pt x="12" y="0"/>
                    <a:pt x="6" y="0"/>
                    <a:pt x="3" y="5"/>
                  </a:cubicBezTo>
                  <a:cubicBezTo>
                    <a:pt x="3" y="6"/>
                    <a:pt x="3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0" y="15"/>
                    <a:pt x="0" y="20"/>
                    <a:pt x="0" y="22"/>
                  </a:cubicBezTo>
                  <a:cubicBezTo>
                    <a:pt x="1" y="31"/>
                    <a:pt x="5" y="39"/>
                    <a:pt x="14" y="39"/>
                  </a:cubicBezTo>
                  <a:cubicBezTo>
                    <a:pt x="15" y="39"/>
                    <a:pt x="16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25" y="38"/>
                    <a:pt x="29" y="30"/>
                    <a:pt x="29" y="22"/>
                  </a:cubicBezTo>
                  <a:cubicBezTo>
                    <a:pt x="29" y="12"/>
                    <a:pt x="24" y="1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5" y="0"/>
                  </a:cubicBezTo>
                </a:path>
              </a:pathLst>
            </a:custGeom>
            <a:solidFill>
              <a:srgbClr val="964B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9441010F-6303-49BB-92B9-AE97AD13D7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0576" y="2326988"/>
              <a:ext cx="20509" cy="64262"/>
            </a:xfrm>
            <a:custGeom>
              <a:avLst/>
              <a:gdLst>
                <a:gd name="T0" fmla="*/ 7 w 8"/>
                <a:gd name="T1" fmla="*/ 0 h 25"/>
                <a:gd name="T2" fmla="*/ 6 w 8"/>
                <a:gd name="T3" fmla="*/ 1 h 25"/>
                <a:gd name="T4" fmla="*/ 0 w 8"/>
                <a:gd name="T5" fmla="*/ 24 h 25"/>
                <a:gd name="T6" fmla="*/ 0 w 8"/>
                <a:gd name="T7" fmla="*/ 25 h 25"/>
                <a:gd name="T8" fmla="*/ 1 w 8"/>
                <a:gd name="T9" fmla="*/ 25 h 25"/>
                <a:gd name="T10" fmla="*/ 8 w 8"/>
                <a:gd name="T11" fmla="*/ 20 h 25"/>
                <a:gd name="T12" fmla="*/ 8 w 8"/>
                <a:gd name="T13" fmla="*/ 18 h 25"/>
                <a:gd name="T14" fmla="*/ 7 w 8"/>
                <a:gd name="T15" fmla="*/ 18 h 25"/>
                <a:gd name="T16" fmla="*/ 7 w 8"/>
                <a:gd name="T17" fmla="*/ 18 h 25"/>
                <a:gd name="T18" fmla="*/ 3 w 8"/>
                <a:gd name="T19" fmla="*/ 21 h 25"/>
                <a:gd name="T20" fmla="*/ 8 w 8"/>
                <a:gd name="T21" fmla="*/ 2 h 25"/>
                <a:gd name="T22" fmla="*/ 8 w 8"/>
                <a:gd name="T23" fmla="*/ 0 h 25"/>
                <a:gd name="T24" fmla="*/ 7 w 8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7" y="0"/>
                    <a:pt x="7" y="1"/>
                    <a:pt x="6" y="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CECD1E97-CF3C-4B0D-867B-B60E4DF87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9049" y="2314683"/>
              <a:ext cx="35549" cy="15040"/>
            </a:xfrm>
            <a:custGeom>
              <a:avLst/>
              <a:gdLst>
                <a:gd name="T0" fmla="*/ 13 w 14"/>
                <a:gd name="T1" fmla="*/ 0 h 6"/>
                <a:gd name="T2" fmla="*/ 1 w 14"/>
                <a:gd name="T3" fmla="*/ 3 h 6"/>
                <a:gd name="T4" fmla="*/ 0 w 14"/>
                <a:gd name="T5" fmla="*/ 6 h 6"/>
                <a:gd name="T6" fmla="*/ 14 w 14"/>
                <a:gd name="T7" fmla="*/ 2 h 6"/>
                <a:gd name="T8" fmla="*/ 13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3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3" y="1"/>
                    <a:pt x="13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9B091CA4-D106-4049-A8CF-1F70A5320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06823" y="2109594"/>
              <a:ext cx="61527" cy="117584"/>
            </a:xfrm>
            <a:custGeom>
              <a:avLst/>
              <a:gdLst>
                <a:gd name="T0" fmla="*/ 24 w 24"/>
                <a:gd name="T1" fmla="*/ 0 h 46"/>
                <a:gd name="T2" fmla="*/ 0 w 24"/>
                <a:gd name="T3" fmla="*/ 2 h 46"/>
                <a:gd name="T4" fmla="*/ 0 w 24"/>
                <a:gd name="T5" fmla="*/ 3 h 46"/>
                <a:gd name="T6" fmla="*/ 0 w 24"/>
                <a:gd name="T7" fmla="*/ 46 h 46"/>
                <a:gd name="T8" fmla="*/ 21 w 24"/>
                <a:gd name="T9" fmla="*/ 43 h 46"/>
                <a:gd name="T10" fmla="*/ 21 w 24"/>
                <a:gd name="T11" fmla="*/ 43 h 46"/>
                <a:gd name="T12" fmla="*/ 21 w 24"/>
                <a:gd name="T13" fmla="*/ 43 h 46"/>
                <a:gd name="T14" fmla="*/ 24 w 24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6">
                  <a:moveTo>
                    <a:pt x="24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3" y="18"/>
                    <a:pt x="2" y="32"/>
                    <a:pt x="0" y="46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4" y="0"/>
                    <a:pt x="24" y="0"/>
                    <a:pt x="24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7251ED4E-08E0-483E-B9B9-42BA20020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04089" y="2086350"/>
              <a:ext cx="284390" cy="28713"/>
            </a:xfrm>
            <a:custGeom>
              <a:avLst/>
              <a:gdLst>
                <a:gd name="T0" fmla="*/ 108 w 111"/>
                <a:gd name="T1" fmla="*/ 0 h 11"/>
                <a:gd name="T2" fmla="*/ 108 w 111"/>
                <a:gd name="T3" fmla="*/ 0 h 11"/>
                <a:gd name="T4" fmla="*/ 0 w 111"/>
                <a:gd name="T5" fmla="*/ 8 h 11"/>
                <a:gd name="T6" fmla="*/ 1 w 111"/>
                <a:gd name="T7" fmla="*/ 11 h 11"/>
                <a:gd name="T8" fmla="*/ 25 w 111"/>
                <a:gd name="T9" fmla="*/ 9 h 11"/>
                <a:gd name="T10" fmla="*/ 99 w 111"/>
                <a:gd name="T11" fmla="*/ 4 h 11"/>
                <a:gd name="T12" fmla="*/ 99 w 111"/>
                <a:gd name="T13" fmla="*/ 4 h 11"/>
                <a:gd name="T14" fmla="*/ 99 w 111"/>
                <a:gd name="T15" fmla="*/ 4 h 11"/>
                <a:gd name="T16" fmla="*/ 99 w 111"/>
                <a:gd name="T17" fmla="*/ 4 h 11"/>
                <a:gd name="T18" fmla="*/ 99 w 111"/>
                <a:gd name="T19" fmla="*/ 4 h 11"/>
                <a:gd name="T20" fmla="*/ 111 w 111"/>
                <a:gd name="T21" fmla="*/ 4 h 11"/>
                <a:gd name="T22" fmla="*/ 108 w 111"/>
                <a:gd name="T2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11">
                  <a:moveTo>
                    <a:pt x="108" y="0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1" y="11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928D3A1C-A15F-404E-8CFD-7B3C565768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519" y="2220341"/>
              <a:ext cx="65629" cy="150399"/>
            </a:xfrm>
            <a:custGeom>
              <a:avLst/>
              <a:gdLst>
                <a:gd name="T0" fmla="*/ 26 w 26"/>
                <a:gd name="T1" fmla="*/ 0 h 59"/>
                <a:gd name="T2" fmla="*/ 5 w 26"/>
                <a:gd name="T3" fmla="*/ 3 h 59"/>
                <a:gd name="T4" fmla="*/ 0 w 26"/>
                <a:gd name="T5" fmla="*/ 32 h 59"/>
                <a:gd name="T6" fmla="*/ 3 w 26"/>
                <a:gd name="T7" fmla="*/ 32 h 59"/>
                <a:gd name="T8" fmla="*/ 4 w 26"/>
                <a:gd name="T9" fmla="*/ 32 h 59"/>
                <a:gd name="T10" fmla="*/ 11 w 26"/>
                <a:gd name="T11" fmla="*/ 37 h 59"/>
                <a:gd name="T12" fmla="*/ 12 w 26"/>
                <a:gd name="T13" fmla="*/ 39 h 59"/>
                <a:gd name="T14" fmla="*/ 12 w 26"/>
                <a:gd name="T15" fmla="*/ 45 h 59"/>
                <a:gd name="T16" fmla="*/ 15 w 26"/>
                <a:gd name="T17" fmla="*/ 59 h 59"/>
                <a:gd name="T18" fmla="*/ 15 w 26"/>
                <a:gd name="T19" fmla="*/ 59 h 59"/>
                <a:gd name="T20" fmla="*/ 15 w 26"/>
                <a:gd name="T21" fmla="*/ 57 h 59"/>
                <a:gd name="T22" fmla="*/ 16 w 26"/>
                <a:gd name="T23" fmla="*/ 46 h 59"/>
                <a:gd name="T24" fmla="*/ 18 w 26"/>
                <a:gd name="T25" fmla="*/ 42 h 59"/>
                <a:gd name="T26" fmla="*/ 26 w 26"/>
                <a:gd name="T2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9">
                  <a:moveTo>
                    <a:pt x="26" y="0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4" y="13"/>
                    <a:pt x="2" y="2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6" y="32"/>
                    <a:pt x="9" y="32"/>
                    <a:pt x="11" y="37"/>
                  </a:cubicBezTo>
                  <a:cubicBezTo>
                    <a:pt x="11" y="38"/>
                    <a:pt x="11" y="38"/>
                    <a:pt x="12" y="39"/>
                  </a:cubicBezTo>
                  <a:cubicBezTo>
                    <a:pt x="12" y="41"/>
                    <a:pt x="12" y="42"/>
                    <a:pt x="12" y="45"/>
                  </a:cubicBezTo>
                  <a:cubicBezTo>
                    <a:pt x="12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7"/>
                  </a:cubicBezTo>
                  <a:cubicBezTo>
                    <a:pt x="15" y="55"/>
                    <a:pt x="15" y="50"/>
                    <a:pt x="16" y="46"/>
                  </a:cubicBezTo>
                  <a:cubicBezTo>
                    <a:pt x="17" y="45"/>
                    <a:pt x="17" y="43"/>
                    <a:pt x="18" y="42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D68C718B-1032-4F5D-8395-A56955FB94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271" y="2220341"/>
              <a:ext cx="42386" cy="109381"/>
            </a:xfrm>
            <a:custGeom>
              <a:avLst/>
              <a:gdLst>
                <a:gd name="T0" fmla="*/ 16 w 17"/>
                <a:gd name="T1" fmla="*/ 35 h 43"/>
                <a:gd name="T2" fmla="*/ 16 w 17"/>
                <a:gd name="T3" fmla="*/ 35 h 43"/>
                <a:gd name="T4" fmla="*/ 16 w 17"/>
                <a:gd name="T5" fmla="*/ 35 h 43"/>
                <a:gd name="T6" fmla="*/ 16 w 17"/>
                <a:gd name="T7" fmla="*/ 35 h 43"/>
                <a:gd name="T8" fmla="*/ 16 w 17"/>
                <a:gd name="T9" fmla="*/ 35 h 43"/>
                <a:gd name="T10" fmla="*/ 9 w 17"/>
                <a:gd name="T11" fmla="*/ 0 h 43"/>
                <a:gd name="T12" fmla="*/ 9 w 17"/>
                <a:gd name="T13" fmla="*/ 0 h 43"/>
                <a:gd name="T14" fmla="*/ 1 w 17"/>
                <a:gd name="T15" fmla="*/ 42 h 43"/>
                <a:gd name="T16" fmla="*/ 0 w 17"/>
                <a:gd name="T17" fmla="*/ 43 h 43"/>
                <a:gd name="T18" fmla="*/ 0 w 17"/>
                <a:gd name="T19" fmla="*/ 43 h 43"/>
                <a:gd name="T20" fmla="*/ 0 w 17"/>
                <a:gd name="T21" fmla="*/ 43 h 43"/>
                <a:gd name="T22" fmla="*/ 1 w 17"/>
                <a:gd name="T23" fmla="*/ 40 h 43"/>
                <a:gd name="T24" fmla="*/ 13 w 17"/>
                <a:gd name="T25" fmla="*/ 35 h 43"/>
                <a:gd name="T26" fmla="*/ 16 w 17"/>
                <a:gd name="T27" fmla="*/ 35 h 43"/>
                <a:gd name="T28" fmla="*/ 16 w 17"/>
                <a:gd name="T29" fmla="*/ 35 h 43"/>
                <a:gd name="T30" fmla="*/ 17 w 17"/>
                <a:gd name="T31" fmla="*/ 26 h 43"/>
                <a:gd name="T32" fmla="*/ 9 w 17"/>
                <a:gd name="T33" fmla="*/ 0 h 43"/>
                <a:gd name="T34" fmla="*/ 9 w 17"/>
                <a:gd name="T3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43">
                  <a:moveTo>
                    <a:pt x="16" y="35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2"/>
                    <a:pt x="1" y="41"/>
                    <a:pt x="1" y="40"/>
                  </a:cubicBezTo>
                  <a:cubicBezTo>
                    <a:pt x="4" y="35"/>
                    <a:pt x="10" y="35"/>
                    <a:pt x="13" y="35"/>
                  </a:cubicBezTo>
                  <a:cubicBezTo>
                    <a:pt x="15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2"/>
                    <a:pt x="17" y="29"/>
                    <a:pt x="17" y="26"/>
                  </a:cubicBezTo>
                  <a:cubicBezTo>
                    <a:pt x="17" y="13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D66E23B7-47A4-4A11-821C-C9D59D1D2B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58399" y="2097288"/>
              <a:ext cx="1368" cy="1368"/>
            </a:xfrm>
            <a:prstGeom prst="ellipse">
              <a:avLst/>
            </a:prstGeom>
            <a:solidFill>
              <a:srgbClr val="2324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554B419E-A81D-493A-A0C7-AADBD5152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88859" y="2723493"/>
              <a:ext cx="87505" cy="32814"/>
            </a:xfrm>
            <a:custGeom>
              <a:avLst/>
              <a:gdLst>
                <a:gd name="T0" fmla="*/ 27 w 34"/>
                <a:gd name="T1" fmla="*/ 10 h 13"/>
                <a:gd name="T2" fmla="*/ 26 w 34"/>
                <a:gd name="T3" fmla="*/ 12 h 13"/>
                <a:gd name="T4" fmla="*/ 26 w 34"/>
                <a:gd name="T5" fmla="*/ 12 h 13"/>
                <a:gd name="T6" fmla="*/ 27 w 34"/>
                <a:gd name="T7" fmla="*/ 10 h 13"/>
                <a:gd name="T8" fmla="*/ 34 w 34"/>
                <a:gd name="T9" fmla="*/ 13 h 13"/>
                <a:gd name="T10" fmla="*/ 34 w 34"/>
                <a:gd name="T11" fmla="*/ 13 h 13"/>
                <a:gd name="T12" fmla="*/ 27 w 34"/>
                <a:gd name="T13" fmla="*/ 10 h 13"/>
                <a:gd name="T14" fmla="*/ 0 w 34"/>
                <a:gd name="T15" fmla="*/ 0 h 13"/>
                <a:gd name="T16" fmla="*/ 0 w 34"/>
                <a:gd name="T17" fmla="*/ 0 h 13"/>
                <a:gd name="T18" fmla="*/ 20 w 34"/>
                <a:gd name="T19" fmla="*/ 10 h 13"/>
                <a:gd name="T20" fmla="*/ 0 w 34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3">
                  <a:moveTo>
                    <a:pt x="27" y="10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27" y="10"/>
                    <a:pt x="27" y="10"/>
                    <a:pt x="27" y="1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14" y="7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E8D4D267-6C84-41BF-8B34-392106CFA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12103" y="2756308"/>
              <a:ext cx="135359" cy="401975"/>
            </a:xfrm>
            <a:custGeom>
              <a:avLst/>
              <a:gdLst>
                <a:gd name="T0" fmla="*/ 25 w 53"/>
                <a:gd name="T1" fmla="*/ 0 h 157"/>
                <a:gd name="T2" fmla="*/ 25 w 53"/>
                <a:gd name="T3" fmla="*/ 0 h 157"/>
                <a:gd name="T4" fmla="*/ 0 w 53"/>
                <a:gd name="T5" fmla="*/ 25 h 157"/>
                <a:gd name="T6" fmla="*/ 16 w 53"/>
                <a:gd name="T7" fmla="*/ 157 h 157"/>
                <a:gd name="T8" fmla="*/ 37 w 53"/>
                <a:gd name="T9" fmla="*/ 157 h 157"/>
                <a:gd name="T10" fmla="*/ 37 w 53"/>
                <a:gd name="T11" fmla="*/ 157 h 157"/>
                <a:gd name="T12" fmla="*/ 37 w 53"/>
                <a:gd name="T13" fmla="*/ 157 h 157"/>
                <a:gd name="T14" fmla="*/ 37 w 53"/>
                <a:gd name="T15" fmla="*/ 157 h 157"/>
                <a:gd name="T16" fmla="*/ 37 w 53"/>
                <a:gd name="T17" fmla="*/ 157 h 157"/>
                <a:gd name="T18" fmla="*/ 53 w 53"/>
                <a:gd name="T19" fmla="*/ 9 h 157"/>
                <a:gd name="T20" fmla="*/ 25 w 53"/>
                <a:gd name="T21" fmla="*/ 0 h 157"/>
                <a:gd name="T22" fmla="*/ 25 w 53"/>
                <a:gd name="T23" fmla="*/ 0 h 157"/>
                <a:gd name="T24" fmla="*/ 25 w 53"/>
                <a:gd name="T25" fmla="*/ 0 h 157"/>
                <a:gd name="T26" fmla="*/ 25 w 53"/>
                <a:gd name="T2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157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10"/>
                    <a:pt x="0" y="25"/>
                  </a:cubicBezTo>
                  <a:cubicBezTo>
                    <a:pt x="10" y="69"/>
                    <a:pt x="16" y="113"/>
                    <a:pt x="16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42" y="3"/>
                    <a:pt x="31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7BE9EBE0-640F-4E2A-9A99-E1B3BE8A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8859" y="2723493"/>
              <a:ext cx="66996" cy="76567"/>
            </a:xfrm>
            <a:custGeom>
              <a:avLst/>
              <a:gdLst>
                <a:gd name="T0" fmla="*/ 0 w 26"/>
                <a:gd name="T1" fmla="*/ 0 h 30"/>
                <a:gd name="T2" fmla="*/ 7 w 26"/>
                <a:gd name="T3" fmla="*/ 30 h 30"/>
                <a:gd name="T4" fmla="*/ 26 w 26"/>
                <a:gd name="T5" fmla="*/ 12 h 30"/>
                <a:gd name="T6" fmla="*/ 26 w 26"/>
                <a:gd name="T7" fmla="*/ 12 h 30"/>
                <a:gd name="T8" fmla="*/ 26 w 26"/>
                <a:gd name="T9" fmla="*/ 12 h 30"/>
                <a:gd name="T10" fmla="*/ 20 w 26"/>
                <a:gd name="T11" fmla="*/ 10 h 30"/>
                <a:gd name="T12" fmla="*/ 0 w 26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0"/>
                  </a:moveTo>
                  <a:cubicBezTo>
                    <a:pt x="2" y="10"/>
                    <a:pt x="5" y="20"/>
                    <a:pt x="7" y="30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1"/>
                    <a:pt x="22" y="10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D064325D-DFBB-47F0-9DAF-2E6217E78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9816" y="2955928"/>
              <a:ext cx="79301" cy="473072"/>
            </a:xfrm>
            <a:custGeom>
              <a:avLst/>
              <a:gdLst>
                <a:gd name="T0" fmla="*/ 0 w 31"/>
                <a:gd name="T1" fmla="*/ 0 h 185"/>
                <a:gd name="T2" fmla="*/ 0 w 31"/>
                <a:gd name="T3" fmla="*/ 0 h 185"/>
                <a:gd name="T4" fmla="*/ 3 w 31"/>
                <a:gd name="T5" fmla="*/ 9 h 185"/>
                <a:gd name="T6" fmla="*/ 31 w 31"/>
                <a:gd name="T7" fmla="*/ 185 h 185"/>
                <a:gd name="T8" fmla="*/ 31 w 31"/>
                <a:gd name="T9" fmla="*/ 185 h 185"/>
                <a:gd name="T10" fmla="*/ 3 w 31"/>
                <a:gd name="T11" fmla="*/ 9 h 185"/>
                <a:gd name="T12" fmla="*/ 0 w 31"/>
                <a:gd name="T1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8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3" y="9"/>
                  </a:cubicBezTo>
                  <a:cubicBezTo>
                    <a:pt x="25" y="75"/>
                    <a:pt x="31" y="184"/>
                    <a:pt x="31" y="185"/>
                  </a:cubicBezTo>
                  <a:cubicBezTo>
                    <a:pt x="31" y="185"/>
                    <a:pt x="31" y="185"/>
                    <a:pt x="31" y="185"/>
                  </a:cubicBezTo>
                  <a:cubicBezTo>
                    <a:pt x="31" y="185"/>
                    <a:pt x="25" y="76"/>
                    <a:pt x="3" y="9"/>
                  </a:cubicBezTo>
                  <a:cubicBezTo>
                    <a:pt x="2" y="6"/>
                    <a:pt x="1" y="3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4F5DFEF3-03B0-4BBB-9350-E24E624093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70325" y="3748939"/>
              <a:ext cx="64262" cy="460767"/>
            </a:xfrm>
            <a:custGeom>
              <a:avLst/>
              <a:gdLst>
                <a:gd name="T0" fmla="*/ 25 w 25"/>
                <a:gd name="T1" fmla="*/ 180 h 180"/>
                <a:gd name="T2" fmla="*/ 7 w 25"/>
                <a:gd name="T3" fmla="*/ 51 h 180"/>
                <a:gd name="T4" fmla="*/ 7 w 25"/>
                <a:gd name="T5" fmla="*/ 51 h 180"/>
                <a:gd name="T6" fmla="*/ 6 w 25"/>
                <a:gd name="T7" fmla="*/ 45 h 180"/>
                <a:gd name="T8" fmla="*/ 6 w 25"/>
                <a:gd name="T9" fmla="*/ 45 h 180"/>
                <a:gd name="T10" fmla="*/ 6 w 25"/>
                <a:gd name="T11" fmla="*/ 45 h 180"/>
                <a:gd name="T12" fmla="*/ 6 w 25"/>
                <a:gd name="T13" fmla="*/ 45 h 180"/>
                <a:gd name="T14" fmla="*/ 6 w 25"/>
                <a:gd name="T15" fmla="*/ 45 h 180"/>
                <a:gd name="T16" fmla="*/ 6 w 25"/>
                <a:gd name="T17" fmla="*/ 44 h 180"/>
                <a:gd name="T18" fmla="*/ 5 w 25"/>
                <a:gd name="T19" fmla="*/ 39 h 180"/>
                <a:gd name="T20" fmla="*/ 5 w 25"/>
                <a:gd name="T21" fmla="*/ 39 h 180"/>
                <a:gd name="T22" fmla="*/ 5 w 25"/>
                <a:gd name="T23" fmla="*/ 39 h 180"/>
                <a:gd name="T24" fmla="*/ 4 w 25"/>
                <a:gd name="T25" fmla="*/ 34 h 180"/>
                <a:gd name="T26" fmla="*/ 4 w 25"/>
                <a:gd name="T27" fmla="*/ 34 h 180"/>
                <a:gd name="T28" fmla="*/ 4 w 25"/>
                <a:gd name="T29" fmla="*/ 34 h 180"/>
                <a:gd name="T30" fmla="*/ 4 w 25"/>
                <a:gd name="T31" fmla="*/ 31 h 180"/>
                <a:gd name="T32" fmla="*/ 4 w 25"/>
                <a:gd name="T33" fmla="*/ 31 h 180"/>
                <a:gd name="T34" fmla="*/ 4 w 25"/>
                <a:gd name="T35" fmla="*/ 30 h 180"/>
                <a:gd name="T36" fmla="*/ 3 w 25"/>
                <a:gd name="T37" fmla="*/ 27 h 180"/>
                <a:gd name="T38" fmla="*/ 3 w 25"/>
                <a:gd name="T39" fmla="*/ 27 h 180"/>
                <a:gd name="T40" fmla="*/ 3 w 25"/>
                <a:gd name="T41" fmla="*/ 26 h 180"/>
                <a:gd name="T42" fmla="*/ 3 w 25"/>
                <a:gd name="T43" fmla="*/ 24 h 180"/>
                <a:gd name="T44" fmla="*/ 3 w 25"/>
                <a:gd name="T45" fmla="*/ 24 h 180"/>
                <a:gd name="T46" fmla="*/ 3 w 25"/>
                <a:gd name="T47" fmla="*/ 23 h 180"/>
                <a:gd name="T48" fmla="*/ 3 w 25"/>
                <a:gd name="T49" fmla="*/ 22 h 180"/>
                <a:gd name="T50" fmla="*/ 3 w 25"/>
                <a:gd name="T51" fmla="*/ 22 h 180"/>
                <a:gd name="T52" fmla="*/ 2 w 25"/>
                <a:gd name="T53" fmla="*/ 19 h 180"/>
                <a:gd name="T54" fmla="*/ 2 w 25"/>
                <a:gd name="T55" fmla="*/ 18 h 180"/>
                <a:gd name="T56" fmla="*/ 2 w 25"/>
                <a:gd name="T57" fmla="*/ 18 h 180"/>
                <a:gd name="T58" fmla="*/ 0 w 25"/>
                <a:gd name="T59" fmla="*/ 7 h 180"/>
                <a:gd name="T60" fmla="*/ 0 w 25"/>
                <a:gd name="T61" fmla="*/ 0 h 180"/>
                <a:gd name="T62" fmla="*/ 0 w 25"/>
                <a:gd name="T63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" h="180">
                  <a:moveTo>
                    <a:pt x="7" y="51"/>
                  </a:moveTo>
                  <a:cubicBezTo>
                    <a:pt x="13" y="94"/>
                    <a:pt x="19" y="138"/>
                    <a:pt x="25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19" y="138"/>
                    <a:pt x="13" y="94"/>
                    <a:pt x="7" y="51"/>
                  </a:cubicBezTo>
                  <a:moveTo>
                    <a:pt x="6" y="48"/>
                  </a:moveTo>
                  <a:cubicBezTo>
                    <a:pt x="6" y="49"/>
                    <a:pt x="7" y="50"/>
                    <a:pt x="7" y="51"/>
                  </a:cubicBezTo>
                  <a:cubicBezTo>
                    <a:pt x="7" y="50"/>
                    <a:pt x="6" y="49"/>
                    <a:pt x="6" y="48"/>
                  </a:cubicBezTo>
                  <a:moveTo>
                    <a:pt x="6" y="45"/>
                  </a:moveTo>
                  <a:cubicBezTo>
                    <a:pt x="6" y="46"/>
                    <a:pt x="6" y="47"/>
                    <a:pt x="6" y="47"/>
                  </a:cubicBezTo>
                  <a:cubicBezTo>
                    <a:pt x="6" y="47"/>
                    <a:pt x="6" y="46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3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3"/>
                  </a:cubicBezTo>
                  <a:moveTo>
                    <a:pt x="5" y="39"/>
                  </a:moveTo>
                  <a:cubicBezTo>
                    <a:pt x="5" y="40"/>
                    <a:pt x="5" y="42"/>
                    <a:pt x="6" y="43"/>
                  </a:cubicBezTo>
                  <a:cubicBezTo>
                    <a:pt x="5" y="42"/>
                    <a:pt x="5" y="40"/>
                    <a:pt x="5" y="39"/>
                  </a:cubicBezTo>
                  <a:moveTo>
                    <a:pt x="5" y="38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8"/>
                  </a:cubicBezTo>
                  <a:moveTo>
                    <a:pt x="4" y="34"/>
                  </a:moveTo>
                  <a:cubicBezTo>
                    <a:pt x="5" y="36"/>
                    <a:pt x="5" y="37"/>
                    <a:pt x="5" y="38"/>
                  </a:cubicBezTo>
                  <a:cubicBezTo>
                    <a:pt x="5" y="37"/>
                    <a:pt x="5" y="36"/>
                    <a:pt x="4" y="34"/>
                  </a:cubicBezTo>
                  <a:moveTo>
                    <a:pt x="4" y="33"/>
                  </a:moveTo>
                  <a:cubicBezTo>
                    <a:pt x="4" y="33"/>
                    <a:pt x="4" y="34"/>
                    <a:pt x="4" y="34"/>
                  </a:cubicBezTo>
                  <a:cubicBezTo>
                    <a:pt x="4" y="34"/>
                    <a:pt x="4" y="33"/>
                    <a:pt x="4" y="33"/>
                  </a:cubicBezTo>
                  <a:moveTo>
                    <a:pt x="4" y="31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moveTo>
                    <a:pt x="4" y="30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moveTo>
                    <a:pt x="3" y="27"/>
                  </a:moveTo>
                  <a:cubicBezTo>
                    <a:pt x="3" y="27"/>
                    <a:pt x="3" y="27"/>
                    <a:pt x="3" y="28"/>
                  </a:cubicBezTo>
                  <a:cubicBezTo>
                    <a:pt x="3" y="27"/>
                    <a:pt x="3" y="27"/>
                    <a:pt x="3" y="27"/>
                  </a:cubicBezTo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moveTo>
                    <a:pt x="3" y="24"/>
                  </a:moveTo>
                  <a:cubicBezTo>
                    <a:pt x="3" y="24"/>
                    <a:pt x="3" y="25"/>
                    <a:pt x="3" y="26"/>
                  </a:cubicBezTo>
                  <a:cubicBezTo>
                    <a:pt x="3" y="25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2" y="18"/>
                  </a:moveTo>
                  <a:cubicBezTo>
                    <a:pt x="2" y="18"/>
                    <a:pt x="2" y="19"/>
                    <a:pt x="2" y="19"/>
                  </a:cubicBezTo>
                  <a:cubicBezTo>
                    <a:pt x="2" y="19"/>
                    <a:pt x="2" y="18"/>
                    <a:pt x="2" y="18"/>
                  </a:cubicBezTo>
                  <a:moveTo>
                    <a:pt x="2" y="18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moveTo>
                    <a:pt x="0" y="6"/>
                  </a:move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D64C3492-E292-459C-9F9C-CF2DD9451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586" y="4209706"/>
              <a:ext cx="87505" cy="628940"/>
            </a:xfrm>
            <a:custGeom>
              <a:avLst/>
              <a:gdLst>
                <a:gd name="T0" fmla="*/ 0 w 34"/>
                <a:gd name="T1" fmla="*/ 0 h 246"/>
                <a:gd name="T2" fmla="*/ 0 w 34"/>
                <a:gd name="T3" fmla="*/ 0 h 246"/>
                <a:gd name="T4" fmla="*/ 34 w 34"/>
                <a:gd name="T5" fmla="*/ 246 h 246"/>
                <a:gd name="T6" fmla="*/ 0 w 34"/>
                <a:gd name="T7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09"/>
                    <a:pt x="28" y="204"/>
                    <a:pt x="34" y="246"/>
                  </a:cubicBezTo>
                  <a:cubicBezTo>
                    <a:pt x="28" y="204"/>
                    <a:pt x="15" y="109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2" name="Freeform 231">
              <a:extLst>
                <a:ext uri="{FF2B5EF4-FFF2-40B4-BE49-F238E27FC236}">
                  <a16:creationId xmlns:a16="http://schemas.microsoft.com/office/drawing/2014/main" id="{6F8F7FF7-A202-4176-A81B-AAF7752D19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0907" y="4227480"/>
              <a:ext cx="17775" cy="556476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472378AB-FBE6-4779-8FFF-DA58EBA924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0907" y="4227480"/>
              <a:ext cx="17775" cy="556476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32D269E1-AC2B-4AAC-8E87-E0CA45EE87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22091" y="4841381"/>
              <a:ext cx="6837" cy="60159"/>
            </a:xfrm>
            <a:custGeom>
              <a:avLst/>
              <a:gdLst>
                <a:gd name="T0" fmla="*/ 3 w 3"/>
                <a:gd name="T1" fmla="*/ 24 h 24"/>
                <a:gd name="T2" fmla="*/ 3 w 3"/>
                <a:gd name="T3" fmla="*/ 24 h 24"/>
                <a:gd name="T4" fmla="*/ 3 w 3"/>
                <a:gd name="T5" fmla="*/ 24 h 24"/>
                <a:gd name="T6" fmla="*/ 3 w 3"/>
                <a:gd name="T7" fmla="*/ 24 h 24"/>
                <a:gd name="T8" fmla="*/ 3 w 3"/>
                <a:gd name="T9" fmla="*/ 24 h 24"/>
                <a:gd name="T10" fmla="*/ 3 w 3"/>
                <a:gd name="T11" fmla="*/ 24 h 24"/>
                <a:gd name="T12" fmla="*/ 3 w 3"/>
                <a:gd name="T13" fmla="*/ 24 h 24"/>
                <a:gd name="T14" fmla="*/ 3 w 3"/>
                <a:gd name="T15" fmla="*/ 24 h 24"/>
                <a:gd name="T16" fmla="*/ 3 w 3"/>
                <a:gd name="T17" fmla="*/ 24 h 24"/>
                <a:gd name="T18" fmla="*/ 3 w 3"/>
                <a:gd name="T19" fmla="*/ 24 h 24"/>
                <a:gd name="T20" fmla="*/ 3 w 3"/>
                <a:gd name="T21" fmla="*/ 24 h 24"/>
                <a:gd name="T22" fmla="*/ 3 w 3"/>
                <a:gd name="T23" fmla="*/ 24 h 24"/>
                <a:gd name="T24" fmla="*/ 3 w 3"/>
                <a:gd name="T25" fmla="*/ 24 h 24"/>
                <a:gd name="T26" fmla="*/ 3 w 3"/>
                <a:gd name="T27" fmla="*/ 24 h 24"/>
                <a:gd name="T28" fmla="*/ 3 w 3"/>
                <a:gd name="T29" fmla="*/ 24 h 24"/>
                <a:gd name="T30" fmla="*/ 3 w 3"/>
                <a:gd name="T31" fmla="*/ 24 h 24"/>
                <a:gd name="T32" fmla="*/ 3 w 3"/>
                <a:gd name="T33" fmla="*/ 24 h 24"/>
                <a:gd name="T34" fmla="*/ 3 w 3"/>
                <a:gd name="T35" fmla="*/ 24 h 24"/>
                <a:gd name="T36" fmla="*/ 3 w 3"/>
                <a:gd name="T37" fmla="*/ 24 h 24"/>
                <a:gd name="T38" fmla="*/ 3 w 3"/>
                <a:gd name="T39" fmla="*/ 23 h 24"/>
                <a:gd name="T40" fmla="*/ 3 w 3"/>
                <a:gd name="T41" fmla="*/ 23 h 24"/>
                <a:gd name="T42" fmla="*/ 3 w 3"/>
                <a:gd name="T43" fmla="*/ 23 h 24"/>
                <a:gd name="T44" fmla="*/ 3 w 3"/>
                <a:gd name="T45" fmla="*/ 23 h 24"/>
                <a:gd name="T46" fmla="*/ 3 w 3"/>
                <a:gd name="T47" fmla="*/ 23 h 24"/>
                <a:gd name="T48" fmla="*/ 3 w 3"/>
                <a:gd name="T49" fmla="*/ 23 h 24"/>
                <a:gd name="T50" fmla="*/ 3 w 3"/>
                <a:gd name="T51" fmla="*/ 23 h 24"/>
                <a:gd name="T52" fmla="*/ 3 w 3"/>
                <a:gd name="T53" fmla="*/ 23 h 24"/>
                <a:gd name="T54" fmla="*/ 3 w 3"/>
                <a:gd name="T55" fmla="*/ 23 h 24"/>
                <a:gd name="T56" fmla="*/ 3 w 3"/>
                <a:gd name="T57" fmla="*/ 23 h 24"/>
                <a:gd name="T58" fmla="*/ 3 w 3"/>
                <a:gd name="T59" fmla="*/ 23 h 24"/>
                <a:gd name="T60" fmla="*/ 3 w 3"/>
                <a:gd name="T61" fmla="*/ 23 h 24"/>
                <a:gd name="T62" fmla="*/ 3 w 3"/>
                <a:gd name="T63" fmla="*/ 23 h 24"/>
                <a:gd name="T64" fmla="*/ 3 w 3"/>
                <a:gd name="T65" fmla="*/ 23 h 24"/>
                <a:gd name="T66" fmla="*/ 3 w 3"/>
                <a:gd name="T67" fmla="*/ 22 h 24"/>
                <a:gd name="T68" fmla="*/ 3 w 3"/>
                <a:gd name="T69" fmla="*/ 21 h 24"/>
                <a:gd name="T70" fmla="*/ 3 w 3"/>
                <a:gd name="T71" fmla="*/ 21 h 24"/>
                <a:gd name="T72" fmla="*/ 3 w 3"/>
                <a:gd name="T73" fmla="*/ 21 h 24"/>
                <a:gd name="T74" fmla="*/ 3 w 3"/>
                <a:gd name="T75" fmla="*/ 21 h 24"/>
                <a:gd name="T76" fmla="*/ 3 w 3"/>
                <a:gd name="T77" fmla="*/ 21 h 24"/>
                <a:gd name="T78" fmla="*/ 3 w 3"/>
                <a:gd name="T79" fmla="*/ 21 h 24"/>
                <a:gd name="T80" fmla="*/ 3 w 3"/>
                <a:gd name="T81" fmla="*/ 20 h 24"/>
                <a:gd name="T82" fmla="*/ 3 w 3"/>
                <a:gd name="T83" fmla="*/ 20 h 24"/>
                <a:gd name="T84" fmla="*/ 2 w 3"/>
                <a:gd name="T85" fmla="*/ 17 h 24"/>
                <a:gd name="T86" fmla="*/ 2 w 3"/>
                <a:gd name="T87" fmla="*/ 17 h 24"/>
                <a:gd name="T88" fmla="*/ 2 w 3"/>
                <a:gd name="T89" fmla="*/ 16 h 24"/>
                <a:gd name="T90" fmla="*/ 2 w 3"/>
                <a:gd name="T91" fmla="*/ 16 h 24"/>
                <a:gd name="T92" fmla="*/ 2 w 3"/>
                <a:gd name="T93" fmla="*/ 15 h 24"/>
                <a:gd name="T94" fmla="*/ 2 w 3"/>
                <a:gd name="T95" fmla="*/ 15 h 24"/>
                <a:gd name="T96" fmla="*/ 2 w 3"/>
                <a:gd name="T97" fmla="*/ 14 h 24"/>
                <a:gd name="T98" fmla="*/ 2 w 3"/>
                <a:gd name="T99" fmla="*/ 13 h 24"/>
                <a:gd name="T100" fmla="*/ 2 w 3"/>
                <a:gd name="T101" fmla="*/ 13 h 24"/>
                <a:gd name="T102" fmla="*/ 1 w 3"/>
                <a:gd name="T103" fmla="*/ 11 h 24"/>
                <a:gd name="T104" fmla="*/ 1 w 3"/>
                <a:gd name="T10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2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0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0"/>
                  </a:cubicBezTo>
                  <a:moveTo>
                    <a:pt x="3" y="20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2" y="17"/>
                  </a:moveTo>
                  <a:cubicBezTo>
                    <a:pt x="2" y="18"/>
                    <a:pt x="3" y="19"/>
                    <a:pt x="3" y="20"/>
                  </a:cubicBezTo>
                  <a:cubicBezTo>
                    <a:pt x="3" y="19"/>
                    <a:pt x="2" y="18"/>
                    <a:pt x="2" y="17"/>
                  </a:cubicBezTo>
                  <a:moveTo>
                    <a:pt x="2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moveTo>
                    <a:pt x="2" y="16"/>
                  </a:moveTo>
                  <a:cubicBezTo>
                    <a:pt x="2" y="16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moveTo>
                    <a:pt x="2" y="15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5"/>
                  </a:cubicBezTo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moveTo>
                    <a:pt x="2" y="14"/>
                  </a:moveTo>
                  <a:cubicBezTo>
                    <a:pt x="2" y="14"/>
                    <a:pt x="2" y="14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moveTo>
                    <a:pt x="2" y="13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3"/>
                  </a:cubicBezTo>
                  <a:moveTo>
                    <a:pt x="2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moveTo>
                    <a:pt x="1" y="11"/>
                  </a:moveTo>
                  <a:cubicBezTo>
                    <a:pt x="2" y="12"/>
                    <a:pt x="2" y="12"/>
                    <a:pt x="2" y="13"/>
                  </a:cubicBezTo>
                  <a:cubicBezTo>
                    <a:pt x="2" y="12"/>
                    <a:pt x="2" y="12"/>
                    <a:pt x="1" y="11"/>
                  </a:cubicBezTo>
                  <a:moveTo>
                    <a:pt x="1" y="6"/>
                  </a:moveTo>
                  <a:cubicBezTo>
                    <a:pt x="1" y="8"/>
                    <a:pt x="1" y="9"/>
                    <a:pt x="1" y="11"/>
                  </a:cubicBezTo>
                  <a:cubicBezTo>
                    <a:pt x="1" y="9"/>
                    <a:pt x="1" y="8"/>
                    <a:pt x="1" y="6"/>
                  </a:cubicBezTo>
                  <a:moveTo>
                    <a:pt x="0" y="0"/>
                  </a:moveTo>
                  <a:cubicBezTo>
                    <a:pt x="0" y="2"/>
                    <a:pt x="0" y="4"/>
                    <a:pt x="1" y="6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80E24B1A-36E7-44FF-A684-FA8ED55CA4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4070" y="4783956"/>
              <a:ext cx="6837" cy="176377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69 h 69"/>
                <a:gd name="T4" fmla="*/ 1 w 3"/>
                <a:gd name="T5" fmla="*/ 69 h 69"/>
                <a:gd name="T6" fmla="*/ 1 w 3"/>
                <a:gd name="T7" fmla="*/ 68 h 69"/>
                <a:gd name="T8" fmla="*/ 1 w 3"/>
                <a:gd name="T9" fmla="*/ 69 h 69"/>
                <a:gd name="T10" fmla="*/ 1 w 3"/>
                <a:gd name="T11" fmla="*/ 68 h 69"/>
                <a:gd name="T12" fmla="*/ 1 w 3"/>
                <a:gd name="T13" fmla="*/ 68 h 69"/>
                <a:gd name="T14" fmla="*/ 1 w 3"/>
                <a:gd name="T15" fmla="*/ 68 h 69"/>
                <a:gd name="T16" fmla="*/ 1 w 3"/>
                <a:gd name="T17" fmla="*/ 68 h 69"/>
                <a:gd name="T18" fmla="*/ 1 w 3"/>
                <a:gd name="T19" fmla="*/ 68 h 69"/>
                <a:gd name="T20" fmla="*/ 1 w 3"/>
                <a:gd name="T21" fmla="*/ 68 h 69"/>
                <a:gd name="T22" fmla="*/ 1 w 3"/>
                <a:gd name="T23" fmla="*/ 68 h 69"/>
                <a:gd name="T24" fmla="*/ 1 w 3"/>
                <a:gd name="T25" fmla="*/ 68 h 69"/>
                <a:gd name="T26" fmla="*/ 1 w 3"/>
                <a:gd name="T27" fmla="*/ 68 h 69"/>
                <a:gd name="T28" fmla="*/ 1 w 3"/>
                <a:gd name="T29" fmla="*/ 68 h 69"/>
                <a:gd name="T30" fmla="*/ 1 w 3"/>
                <a:gd name="T31" fmla="*/ 68 h 69"/>
                <a:gd name="T32" fmla="*/ 1 w 3"/>
                <a:gd name="T33" fmla="*/ 68 h 69"/>
                <a:gd name="T34" fmla="*/ 1 w 3"/>
                <a:gd name="T35" fmla="*/ 68 h 69"/>
                <a:gd name="T36" fmla="*/ 1 w 3"/>
                <a:gd name="T37" fmla="*/ 68 h 69"/>
                <a:gd name="T38" fmla="*/ 1 w 3"/>
                <a:gd name="T39" fmla="*/ 68 h 69"/>
                <a:gd name="T40" fmla="*/ 1 w 3"/>
                <a:gd name="T41" fmla="*/ 68 h 69"/>
                <a:gd name="T42" fmla="*/ 0 w 3"/>
                <a:gd name="T43" fmla="*/ 68 h 69"/>
                <a:gd name="T44" fmla="*/ 0 w 3"/>
                <a:gd name="T45" fmla="*/ 68 h 69"/>
                <a:gd name="T46" fmla="*/ 0 w 3"/>
                <a:gd name="T47" fmla="*/ 68 h 69"/>
                <a:gd name="T48" fmla="*/ 3 w 3"/>
                <a:gd name="T49" fmla="*/ 0 h 69"/>
                <a:gd name="T50" fmla="*/ 0 w 3"/>
                <a:gd name="T51" fmla="*/ 67 h 69"/>
                <a:gd name="T52" fmla="*/ 0 w 3"/>
                <a:gd name="T53" fmla="*/ 67 h 69"/>
                <a:gd name="T54" fmla="*/ 3 w 3"/>
                <a:gd name="T55" fmla="*/ 0 h 69"/>
                <a:gd name="T56" fmla="*/ 3 w 3"/>
                <a:gd name="T5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9"/>
                  </a:cubicBezTo>
                  <a:moveTo>
                    <a:pt x="1" y="68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0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moveTo>
                    <a:pt x="3" y="0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1314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D1291915-F498-4800-8607-CB28C5FDDF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4070" y="3457713"/>
              <a:ext cx="974857" cy="1633877"/>
            </a:xfrm>
            <a:custGeom>
              <a:avLst/>
              <a:gdLst>
                <a:gd name="T0" fmla="*/ 105 w 381"/>
                <a:gd name="T1" fmla="*/ 173 h 639"/>
                <a:gd name="T2" fmla="*/ 202 w 381"/>
                <a:gd name="T3" fmla="*/ 397 h 639"/>
                <a:gd name="T4" fmla="*/ 53 w 381"/>
                <a:gd name="T5" fmla="*/ 243 h 639"/>
                <a:gd name="T6" fmla="*/ 0 w 381"/>
                <a:gd name="T7" fmla="*/ 586 h 639"/>
                <a:gd name="T8" fmla="*/ 1 w 381"/>
                <a:gd name="T9" fmla="*/ 587 h 639"/>
                <a:gd name="T10" fmla="*/ 1 w 381"/>
                <a:gd name="T11" fmla="*/ 587 h 639"/>
                <a:gd name="T12" fmla="*/ 1 w 381"/>
                <a:gd name="T13" fmla="*/ 587 h 639"/>
                <a:gd name="T14" fmla="*/ 1 w 381"/>
                <a:gd name="T15" fmla="*/ 587 h 639"/>
                <a:gd name="T16" fmla="*/ 1 w 381"/>
                <a:gd name="T17" fmla="*/ 588 h 639"/>
                <a:gd name="T18" fmla="*/ 89 w 381"/>
                <a:gd name="T19" fmla="*/ 636 h 639"/>
                <a:gd name="T20" fmla="*/ 205 w 381"/>
                <a:gd name="T21" fmla="*/ 637 h 639"/>
                <a:gd name="T22" fmla="*/ 381 w 381"/>
                <a:gd name="T23" fmla="*/ 565 h 639"/>
                <a:gd name="T24" fmla="*/ 381 w 381"/>
                <a:gd name="T25" fmla="*/ 565 h 639"/>
                <a:gd name="T26" fmla="*/ 381 w 381"/>
                <a:gd name="T27" fmla="*/ 565 h 639"/>
                <a:gd name="T28" fmla="*/ 381 w 381"/>
                <a:gd name="T29" fmla="*/ 565 h 639"/>
                <a:gd name="T30" fmla="*/ 381 w 381"/>
                <a:gd name="T31" fmla="*/ 565 h 639"/>
                <a:gd name="T32" fmla="*/ 381 w 381"/>
                <a:gd name="T33" fmla="*/ 565 h 639"/>
                <a:gd name="T34" fmla="*/ 381 w 381"/>
                <a:gd name="T35" fmla="*/ 565 h 639"/>
                <a:gd name="T36" fmla="*/ 381 w 381"/>
                <a:gd name="T37" fmla="*/ 565 h 639"/>
                <a:gd name="T38" fmla="*/ 381 w 381"/>
                <a:gd name="T39" fmla="*/ 565 h 639"/>
                <a:gd name="T40" fmla="*/ 381 w 381"/>
                <a:gd name="T41" fmla="*/ 565 h 639"/>
                <a:gd name="T42" fmla="*/ 381 w 381"/>
                <a:gd name="T43" fmla="*/ 565 h 639"/>
                <a:gd name="T44" fmla="*/ 381 w 381"/>
                <a:gd name="T45" fmla="*/ 565 h 639"/>
                <a:gd name="T46" fmla="*/ 381 w 381"/>
                <a:gd name="T47" fmla="*/ 565 h 639"/>
                <a:gd name="T48" fmla="*/ 381 w 381"/>
                <a:gd name="T49" fmla="*/ 564 h 639"/>
                <a:gd name="T50" fmla="*/ 381 w 381"/>
                <a:gd name="T51" fmla="*/ 564 h 639"/>
                <a:gd name="T52" fmla="*/ 381 w 381"/>
                <a:gd name="T53" fmla="*/ 564 h 639"/>
                <a:gd name="T54" fmla="*/ 381 w 381"/>
                <a:gd name="T55" fmla="*/ 564 h 639"/>
                <a:gd name="T56" fmla="*/ 381 w 381"/>
                <a:gd name="T57" fmla="*/ 564 h 639"/>
                <a:gd name="T58" fmla="*/ 381 w 381"/>
                <a:gd name="T59" fmla="*/ 564 h 639"/>
                <a:gd name="T60" fmla="*/ 381 w 381"/>
                <a:gd name="T61" fmla="*/ 564 h 639"/>
                <a:gd name="T62" fmla="*/ 381 w 381"/>
                <a:gd name="T63" fmla="*/ 564 h 639"/>
                <a:gd name="T64" fmla="*/ 381 w 381"/>
                <a:gd name="T65" fmla="*/ 564 h 639"/>
                <a:gd name="T66" fmla="*/ 381 w 381"/>
                <a:gd name="T67" fmla="*/ 563 h 639"/>
                <a:gd name="T68" fmla="*/ 381 w 381"/>
                <a:gd name="T69" fmla="*/ 562 h 639"/>
                <a:gd name="T70" fmla="*/ 381 w 381"/>
                <a:gd name="T71" fmla="*/ 562 h 639"/>
                <a:gd name="T72" fmla="*/ 381 w 381"/>
                <a:gd name="T73" fmla="*/ 562 h 639"/>
                <a:gd name="T74" fmla="*/ 381 w 381"/>
                <a:gd name="T75" fmla="*/ 562 h 639"/>
                <a:gd name="T76" fmla="*/ 381 w 381"/>
                <a:gd name="T77" fmla="*/ 561 h 639"/>
                <a:gd name="T78" fmla="*/ 380 w 381"/>
                <a:gd name="T79" fmla="*/ 558 h 639"/>
                <a:gd name="T80" fmla="*/ 380 w 381"/>
                <a:gd name="T81" fmla="*/ 557 h 639"/>
                <a:gd name="T82" fmla="*/ 380 w 381"/>
                <a:gd name="T83" fmla="*/ 557 h 639"/>
                <a:gd name="T84" fmla="*/ 380 w 381"/>
                <a:gd name="T85" fmla="*/ 556 h 639"/>
                <a:gd name="T86" fmla="*/ 380 w 381"/>
                <a:gd name="T87" fmla="*/ 555 h 639"/>
                <a:gd name="T88" fmla="*/ 380 w 381"/>
                <a:gd name="T89" fmla="*/ 554 h 639"/>
                <a:gd name="T90" fmla="*/ 379 w 381"/>
                <a:gd name="T91" fmla="*/ 552 h 639"/>
                <a:gd name="T92" fmla="*/ 378 w 381"/>
                <a:gd name="T93" fmla="*/ 541 h 639"/>
                <a:gd name="T94" fmla="*/ 344 w 381"/>
                <a:gd name="T95" fmla="*/ 294 h 639"/>
                <a:gd name="T96" fmla="*/ 325 w 381"/>
                <a:gd name="T97" fmla="*/ 162 h 639"/>
                <a:gd name="T98" fmla="*/ 325 w 381"/>
                <a:gd name="T99" fmla="*/ 159 h 639"/>
                <a:gd name="T100" fmla="*/ 325 w 381"/>
                <a:gd name="T101" fmla="*/ 159 h 639"/>
                <a:gd name="T102" fmla="*/ 325 w 381"/>
                <a:gd name="T103" fmla="*/ 157 h 639"/>
                <a:gd name="T104" fmla="*/ 324 w 381"/>
                <a:gd name="T105" fmla="*/ 152 h 639"/>
                <a:gd name="T106" fmla="*/ 323 w 381"/>
                <a:gd name="T107" fmla="*/ 148 h 639"/>
                <a:gd name="T108" fmla="*/ 323 w 381"/>
                <a:gd name="T109" fmla="*/ 145 h 639"/>
                <a:gd name="T110" fmla="*/ 322 w 381"/>
                <a:gd name="T111" fmla="*/ 142 h 639"/>
                <a:gd name="T112" fmla="*/ 322 w 381"/>
                <a:gd name="T113" fmla="*/ 140 h 639"/>
                <a:gd name="T114" fmla="*/ 322 w 381"/>
                <a:gd name="T115" fmla="*/ 137 h 639"/>
                <a:gd name="T116" fmla="*/ 322 w 381"/>
                <a:gd name="T117" fmla="*/ 136 h 639"/>
                <a:gd name="T118" fmla="*/ 321 w 381"/>
                <a:gd name="T119" fmla="*/ 132 h 639"/>
                <a:gd name="T120" fmla="*/ 319 w 381"/>
                <a:gd name="T121" fmla="*/ 120 h 639"/>
                <a:gd name="T122" fmla="*/ 302 w 381"/>
                <a:gd name="T123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1" h="639">
                  <a:moveTo>
                    <a:pt x="302" y="0"/>
                  </a:moveTo>
                  <a:cubicBezTo>
                    <a:pt x="173" y="38"/>
                    <a:pt x="173" y="38"/>
                    <a:pt x="173" y="38"/>
                  </a:cubicBezTo>
                  <a:cubicBezTo>
                    <a:pt x="159" y="85"/>
                    <a:pt x="137" y="130"/>
                    <a:pt x="105" y="173"/>
                  </a:cubicBezTo>
                  <a:cubicBezTo>
                    <a:pt x="88" y="196"/>
                    <a:pt x="71" y="219"/>
                    <a:pt x="54" y="242"/>
                  </a:cubicBezTo>
                  <a:cubicBezTo>
                    <a:pt x="57" y="247"/>
                    <a:pt x="61" y="253"/>
                    <a:pt x="66" y="258"/>
                  </a:cubicBezTo>
                  <a:cubicBezTo>
                    <a:pt x="119" y="318"/>
                    <a:pt x="210" y="397"/>
                    <a:pt x="202" y="397"/>
                  </a:cubicBezTo>
                  <a:cubicBezTo>
                    <a:pt x="201" y="397"/>
                    <a:pt x="197" y="395"/>
                    <a:pt x="191" y="391"/>
                  </a:cubicBezTo>
                  <a:cubicBezTo>
                    <a:pt x="152" y="366"/>
                    <a:pt x="100" y="303"/>
                    <a:pt x="66" y="258"/>
                  </a:cubicBezTo>
                  <a:cubicBezTo>
                    <a:pt x="61" y="253"/>
                    <a:pt x="57" y="248"/>
                    <a:pt x="53" y="243"/>
                  </a:cubicBezTo>
                  <a:cubicBezTo>
                    <a:pt x="38" y="263"/>
                    <a:pt x="24" y="282"/>
                    <a:pt x="10" y="301"/>
                  </a:cubicBezTo>
                  <a:cubicBezTo>
                    <a:pt x="3" y="519"/>
                    <a:pt x="3" y="519"/>
                    <a:pt x="3" y="519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0" y="586"/>
                    <a:pt x="0" y="587"/>
                    <a:pt x="0" y="58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0" y="587"/>
                    <a:pt x="0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22" y="614"/>
                    <a:pt x="48" y="629"/>
                    <a:pt x="76" y="638"/>
                  </a:cubicBezTo>
                  <a:cubicBezTo>
                    <a:pt x="80" y="637"/>
                    <a:pt x="85" y="636"/>
                    <a:pt x="89" y="636"/>
                  </a:cubicBezTo>
                  <a:cubicBezTo>
                    <a:pt x="100" y="633"/>
                    <a:pt x="110" y="632"/>
                    <a:pt x="121" y="632"/>
                  </a:cubicBezTo>
                  <a:cubicBezTo>
                    <a:pt x="146" y="632"/>
                    <a:pt x="170" y="637"/>
                    <a:pt x="194" y="639"/>
                  </a:cubicBezTo>
                  <a:cubicBezTo>
                    <a:pt x="197" y="639"/>
                    <a:pt x="201" y="638"/>
                    <a:pt x="205" y="637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328" y="597"/>
                    <a:pt x="378" y="567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0"/>
                    <a:pt x="380" y="559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3"/>
                    <a:pt x="380" y="553"/>
                    <a:pt x="379" y="552"/>
                  </a:cubicBezTo>
                  <a:cubicBezTo>
                    <a:pt x="379" y="552"/>
                    <a:pt x="379" y="552"/>
                    <a:pt x="379" y="552"/>
                  </a:cubicBezTo>
                  <a:cubicBezTo>
                    <a:pt x="379" y="550"/>
                    <a:pt x="379" y="549"/>
                    <a:pt x="379" y="547"/>
                  </a:cubicBezTo>
                  <a:cubicBezTo>
                    <a:pt x="379" y="547"/>
                    <a:pt x="379" y="547"/>
                    <a:pt x="379" y="547"/>
                  </a:cubicBezTo>
                  <a:cubicBezTo>
                    <a:pt x="378" y="545"/>
                    <a:pt x="378" y="543"/>
                    <a:pt x="378" y="541"/>
                  </a:cubicBezTo>
                  <a:cubicBezTo>
                    <a:pt x="378" y="541"/>
                    <a:pt x="378" y="541"/>
                    <a:pt x="378" y="540"/>
                  </a:cubicBezTo>
                  <a:cubicBezTo>
                    <a:pt x="372" y="498"/>
                    <a:pt x="359" y="403"/>
                    <a:pt x="344" y="294"/>
                  </a:cubicBezTo>
                  <a:cubicBezTo>
                    <a:pt x="344" y="294"/>
                    <a:pt x="344" y="294"/>
                    <a:pt x="344" y="294"/>
                  </a:cubicBezTo>
                  <a:cubicBezTo>
                    <a:pt x="338" y="252"/>
                    <a:pt x="332" y="208"/>
                    <a:pt x="326" y="165"/>
                  </a:cubicBezTo>
                  <a:cubicBezTo>
                    <a:pt x="326" y="165"/>
                    <a:pt x="326" y="165"/>
                    <a:pt x="326" y="165"/>
                  </a:cubicBezTo>
                  <a:cubicBezTo>
                    <a:pt x="326" y="164"/>
                    <a:pt x="325" y="163"/>
                    <a:pt x="325" y="162"/>
                  </a:cubicBezTo>
                  <a:cubicBezTo>
                    <a:pt x="325" y="162"/>
                    <a:pt x="325" y="161"/>
                    <a:pt x="325" y="161"/>
                  </a:cubicBezTo>
                  <a:cubicBezTo>
                    <a:pt x="325" y="161"/>
                    <a:pt x="325" y="160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8"/>
                    <a:pt x="325" y="158"/>
                    <a:pt x="325" y="158"/>
                  </a:cubicBezTo>
                  <a:cubicBezTo>
                    <a:pt x="325" y="158"/>
                    <a:pt x="325" y="158"/>
                    <a:pt x="325" y="157"/>
                  </a:cubicBezTo>
                  <a:cubicBezTo>
                    <a:pt x="325" y="157"/>
                    <a:pt x="325" y="157"/>
                    <a:pt x="325" y="157"/>
                  </a:cubicBezTo>
                  <a:cubicBezTo>
                    <a:pt x="324" y="156"/>
                    <a:pt x="324" y="154"/>
                    <a:pt x="324" y="153"/>
                  </a:cubicBezTo>
                  <a:cubicBezTo>
                    <a:pt x="324" y="153"/>
                    <a:pt x="324" y="153"/>
                    <a:pt x="324" y="153"/>
                  </a:cubicBezTo>
                  <a:cubicBezTo>
                    <a:pt x="324" y="153"/>
                    <a:pt x="324" y="153"/>
                    <a:pt x="324" y="152"/>
                  </a:cubicBezTo>
                  <a:cubicBezTo>
                    <a:pt x="324" y="152"/>
                    <a:pt x="324" y="152"/>
                    <a:pt x="324" y="152"/>
                  </a:cubicBezTo>
                  <a:cubicBezTo>
                    <a:pt x="324" y="151"/>
                    <a:pt x="324" y="150"/>
                    <a:pt x="323" y="148"/>
                  </a:cubicBezTo>
                  <a:cubicBezTo>
                    <a:pt x="323" y="148"/>
                    <a:pt x="323" y="148"/>
                    <a:pt x="323" y="148"/>
                  </a:cubicBezTo>
                  <a:cubicBezTo>
                    <a:pt x="323" y="148"/>
                    <a:pt x="323" y="147"/>
                    <a:pt x="323" y="147"/>
                  </a:cubicBezTo>
                  <a:cubicBezTo>
                    <a:pt x="323" y="146"/>
                    <a:pt x="323" y="145"/>
                    <a:pt x="323" y="145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3" y="145"/>
                    <a:pt x="323" y="144"/>
                    <a:pt x="323" y="144"/>
                  </a:cubicBezTo>
                  <a:cubicBezTo>
                    <a:pt x="323" y="144"/>
                    <a:pt x="323" y="144"/>
                    <a:pt x="323" y="144"/>
                  </a:cubicBezTo>
                  <a:cubicBezTo>
                    <a:pt x="323" y="143"/>
                    <a:pt x="323" y="142"/>
                    <a:pt x="322" y="142"/>
                  </a:cubicBezTo>
                  <a:cubicBezTo>
                    <a:pt x="322" y="141"/>
                    <a:pt x="322" y="141"/>
                    <a:pt x="322" y="141"/>
                  </a:cubicBezTo>
                  <a:cubicBezTo>
                    <a:pt x="322" y="141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39"/>
                    <a:pt x="322" y="138"/>
                    <a:pt x="322" y="138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6"/>
                    <a:pt x="322" y="136"/>
                  </a:cubicBezTo>
                  <a:cubicBezTo>
                    <a:pt x="322" y="136"/>
                    <a:pt x="322" y="136"/>
                    <a:pt x="322" y="136"/>
                  </a:cubicBezTo>
                  <a:cubicBezTo>
                    <a:pt x="321" y="135"/>
                    <a:pt x="321" y="134"/>
                    <a:pt x="321" y="133"/>
                  </a:cubicBezTo>
                  <a:cubicBezTo>
                    <a:pt x="321" y="133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28"/>
                    <a:pt x="320" y="124"/>
                    <a:pt x="319" y="121"/>
                  </a:cubicBezTo>
                  <a:cubicBezTo>
                    <a:pt x="319" y="121"/>
                    <a:pt x="319" y="120"/>
                    <a:pt x="319" y="120"/>
                  </a:cubicBezTo>
                  <a:cubicBezTo>
                    <a:pt x="319" y="118"/>
                    <a:pt x="319" y="117"/>
                    <a:pt x="319" y="115"/>
                  </a:cubicBezTo>
                  <a:cubicBezTo>
                    <a:pt x="319" y="114"/>
                    <a:pt x="319" y="114"/>
                    <a:pt x="319" y="114"/>
                  </a:cubicBezTo>
                  <a:cubicBezTo>
                    <a:pt x="313" y="75"/>
                    <a:pt x="308" y="36"/>
                    <a:pt x="302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6292BFA0-950D-4D6D-9CFD-9F4777E29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97063" y="2779552"/>
              <a:ext cx="432054" cy="775237"/>
            </a:xfrm>
            <a:custGeom>
              <a:avLst/>
              <a:gdLst>
                <a:gd name="T0" fmla="*/ 59 w 169"/>
                <a:gd name="T1" fmla="*/ 0 h 303"/>
                <a:gd name="T2" fmla="*/ 59 w 169"/>
                <a:gd name="T3" fmla="*/ 0 h 303"/>
                <a:gd name="T4" fmla="*/ 59 w 169"/>
                <a:gd name="T5" fmla="*/ 0 h 303"/>
                <a:gd name="T6" fmla="*/ 43 w 169"/>
                <a:gd name="T7" fmla="*/ 148 h 303"/>
                <a:gd name="T8" fmla="*/ 72 w 169"/>
                <a:gd name="T9" fmla="*/ 140 h 303"/>
                <a:gd name="T10" fmla="*/ 99 w 169"/>
                <a:gd name="T11" fmla="*/ 148 h 303"/>
                <a:gd name="T12" fmla="*/ 65 w 169"/>
                <a:gd name="T13" fmla="*/ 145 h 303"/>
                <a:gd name="T14" fmla="*/ 43 w 169"/>
                <a:gd name="T15" fmla="*/ 148 h 303"/>
                <a:gd name="T16" fmla="*/ 43 w 169"/>
                <a:gd name="T17" fmla="*/ 148 h 303"/>
                <a:gd name="T18" fmla="*/ 55 w 169"/>
                <a:gd name="T19" fmla="*/ 153 h 303"/>
                <a:gd name="T20" fmla="*/ 106 w 169"/>
                <a:gd name="T21" fmla="*/ 200 h 303"/>
                <a:gd name="T22" fmla="*/ 55 w 169"/>
                <a:gd name="T23" fmla="*/ 153 h 303"/>
                <a:gd name="T24" fmla="*/ 43 w 169"/>
                <a:gd name="T25" fmla="*/ 148 h 303"/>
                <a:gd name="T26" fmla="*/ 43 w 169"/>
                <a:gd name="T27" fmla="*/ 148 h 303"/>
                <a:gd name="T28" fmla="*/ 22 w 169"/>
                <a:gd name="T29" fmla="*/ 148 h 303"/>
                <a:gd name="T30" fmla="*/ 0 w 169"/>
                <a:gd name="T31" fmla="*/ 303 h 303"/>
                <a:gd name="T32" fmla="*/ 129 w 169"/>
                <a:gd name="T33" fmla="*/ 265 h 303"/>
                <a:gd name="T34" fmla="*/ 129 w 169"/>
                <a:gd name="T35" fmla="*/ 265 h 303"/>
                <a:gd name="T36" fmla="*/ 169 w 169"/>
                <a:gd name="T37" fmla="*/ 254 h 303"/>
                <a:gd name="T38" fmla="*/ 141 w 169"/>
                <a:gd name="T39" fmla="*/ 78 h 303"/>
                <a:gd name="T40" fmla="*/ 138 w 169"/>
                <a:gd name="T41" fmla="*/ 69 h 303"/>
                <a:gd name="T42" fmla="*/ 138 w 169"/>
                <a:gd name="T43" fmla="*/ 69 h 303"/>
                <a:gd name="T44" fmla="*/ 59 w 169"/>
                <a:gd name="T45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303"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8"/>
                    <a:pt x="55" y="140"/>
                    <a:pt x="72" y="140"/>
                  </a:cubicBezTo>
                  <a:cubicBezTo>
                    <a:pt x="80" y="140"/>
                    <a:pt x="89" y="142"/>
                    <a:pt x="99" y="148"/>
                  </a:cubicBezTo>
                  <a:cubicBezTo>
                    <a:pt x="99" y="148"/>
                    <a:pt x="82" y="145"/>
                    <a:pt x="65" y="145"/>
                  </a:cubicBezTo>
                  <a:cubicBezTo>
                    <a:pt x="57" y="145"/>
                    <a:pt x="49" y="146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7" y="149"/>
                    <a:pt x="51" y="151"/>
                    <a:pt x="55" y="153"/>
                  </a:cubicBezTo>
                  <a:cubicBezTo>
                    <a:pt x="71" y="160"/>
                    <a:pt x="97" y="175"/>
                    <a:pt x="106" y="200"/>
                  </a:cubicBezTo>
                  <a:cubicBezTo>
                    <a:pt x="106" y="200"/>
                    <a:pt x="83" y="167"/>
                    <a:pt x="55" y="153"/>
                  </a:cubicBezTo>
                  <a:cubicBezTo>
                    <a:pt x="48" y="149"/>
                    <a:pt x="43" y="148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23" y="201"/>
                    <a:pt x="16" y="253"/>
                    <a:pt x="0" y="303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69" y="253"/>
                    <a:pt x="163" y="144"/>
                    <a:pt x="141" y="78"/>
                  </a:cubicBezTo>
                  <a:cubicBezTo>
                    <a:pt x="140" y="75"/>
                    <a:pt x="139" y="72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16" y="20"/>
                    <a:pt x="59" y="0"/>
                    <a:pt x="5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10A0A56E-F451-4134-B4D9-A2D9A9BAE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9098" y="5042368"/>
              <a:ext cx="147664" cy="54690"/>
            </a:xfrm>
            <a:custGeom>
              <a:avLst/>
              <a:gdLst>
                <a:gd name="T0" fmla="*/ 58 w 58"/>
                <a:gd name="T1" fmla="*/ 0 h 21"/>
                <a:gd name="T2" fmla="*/ 0 w 58"/>
                <a:gd name="T3" fmla="*/ 17 h 21"/>
                <a:gd name="T4" fmla="*/ 0 w 58"/>
                <a:gd name="T5" fmla="*/ 17 h 21"/>
                <a:gd name="T6" fmla="*/ 0 w 58"/>
                <a:gd name="T7" fmla="*/ 17 h 21"/>
                <a:gd name="T8" fmla="*/ 0 w 58"/>
                <a:gd name="T9" fmla="*/ 20 h 21"/>
                <a:gd name="T10" fmla="*/ 14 w 58"/>
                <a:gd name="T11" fmla="*/ 21 h 21"/>
                <a:gd name="T12" fmla="*/ 52 w 58"/>
                <a:gd name="T13" fmla="*/ 16 h 21"/>
                <a:gd name="T14" fmla="*/ 58 w 58"/>
                <a:gd name="T15" fmla="*/ 13 h 21"/>
                <a:gd name="T16" fmla="*/ 58 w 58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1">
                  <a:moveTo>
                    <a:pt x="58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1"/>
                    <a:pt x="9" y="21"/>
                    <a:pt x="14" y="21"/>
                  </a:cubicBezTo>
                  <a:cubicBezTo>
                    <a:pt x="27" y="21"/>
                    <a:pt x="39" y="19"/>
                    <a:pt x="52" y="16"/>
                  </a:cubicBezTo>
                  <a:cubicBezTo>
                    <a:pt x="54" y="15"/>
                    <a:pt x="56" y="14"/>
                    <a:pt x="58" y="13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418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22839A01-13CC-4764-B976-AB8114389B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06444" y="3158282"/>
              <a:ext cx="161337" cy="132625"/>
            </a:xfrm>
            <a:custGeom>
              <a:avLst/>
              <a:gdLst>
                <a:gd name="T0" fmla="*/ 12 w 63"/>
                <a:gd name="T1" fmla="*/ 5 h 52"/>
                <a:gd name="T2" fmla="*/ 63 w 63"/>
                <a:gd name="T3" fmla="*/ 52 h 52"/>
                <a:gd name="T4" fmla="*/ 12 w 63"/>
                <a:gd name="T5" fmla="*/ 5 h 52"/>
                <a:gd name="T6" fmla="*/ 0 w 63"/>
                <a:gd name="T7" fmla="*/ 0 h 52"/>
                <a:gd name="T8" fmla="*/ 0 w 63"/>
                <a:gd name="T9" fmla="*/ 0 h 52"/>
                <a:gd name="T10" fmla="*/ 12 w 63"/>
                <a:gd name="T11" fmla="*/ 5 h 52"/>
                <a:gd name="T12" fmla="*/ 0 w 63"/>
                <a:gd name="T13" fmla="*/ 0 h 52"/>
                <a:gd name="T14" fmla="*/ 0 w 63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2">
                  <a:moveTo>
                    <a:pt x="12" y="5"/>
                  </a:moveTo>
                  <a:cubicBezTo>
                    <a:pt x="40" y="19"/>
                    <a:pt x="63" y="52"/>
                    <a:pt x="63" y="52"/>
                  </a:cubicBezTo>
                  <a:cubicBezTo>
                    <a:pt x="54" y="27"/>
                    <a:pt x="28" y="12"/>
                    <a:pt x="12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" y="1"/>
                    <a:pt x="12" y="5"/>
                  </a:cubicBezTo>
                  <a:cubicBezTo>
                    <a:pt x="8" y="3"/>
                    <a:pt x="4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35BD59AB-37C2-4627-B230-EDED104A1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06444" y="3137774"/>
              <a:ext cx="143563" cy="20509"/>
            </a:xfrm>
            <a:custGeom>
              <a:avLst/>
              <a:gdLst>
                <a:gd name="T0" fmla="*/ 29 w 56"/>
                <a:gd name="T1" fmla="*/ 0 h 8"/>
                <a:gd name="T2" fmla="*/ 0 w 56"/>
                <a:gd name="T3" fmla="*/ 8 h 8"/>
                <a:gd name="T4" fmla="*/ 0 w 56"/>
                <a:gd name="T5" fmla="*/ 8 h 8"/>
                <a:gd name="T6" fmla="*/ 0 w 56"/>
                <a:gd name="T7" fmla="*/ 8 h 8"/>
                <a:gd name="T8" fmla="*/ 22 w 56"/>
                <a:gd name="T9" fmla="*/ 5 h 8"/>
                <a:gd name="T10" fmla="*/ 56 w 56"/>
                <a:gd name="T11" fmla="*/ 8 h 8"/>
                <a:gd name="T12" fmla="*/ 29 w 5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8">
                  <a:moveTo>
                    <a:pt x="29" y="0"/>
                  </a:moveTo>
                  <a:cubicBezTo>
                    <a:pt x="12" y="0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6" y="6"/>
                    <a:pt x="14" y="5"/>
                    <a:pt x="22" y="5"/>
                  </a:cubicBezTo>
                  <a:cubicBezTo>
                    <a:pt x="39" y="5"/>
                    <a:pt x="56" y="8"/>
                    <a:pt x="56" y="8"/>
                  </a:cubicBezTo>
                  <a:cubicBezTo>
                    <a:pt x="46" y="2"/>
                    <a:pt x="37" y="0"/>
                    <a:pt x="29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8998445C-8575-4A27-81F7-ACEB8658B7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6634" y="2749472"/>
              <a:ext cx="69731" cy="71098"/>
            </a:xfrm>
            <a:custGeom>
              <a:avLst/>
              <a:gdLst>
                <a:gd name="T0" fmla="*/ 20 w 27"/>
                <a:gd name="T1" fmla="*/ 0 h 28"/>
                <a:gd name="T2" fmla="*/ 19 w 27"/>
                <a:gd name="T3" fmla="*/ 2 h 28"/>
                <a:gd name="T4" fmla="*/ 0 w 27"/>
                <a:gd name="T5" fmla="*/ 20 h 28"/>
                <a:gd name="T6" fmla="*/ 2 w 27"/>
                <a:gd name="T7" fmla="*/ 28 h 28"/>
                <a:gd name="T8" fmla="*/ 27 w 27"/>
                <a:gd name="T9" fmla="*/ 3 h 28"/>
                <a:gd name="T10" fmla="*/ 27 w 27"/>
                <a:gd name="T11" fmla="*/ 3 h 28"/>
                <a:gd name="T12" fmla="*/ 20 w 27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20" y="0"/>
                  </a:moveTo>
                  <a:cubicBezTo>
                    <a:pt x="19" y="2"/>
                    <a:pt x="19" y="2"/>
                    <a:pt x="19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2" y="25"/>
                    <a:pt x="2" y="28"/>
                  </a:cubicBezTo>
                  <a:cubicBezTo>
                    <a:pt x="16" y="1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B2A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B079C4CE-0970-4D39-A4F7-CB308C7E1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89429" y="4075715"/>
              <a:ext cx="401975" cy="396506"/>
            </a:xfrm>
            <a:custGeom>
              <a:avLst/>
              <a:gdLst>
                <a:gd name="T0" fmla="*/ 13 w 157"/>
                <a:gd name="T1" fmla="*/ 16 h 155"/>
                <a:gd name="T2" fmla="*/ 138 w 157"/>
                <a:gd name="T3" fmla="*/ 149 h 155"/>
                <a:gd name="T4" fmla="*/ 149 w 157"/>
                <a:gd name="T5" fmla="*/ 155 h 155"/>
                <a:gd name="T6" fmla="*/ 13 w 157"/>
                <a:gd name="T7" fmla="*/ 16 h 155"/>
                <a:gd name="T8" fmla="*/ 1 w 157"/>
                <a:gd name="T9" fmla="*/ 0 h 155"/>
                <a:gd name="T10" fmla="*/ 0 w 157"/>
                <a:gd name="T11" fmla="*/ 1 h 155"/>
                <a:gd name="T12" fmla="*/ 13 w 157"/>
                <a:gd name="T13" fmla="*/ 16 h 155"/>
                <a:gd name="T14" fmla="*/ 1 w 15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55">
                  <a:moveTo>
                    <a:pt x="13" y="16"/>
                  </a:moveTo>
                  <a:cubicBezTo>
                    <a:pt x="47" y="61"/>
                    <a:pt x="99" y="124"/>
                    <a:pt x="138" y="149"/>
                  </a:cubicBezTo>
                  <a:cubicBezTo>
                    <a:pt x="144" y="153"/>
                    <a:pt x="148" y="155"/>
                    <a:pt x="149" y="155"/>
                  </a:cubicBezTo>
                  <a:cubicBezTo>
                    <a:pt x="157" y="155"/>
                    <a:pt x="66" y="76"/>
                    <a:pt x="13" y="16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6"/>
                    <a:pt x="8" y="11"/>
                    <a:pt x="13" y="16"/>
                  </a:cubicBezTo>
                  <a:cubicBezTo>
                    <a:pt x="8" y="11"/>
                    <a:pt x="4" y="5"/>
                    <a:pt x="1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pic>
        <p:nvPicPr>
          <p:cNvPr id="3" name="图形 2">
            <a:extLst>
              <a:ext uri="{FF2B5EF4-FFF2-40B4-BE49-F238E27FC236}">
                <a16:creationId xmlns:a16="http://schemas.microsoft.com/office/drawing/2014/main" id="{90236812-E487-7DE8-4C34-CF17E5D297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5816" y="5444805"/>
            <a:ext cx="5763431" cy="69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10/2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图形 5">
            <a:extLst>
              <a:ext uri="{FF2B5EF4-FFF2-40B4-BE49-F238E27FC236}">
                <a16:creationId xmlns:a16="http://schemas.microsoft.com/office/drawing/2014/main" id="{34BD15AF-5944-5A2C-B7BD-C8CB2458FA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9785" y="646709"/>
            <a:ext cx="214091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3" y="1130304"/>
            <a:ext cx="5424831" cy="331265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3" y="5823233"/>
            <a:ext cx="542483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78" marR="0" lvl="0" indent="-22857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5" y="5526962"/>
            <a:ext cx="542483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C4323DC-7DAC-448C-9CC3-E7FC7EA85A29}"/>
              </a:ext>
            </a:extLst>
          </p:cNvPr>
          <p:cNvGrpSpPr/>
          <p:nvPr userDrawn="1"/>
        </p:nvGrpSpPr>
        <p:grpSpPr>
          <a:xfrm flipH="1">
            <a:off x="6264739" y="490750"/>
            <a:ext cx="5255751" cy="5901098"/>
            <a:chOff x="3035300" y="-3175"/>
            <a:chExt cx="6102350" cy="6851650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BD5D39BA-194B-4A67-B71E-4D6B8A7C4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35300" y="-3175"/>
              <a:ext cx="6089650" cy="685165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C4F24DDB-65B7-43C3-8AAA-08348EECCB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35300" y="-3175"/>
              <a:ext cx="6102350" cy="6851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8AE2D9F7-951E-430E-A836-E132AF952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7450" y="2703513"/>
              <a:ext cx="1587500" cy="2076450"/>
            </a:xfrm>
            <a:custGeom>
              <a:avLst/>
              <a:gdLst>
                <a:gd name="T0" fmla="*/ 534 w 534"/>
                <a:gd name="T1" fmla="*/ 52 h 699"/>
                <a:gd name="T2" fmla="*/ 350 w 534"/>
                <a:gd name="T3" fmla="*/ 0 h 699"/>
                <a:gd name="T4" fmla="*/ 0 w 534"/>
                <a:gd name="T5" fmla="*/ 349 h 699"/>
                <a:gd name="T6" fmla="*/ 350 w 534"/>
                <a:gd name="T7" fmla="*/ 699 h 699"/>
                <a:gd name="T8" fmla="*/ 534 w 534"/>
                <a:gd name="T9" fmla="*/ 646 h 699"/>
                <a:gd name="T10" fmla="*/ 534 w 534"/>
                <a:gd name="T11" fmla="*/ 52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4" h="699">
                  <a:moveTo>
                    <a:pt x="534" y="52"/>
                  </a:moveTo>
                  <a:cubicBezTo>
                    <a:pt x="480" y="19"/>
                    <a:pt x="417" y="0"/>
                    <a:pt x="350" y="0"/>
                  </a:cubicBezTo>
                  <a:cubicBezTo>
                    <a:pt x="157" y="0"/>
                    <a:pt x="0" y="156"/>
                    <a:pt x="0" y="349"/>
                  </a:cubicBezTo>
                  <a:cubicBezTo>
                    <a:pt x="0" y="542"/>
                    <a:pt x="157" y="699"/>
                    <a:pt x="350" y="699"/>
                  </a:cubicBezTo>
                  <a:cubicBezTo>
                    <a:pt x="417" y="699"/>
                    <a:pt x="480" y="679"/>
                    <a:pt x="534" y="646"/>
                  </a:cubicBezTo>
                  <a:lnTo>
                    <a:pt x="534" y="52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291B6784-5AA9-420C-A5A2-2230583BDB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561388" y="3194050"/>
              <a:ext cx="11113" cy="2452688"/>
            </a:xfrm>
            <a:prstGeom prst="rect">
              <a:avLst/>
            </a:pr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5CC14B3-45E3-45DE-A527-E831B815CB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1388" y="3194050"/>
              <a:ext cx="11113" cy="2452688"/>
            </a:xfrm>
            <a:custGeom>
              <a:avLst/>
              <a:gdLst>
                <a:gd name="T0" fmla="*/ 7 w 7"/>
                <a:gd name="T1" fmla="*/ 1545 h 1545"/>
                <a:gd name="T2" fmla="*/ 7 w 7"/>
                <a:gd name="T3" fmla="*/ 0 h 1545"/>
                <a:gd name="T4" fmla="*/ 0 w 7"/>
                <a:gd name="T5" fmla="*/ 0 h 1545"/>
                <a:gd name="T6" fmla="*/ 0 w 7"/>
                <a:gd name="T7" fmla="*/ 1545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45">
                  <a:moveTo>
                    <a:pt x="7" y="1545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15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459BC6A-C187-4DA6-9749-FEFCEA1F6F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5" y="3862388"/>
              <a:ext cx="704850" cy="706438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  <a:gd name="T8" fmla="*/ 444 w 444"/>
                <a:gd name="T9" fmla="*/ 43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  <a:lnTo>
                    <a:pt x="444" y="43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652B124-7108-4B7E-9BC1-1108914FD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5" y="3862388"/>
              <a:ext cx="704850" cy="706438"/>
            </a:xfrm>
            <a:custGeom>
              <a:avLst/>
              <a:gdLst>
                <a:gd name="T0" fmla="*/ 444 w 444"/>
                <a:gd name="T1" fmla="*/ 439 h 445"/>
                <a:gd name="T2" fmla="*/ 6 w 444"/>
                <a:gd name="T3" fmla="*/ 0 h 445"/>
                <a:gd name="T4" fmla="*/ 0 w 444"/>
                <a:gd name="T5" fmla="*/ 5 h 445"/>
                <a:gd name="T6" fmla="*/ 440 w 444"/>
                <a:gd name="T7" fmla="*/ 44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4" h="445">
                  <a:moveTo>
                    <a:pt x="444" y="439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440" y="4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93D4323D-CB06-4327-BCA3-643474CA9A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2975" y="3838575"/>
              <a:ext cx="298450" cy="300038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  <a:gd name="T8" fmla="*/ 4 w 188"/>
                <a:gd name="T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  <a:lnTo>
                    <a:pt x="4" y="18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EFD363E5-55B4-4972-8161-179CB96245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2975" y="3838575"/>
              <a:ext cx="298450" cy="300038"/>
            </a:xfrm>
            <a:custGeom>
              <a:avLst/>
              <a:gdLst>
                <a:gd name="T0" fmla="*/ 4 w 188"/>
                <a:gd name="T1" fmla="*/ 189 h 189"/>
                <a:gd name="T2" fmla="*/ 188 w 188"/>
                <a:gd name="T3" fmla="*/ 5 h 189"/>
                <a:gd name="T4" fmla="*/ 184 w 188"/>
                <a:gd name="T5" fmla="*/ 0 h 189"/>
                <a:gd name="T6" fmla="*/ 0 w 188"/>
                <a:gd name="T7" fmla="*/ 18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189">
                  <a:moveTo>
                    <a:pt x="4" y="189"/>
                  </a:moveTo>
                  <a:lnTo>
                    <a:pt x="188" y="5"/>
                  </a:lnTo>
                  <a:lnTo>
                    <a:pt x="184" y="0"/>
                  </a:lnTo>
                  <a:lnTo>
                    <a:pt x="0" y="1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8F0CA12-5018-4E8B-B232-EFB7D504D7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500" y="3092450"/>
              <a:ext cx="347663" cy="347663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  <a:gd name="T8" fmla="*/ 6 w 219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  <a:lnTo>
                    <a:pt x="6" y="219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6C269C8B-67CF-43BD-B4BA-B96EE9DFE2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500" y="3092450"/>
              <a:ext cx="347663" cy="347663"/>
            </a:xfrm>
            <a:custGeom>
              <a:avLst/>
              <a:gdLst>
                <a:gd name="T0" fmla="*/ 6 w 219"/>
                <a:gd name="T1" fmla="*/ 219 h 219"/>
                <a:gd name="T2" fmla="*/ 219 w 219"/>
                <a:gd name="T3" fmla="*/ 6 h 219"/>
                <a:gd name="T4" fmla="*/ 214 w 219"/>
                <a:gd name="T5" fmla="*/ 0 h 219"/>
                <a:gd name="T6" fmla="*/ 0 w 219"/>
                <a:gd name="T7" fmla="*/ 21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19">
                  <a:moveTo>
                    <a:pt x="6" y="219"/>
                  </a:moveTo>
                  <a:lnTo>
                    <a:pt x="219" y="6"/>
                  </a:lnTo>
                  <a:lnTo>
                    <a:pt x="214" y="0"/>
                  </a:lnTo>
                  <a:lnTo>
                    <a:pt x="0" y="2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D1D7EC8D-BFC1-4626-90CA-72748F1939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5300" y="5378450"/>
              <a:ext cx="1281113" cy="333375"/>
            </a:xfrm>
            <a:custGeom>
              <a:avLst/>
              <a:gdLst>
                <a:gd name="T0" fmla="*/ 0 w 431"/>
                <a:gd name="T1" fmla="*/ 112 h 112"/>
                <a:gd name="T2" fmla="*/ 431 w 431"/>
                <a:gd name="T3" fmla="*/ 112 h 112"/>
                <a:gd name="T4" fmla="*/ 336 w 431"/>
                <a:gd name="T5" fmla="*/ 17 h 112"/>
                <a:gd name="T6" fmla="*/ 303 w 431"/>
                <a:gd name="T7" fmla="*/ 17 h 112"/>
                <a:gd name="T8" fmla="*/ 275 w 431"/>
                <a:gd name="T9" fmla="*/ 44 h 112"/>
                <a:gd name="T10" fmla="*/ 242 w 431"/>
                <a:gd name="T11" fmla="*/ 44 h 112"/>
                <a:gd name="T12" fmla="*/ 207 w 431"/>
                <a:gd name="T13" fmla="*/ 9 h 112"/>
                <a:gd name="T14" fmla="*/ 173 w 431"/>
                <a:gd name="T15" fmla="*/ 9 h 112"/>
                <a:gd name="T16" fmla="*/ 124 w 431"/>
                <a:gd name="T17" fmla="*/ 58 h 112"/>
                <a:gd name="T18" fmla="*/ 90 w 431"/>
                <a:gd name="T19" fmla="*/ 58 h 112"/>
                <a:gd name="T20" fmla="*/ 57 w 431"/>
                <a:gd name="T21" fmla="*/ 58 h 112"/>
                <a:gd name="T22" fmla="*/ 0 w 431"/>
                <a:gd name="T2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1" h="112">
                  <a:moveTo>
                    <a:pt x="0" y="112"/>
                  </a:moveTo>
                  <a:cubicBezTo>
                    <a:pt x="431" y="112"/>
                    <a:pt x="431" y="112"/>
                    <a:pt x="431" y="112"/>
                  </a:cubicBezTo>
                  <a:cubicBezTo>
                    <a:pt x="336" y="17"/>
                    <a:pt x="336" y="17"/>
                    <a:pt x="336" y="17"/>
                  </a:cubicBezTo>
                  <a:cubicBezTo>
                    <a:pt x="327" y="8"/>
                    <a:pt x="312" y="8"/>
                    <a:pt x="303" y="17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66" y="54"/>
                    <a:pt x="251" y="54"/>
                    <a:pt x="242" y="44"/>
                  </a:cubicBezTo>
                  <a:cubicBezTo>
                    <a:pt x="207" y="9"/>
                    <a:pt x="207" y="9"/>
                    <a:pt x="207" y="9"/>
                  </a:cubicBezTo>
                  <a:cubicBezTo>
                    <a:pt x="197" y="0"/>
                    <a:pt x="182" y="0"/>
                    <a:pt x="173" y="9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15" y="68"/>
                    <a:pt x="100" y="68"/>
                    <a:pt x="90" y="58"/>
                  </a:cubicBezTo>
                  <a:cubicBezTo>
                    <a:pt x="81" y="49"/>
                    <a:pt x="66" y="49"/>
                    <a:pt x="57" y="58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BF215554-96F3-443B-9D39-9C9B8E171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3638" y="5329238"/>
              <a:ext cx="1611313" cy="433388"/>
            </a:xfrm>
            <a:custGeom>
              <a:avLst/>
              <a:gdLst>
                <a:gd name="T0" fmla="*/ 542 w 542"/>
                <a:gd name="T1" fmla="*/ 146 h 146"/>
                <a:gd name="T2" fmla="*/ 0 w 542"/>
                <a:gd name="T3" fmla="*/ 146 h 146"/>
                <a:gd name="T4" fmla="*/ 59 w 542"/>
                <a:gd name="T5" fmla="*/ 36 h 146"/>
                <a:gd name="T6" fmla="*/ 149 w 542"/>
                <a:gd name="T7" fmla="*/ 33 h 146"/>
                <a:gd name="T8" fmla="*/ 166 w 542"/>
                <a:gd name="T9" fmla="*/ 60 h 146"/>
                <a:gd name="T10" fmla="*/ 241 w 542"/>
                <a:gd name="T11" fmla="*/ 74 h 146"/>
                <a:gd name="T12" fmla="*/ 302 w 542"/>
                <a:gd name="T13" fmla="*/ 74 h 146"/>
                <a:gd name="T14" fmla="*/ 345 w 542"/>
                <a:gd name="T15" fmla="*/ 104 h 146"/>
                <a:gd name="T16" fmla="*/ 396 w 542"/>
                <a:gd name="T17" fmla="*/ 110 h 146"/>
                <a:gd name="T18" fmla="*/ 410 w 542"/>
                <a:gd name="T19" fmla="*/ 103 h 146"/>
                <a:gd name="T20" fmla="*/ 453 w 542"/>
                <a:gd name="T21" fmla="*/ 104 h 146"/>
                <a:gd name="T22" fmla="*/ 542 w 542"/>
                <a:gd name="T2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146">
                  <a:moveTo>
                    <a:pt x="542" y="146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78" y="1"/>
                    <a:pt x="128" y="0"/>
                    <a:pt x="149" y="33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82" y="86"/>
                    <a:pt x="216" y="92"/>
                    <a:pt x="241" y="74"/>
                  </a:cubicBezTo>
                  <a:cubicBezTo>
                    <a:pt x="259" y="61"/>
                    <a:pt x="283" y="61"/>
                    <a:pt x="302" y="74"/>
                  </a:cubicBezTo>
                  <a:cubicBezTo>
                    <a:pt x="345" y="104"/>
                    <a:pt x="345" y="104"/>
                    <a:pt x="345" y="104"/>
                  </a:cubicBezTo>
                  <a:cubicBezTo>
                    <a:pt x="360" y="115"/>
                    <a:pt x="379" y="117"/>
                    <a:pt x="396" y="110"/>
                  </a:cubicBezTo>
                  <a:cubicBezTo>
                    <a:pt x="410" y="103"/>
                    <a:pt x="410" y="103"/>
                    <a:pt x="410" y="103"/>
                  </a:cubicBezTo>
                  <a:cubicBezTo>
                    <a:pt x="424" y="97"/>
                    <a:pt x="439" y="98"/>
                    <a:pt x="453" y="104"/>
                  </a:cubicBezTo>
                  <a:lnTo>
                    <a:pt x="542" y="146"/>
                  </a:lnTo>
                  <a:close/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2D142EB6-08F6-43A8-AB01-2061220890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5300" y="5886450"/>
              <a:ext cx="1709738" cy="955675"/>
            </a:xfrm>
            <a:custGeom>
              <a:avLst/>
              <a:gdLst>
                <a:gd name="T0" fmla="*/ 832 w 1077"/>
                <a:gd name="T1" fmla="*/ 0 h 602"/>
                <a:gd name="T2" fmla="*/ 0 w 1077"/>
                <a:gd name="T3" fmla="*/ 550 h 602"/>
                <a:gd name="T4" fmla="*/ 0 w 1077"/>
                <a:gd name="T5" fmla="*/ 602 h 602"/>
                <a:gd name="T6" fmla="*/ 223 w 1077"/>
                <a:gd name="T7" fmla="*/ 602 h 602"/>
                <a:gd name="T8" fmla="*/ 1077 w 1077"/>
                <a:gd name="T9" fmla="*/ 19 h 602"/>
                <a:gd name="T10" fmla="*/ 832 w 1077"/>
                <a:gd name="T1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7" h="602">
                  <a:moveTo>
                    <a:pt x="832" y="0"/>
                  </a:moveTo>
                  <a:lnTo>
                    <a:pt x="0" y="550"/>
                  </a:lnTo>
                  <a:lnTo>
                    <a:pt x="0" y="602"/>
                  </a:lnTo>
                  <a:lnTo>
                    <a:pt x="223" y="602"/>
                  </a:lnTo>
                  <a:lnTo>
                    <a:pt x="1077" y="19"/>
                  </a:lnTo>
                  <a:lnTo>
                    <a:pt x="83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91C9D270-CC34-42F1-93EA-77FE1B593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4625" y="5865813"/>
              <a:ext cx="1397000" cy="976313"/>
            </a:xfrm>
            <a:custGeom>
              <a:avLst/>
              <a:gdLst>
                <a:gd name="T0" fmla="*/ 653 w 880"/>
                <a:gd name="T1" fmla="*/ 0 h 615"/>
                <a:gd name="T2" fmla="*/ 0 w 880"/>
                <a:gd name="T3" fmla="*/ 615 h 615"/>
                <a:gd name="T4" fmla="*/ 372 w 880"/>
                <a:gd name="T5" fmla="*/ 615 h 615"/>
                <a:gd name="T6" fmla="*/ 880 w 880"/>
                <a:gd name="T7" fmla="*/ 13 h 615"/>
                <a:gd name="T8" fmla="*/ 653 w 880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0" h="615">
                  <a:moveTo>
                    <a:pt x="653" y="0"/>
                  </a:moveTo>
                  <a:lnTo>
                    <a:pt x="0" y="615"/>
                  </a:lnTo>
                  <a:lnTo>
                    <a:pt x="372" y="615"/>
                  </a:lnTo>
                  <a:lnTo>
                    <a:pt x="880" y="13"/>
                  </a:lnTo>
                  <a:lnTo>
                    <a:pt x="653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A66FAC28-E0BC-4C64-B126-29D1088965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913" y="5892800"/>
              <a:ext cx="455613" cy="949325"/>
            </a:xfrm>
            <a:custGeom>
              <a:avLst/>
              <a:gdLst>
                <a:gd name="T0" fmla="*/ 272 w 287"/>
                <a:gd name="T1" fmla="*/ 0 h 598"/>
                <a:gd name="T2" fmla="*/ 287 w 287"/>
                <a:gd name="T3" fmla="*/ 598 h 598"/>
                <a:gd name="T4" fmla="*/ 0 w 287"/>
                <a:gd name="T5" fmla="*/ 598 h 598"/>
                <a:gd name="T6" fmla="*/ 28 w 287"/>
                <a:gd name="T7" fmla="*/ 108 h 598"/>
                <a:gd name="T8" fmla="*/ 272 w 287"/>
                <a:gd name="T9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598">
                  <a:moveTo>
                    <a:pt x="272" y="0"/>
                  </a:moveTo>
                  <a:lnTo>
                    <a:pt x="287" y="598"/>
                  </a:lnTo>
                  <a:lnTo>
                    <a:pt x="0" y="598"/>
                  </a:lnTo>
                  <a:lnTo>
                    <a:pt x="28" y="108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3B6EF4C6-F5A6-4662-9D6C-4CDF8FB8A7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0450" y="5838825"/>
              <a:ext cx="542925" cy="1003300"/>
            </a:xfrm>
            <a:custGeom>
              <a:avLst/>
              <a:gdLst>
                <a:gd name="T0" fmla="*/ 0 w 342"/>
                <a:gd name="T1" fmla="*/ 0 h 632"/>
                <a:gd name="T2" fmla="*/ 35 w 342"/>
                <a:gd name="T3" fmla="*/ 632 h 632"/>
                <a:gd name="T4" fmla="*/ 342 w 342"/>
                <a:gd name="T5" fmla="*/ 632 h 632"/>
                <a:gd name="T6" fmla="*/ 204 w 342"/>
                <a:gd name="T7" fmla="*/ 131 h 632"/>
                <a:gd name="T8" fmla="*/ 0 w 342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632">
                  <a:moveTo>
                    <a:pt x="0" y="0"/>
                  </a:moveTo>
                  <a:lnTo>
                    <a:pt x="35" y="632"/>
                  </a:lnTo>
                  <a:lnTo>
                    <a:pt x="342" y="632"/>
                  </a:lnTo>
                  <a:lnTo>
                    <a:pt x="204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1902BD0D-7B75-4718-B01A-17765B678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842000"/>
              <a:ext cx="642938" cy="1000125"/>
            </a:xfrm>
            <a:custGeom>
              <a:avLst/>
              <a:gdLst>
                <a:gd name="T0" fmla="*/ 0 w 405"/>
                <a:gd name="T1" fmla="*/ 109 h 630"/>
                <a:gd name="T2" fmla="*/ 167 w 405"/>
                <a:gd name="T3" fmla="*/ 630 h 630"/>
                <a:gd name="T4" fmla="*/ 405 w 405"/>
                <a:gd name="T5" fmla="*/ 630 h 630"/>
                <a:gd name="T6" fmla="*/ 204 w 405"/>
                <a:gd name="T7" fmla="*/ 0 h 630"/>
                <a:gd name="T8" fmla="*/ 0 w 405"/>
                <a:gd name="T9" fmla="*/ 10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630">
                  <a:moveTo>
                    <a:pt x="0" y="109"/>
                  </a:moveTo>
                  <a:lnTo>
                    <a:pt x="167" y="630"/>
                  </a:lnTo>
                  <a:lnTo>
                    <a:pt x="405" y="630"/>
                  </a:lnTo>
                  <a:lnTo>
                    <a:pt x="204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5F097E97-A510-4F7A-A4C0-7B6FFB0323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8525" y="5865813"/>
              <a:ext cx="1136650" cy="976313"/>
            </a:xfrm>
            <a:custGeom>
              <a:avLst/>
              <a:gdLst>
                <a:gd name="T0" fmla="*/ 0 w 716"/>
                <a:gd name="T1" fmla="*/ 0 h 615"/>
                <a:gd name="T2" fmla="*/ 309 w 716"/>
                <a:gd name="T3" fmla="*/ 615 h 615"/>
                <a:gd name="T4" fmla="*/ 716 w 716"/>
                <a:gd name="T5" fmla="*/ 615 h 615"/>
                <a:gd name="T6" fmla="*/ 278 w 716"/>
                <a:gd name="T7" fmla="*/ 0 h 615"/>
                <a:gd name="T8" fmla="*/ 0 w 716"/>
                <a:gd name="T9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6" h="615">
                  <a:moveTo>
                    <a:pt x="0" y="0"/>
                  </a:moveTo>
                  <a:lnTo>
                    <a:pt x="309" y="615"/>
                  </a:lnTo>
                  <a:lnTo>
                    <a:pt x="716" y="615"/>
                  </a:lnTo>
                  <a:lnTo>
                    <a:pt x="2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E82AB4D0-AC3A-440E-AC22-186DC06F77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15300" y="2205038"/>
              <a:ext cx="180975" cy="228600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  <a:gd name="T8" fmla="*/ 0 w 11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AB66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3A1D29BA-CD01-49D5-873F-54291445B0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15300" y="2205038"/>
              <a:ext cx="180975" cy="228600"/>
            </a:xfrm>
            <a:custGeom>
              <a:avLst/>
              <a:gdLst>
                <a:gd name="T0" fmla="*/ 0 w 114"/>
                <a:gd name="T1" fmla="*/ 144 h 144"/>
                <a:gd name="T2" fmla="*/ 114 w 114"/>
                <a:gd name="T3" fmla="*/ 71 h 144"/>
                <a:gd name="T4" fmla="*/ 43 w 114"/>
                <a:gd name="T5" fmla="*/ 0 h 144"/>
                <a:gd name="T6" fmla="*/ 0 w 114"/>
                <a:gd name="T7" fmla="*/ 1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44">
                  <a:moveTo>
                    <a:pt x="0" y="144"/>
                  </a:moveTo>
                  <a:lnTo>
                    <a:pt x="114" y="71"/>
                  </a:lnTo>
                  <a:lnTo>
                    <a:pt x="43" y="0"/>
                  </a:lnTo>
                  <a:lnTo>
                    <a:pt x="0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2CD0DF80-9F33-406B-9E01-5460D05BA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3538" y="1706563"/>
              <a:ext cx="871538" cy="952500"/>
            </a:xfrm>
            <a:custGeom>
              <a:avLst/>
              <a:gdLst>
                <a:gd name="T0" fmla="*/ 0 w 549"/>
                <a:gd name="T1" fmla="*/ 260 h 600"/>
                <a:gd name="T2" fmla="*/ 369 w 549"/>
                <a:gd name="T3" fmla="*/ 600 h 600"/>
                <a:gd name="T4" fmla="*/ 549 w 549"/>
                <a:gd name="T5" fmla="*/ 314 h 600"/>
                <a:gd name="T6" fmla="*/ 157 w 549"/>
                <a:gd name="T7" fmla="*/ 0 h 600"/>
                <a:gd name="T8" fmla="*/ 0 w 549"/>
                <a:gd name="T9" fmla="*/ 26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9" h="600">
                  <a:moveTo>
                    <a:pt x="0" y="260"/>
                  </a:moveTo>
                  <a:lnTo>
                    <a:pt x="369" y="600"/>
                  </a:lnTo>
                  <a:lnTo>
                    <a:pt x="549" y="314"/>
                  </a:lnTo>
                  <a:lnTo>
                    <a:pt x="157" y="0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827DFE5F-1DD8-43E0-96F7-789BF2424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0263" y="2244725"/>
              <a:ext cx="701675" cy="642938"/>
            </a:xfrm>
            <a:custGeom>
              <a:avLst/>
              <a:gdLst>
                <a:gd name="T0" fmla="*/ 72 w 236"/>
                <a:gd name="T1" fmla="*/ 11 h 217"/>
                <a:gd name="T2" fmla="*/ 161 w 236"/>
                <a:gd name="T3" fmla="*/ 64 h 217"/>
                <a:gd name="T4" fmla="*/ 231 w 236"/>
                <a:gd name="T5" fmla="*/ 141 h 217"/>
                <a:gd name="T6" fmla="*/ 169 w 236"/>
                <a:gd name="T7" fmla="*/ 217 h 217"/>
                <a:gd name="T8" fmla="*/ 0 w 236"/>
                <a:gd name="T9" fmla="*/ 162 h 217"/>
                <a:gd name="T10" fmla="*/ 0 w 236"/>
                <a:gd name="T11" fmla="*/ 81 h 217"/>
                <a:gd name="T12" fmla="*/ 46 w 236"/>
                <a:gd name="T13" fmla="*/ 0 h 217"/>
                <a:gd name="T14" fmla="*/ 72 w 236"/>
                <a:gd name="T15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6" h="217">
                  <a:moveTo>
                    <a:pt x="72" y="11"/>
                  </a:moveTo>
                  <a:cubicBezTo>
                    <a:pt x="72" y="11"/>
                    <a:pt x="86" y="56"/>
                    <a:pt x="161" y="64"/>
                  </a:cubicBezTo>
                  <a:cubicBezTo>
                    <a:pt x="236" y="72"/>
                    <a:pt x="231" y="141"/>
                    <a:pt x="231" y="141"/>
                  </a:cubicBezTo>
                  <a:cubicBezTo>
                    <a:pt x="169" y="217"/>
                    <a:pt x="169" y="217"/>
                    <a:pt x="169" y="217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72" y="11"/>
                  </a:lnTo>
                  <a:close/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DF8B815B-78EE-458A-B9CA-A079C22AE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4338" y="5354638"/>
              <a:ext cx="163513" cy="392113"/>
            </a:xfrm>
            <a:custGeom>
              <a:avLst/>
              <a:gdLst>
                <a:gd name="T0" fmla="*/ 7 w 55"/>
                <a:gd name="T1" fmla="*/ 0 h 132"/>
                <a:gd name="T2" fmla="*/ 0 w 55"/>
                <a:gd name="T3" fmla="*/ 117 h 132"/>
                <a:gd name="T4" fmla="*/ 38 w 55"/>
                <a:gd name="T5" fmla="*/ 132 h 132"/>
                <a:gd name="T6" fmla="*/ 55 w 55"/>
                <a:gd name="T7" fmla="*/ 14 h 132"/>
                <a:gd name="T8" fmla="*/ 7 w 5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32">
                  <a:moveTo>
                    <a:pt x="7" y="0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1" y="131"/>
                    <a:pt x="38" y="132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3FAD2102-D2EF-434D-AD31-3DAF21EED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4713" y="5313363"/>
              <a:ext cx="119063" cy="395288"/>
            </a:xfrm>
            <a:custGeom>
              <a:avLst/>
              <a:gdLst>
                <a:gd name="T0" fmla="*/ 0 w 40"/>
                <a:gd name="T1" fmla="*/ 14 h 133"/>
                <a:gd name="T2" fmla="*/ 8 w 40"/>
                <a:gd name="T3" fmla="*/ 121 h 133"/>
                <a:gd name="T4" fmla="*/ 40 w 40"/>
                <a:gd name="T5" fmla="*/ 112 h 133"/>
                <a:gd name="T6" fmla="*/ 36 w 40"/>
                <a:gd name="T7" fmla="*/ 0 h 133"/>
                <a:gd name="T8" fmla="*/ 0 w 40"/>
                <a:gd name="T9" fmla="*/ 1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3">
                  <a:moveTo>
                    <a:pt x="0" y="14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18" y="133"/>
                    <a:pt x="40" y="11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solidFill>
              <a:srgbClr val="D45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95011353-521D-4C93-A0BC-61329C72E2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4338" y="5578475"/>
              <a:ext cx="133350" cy="168275"/>
            </a:xfrm>
            <a:custGeom>
              <a:avLst/>
              <a:gdLst>
                <a:gd name="T0" fmla="*/ 3 w 45"/>
                <a:gd name="T1" fmla="*/ 0 h 57"/>
                <a:gd name="T2" fmla="*/ 45 w 45"/>
                <a:gd name="T3" fmla="*/ 7 h 57"/>
                <a:gd name="T4" fmla="*/ 38 w 45"/>
                <a:gd name="T5" fmla="*/ 57 h 57"/>
                <a:gd name="T6" fmla="*/ 0 w 45"/>
                <a:gd name="T7" fmla="*/ 42 h 57"/>
                <a:gd name="T8" fmla="*/ 3 w 4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3" y="0"/>
                  </a:moveTo>
                  <a:cubicBezTo>
                    <a:pt x="3" y="0"/>
                    <a:pt x="29" y="9"/>
                    <a:pt x="45" y="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8" y="57"/>
                    <a:pt x="0" y="42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6976DA22-2AAB-4AB7-BFD4-A1997327DC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0588" y="5497513"/>
              <a:ext cx="103188" cy="196850"/>
            </a:xfrm>
            <a:custGeom>
              <a:avLst/>
              <a:gdLst>
                <a:gd name="T0" fmla="*/ 0 w 35"/>
                <a:gd name="T1" fmla="*/ 15 h 66"/>
                <a:gd name="T2" fmla="*/ 33 w 35"/>
                <a:gd name="T3" fmla="*/ 0 h 66"/>
                <a:gd name="T4" fmla="*/ 35 w 35"/>
                <a:gd name="T5" fmla="*/ 50 h 66"/>
                <a:gd name="T6" fmla="*/ 3 w 35"/>
                <a:gd name="T7" fmla="*/ 59 h 66"/>
                <a:gd name="T8" fmla="*/ 0 w 35"/>
                <a:gd name="T9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6">
                  <a:moveTo>
                    <a:pt x="0" y="15"/>
                  </a:moveTo>
                  <a:cubicBezTo>
                    <a:pt x="0" y="15"/>
                    <a:pt x="19" y="13"/>
                    <a:pt x="33" y="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19" y="66"/>
                    <a:pt x="3" y="59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7A31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B8FABF57-4FDB-4FB0-B360-6A6174993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34100" y="2317750"/>
              <a:ext cx="2336800" cy="3216275"/>
            </a:xfrm>
            <a:custGeom>
              <a:avLst/>
              <a:gdLst>
                <a:gd name="T0" fmla="*/ 390 w 786"/>
                <a:gd name="T1" fmla="*/ 146 h 1083"/>
                <a:gd name="T2" fmla="*/ 521 w 786"/>
                <a:gd name="T3" fmla="*/ 192 h 1083"/>
                <a:gd name="T4" fmla="*/ 639 w 786"/>
                <a:gd name="T5" fmla="*/ 0 h 1083"/>
                <a:gd name="T6" fmla="*/ 786 w 786"/>
                <a:gd name="T7" fmla="*/ 213 h 1083"/>
                <a:gd name="T8" fmla="*/ 568 w 786"/>
                <a:gd name="T9" fmla="*/ 381 h 1083"/>
                <a:gd name="T10" fmla="*/ 424 w 786"/>
                <a:gd name="T11" fmla="*/ 345 h 1083"/>
                <a:gd name="T12" fmla="*/ 468 w 786"/>
                <a:gd name="T13" fmla="*/ 970 h 1083"/>
                <a:gd name="T14" fmla="*/ 193 w 786"/>
                <a:gd name="T15" fmla="*/ 1017 h 1083"/>
                <a:gd name="T16" fmla="*/ 68 w 786"/>
                <a:gd name="T17" fmla="*/ 941 h 1083"/>
                <a:gd name="T18" fmla="*/ 162 w 786"/>
                <a:gd name="T19" fmla="*/ 339 h 1083"/>
                <a:gd name="T20" fmla="*/ 0 w 786"/>
                <a:gd name="T21" fmla="*/ 540 h 1083"/>
                <a:gd name="T22" fmla="*/ 9 w 786"/>
                <a:gd name="T23" fmla="*/ 236 h 1083"/>
                <a:gd name="T24" fmla="*/ 162 w 786"/>
                <a:gd name="T25" fmla="*/ 141 h 1083"/>
                <a:gd name="T26" fmla="*/ 292 w 786"/>
                <a:gd name="T27" fmla="*/ 119 h 1083"/>
                <a:gd name="T28" fmla="*/ 390 w 786"/>
                <a:gd name="T29" fmla="*/ 146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083">
                  <a:moveTo>
                    <a:pt x="390" y="146"/>
                  </a:moveTo>
                  <a:cubicBezTo>
                    <a:pt x="521" y="192"/>
                    <a:pt x="521" y="192"/>
                    <a:pt x="521" y="192"/>
                  </a:cubicBezTo>
                  <a:cubicBezTo>
                    <a:pt x="639" y="0"/>
                    <a:pt x="639" y="0"/>
                    <a:pt x="639" y="0"/>
                  </a:cubicBezTo>
                  <a:cubicBezTo>
                    <a:pt x="786" y="213"/>
                    <a:pt x="786" y="213"/>
                    <a:pt x="786" y="213"/>
                  </a:cubicBezTo>
                  <a:cubicBezTo>
                    <a:pt x="786" y="213"/>
                    <a:pt x="699" y="404"/>
                    <a:pt x="568" y="381"/>
                  </a:cubicBezTo>
                  <a:cubicBezTo>
                    <a:pt x="437" y="357"/>
                    <a:pt x="424" y="345"/>
                    <a:pt x="424" y="345"/>
                  </a:cubicBezTo>
                  <a:cubicBezTo>
                    <a:pt x="468" y="970"/>
                    <a:pt x="468" y="970"/>
                    <a:pt x="468" y="970"/>
                  </a:cubicBezTo>
                  <a:cubicBezTo>
                    <a:pt x="468" y="970"/>
                    <a:pt x="327" y="1083"/>
                    <a:pt x="193" y="1017"/>
                  </a:cubicBezTo>
                  <a:cubicBezTo>
                    <a:pt x="60" y="952"/>
                    <a:pt x="68" y="941"/>
                    <a:pt x="68" y="941"/>
                  </a:cubicBezTo>
                  <a:cubicBezTo>
                    <a:pt x="162" y="339"/>
                    <a:pt x="162" y="339"/>
                    <a:pt x="162" y="339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6"/>
                    <a:pt x="81" y="171"/>
                    <a:pt x="162" y="141"/>
                  </a:cubicBezTo>
                  <a:cubicBezTo>
                    <a:pt x="243" y="110"/>
                    <a:pt x="267" y="118"/>
                    <a:pt x="292" y="119"/>
                  </a:cubicBezTo>
                  <a:cubicBezTo>
                    <a:pt x="316" y="120"/>
                    <a:pt x="390" y="146"/>
                    <a:pt x="390" y="146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646615F6-DA25-420A-8992-1C44B9C0BE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5075" y="2190750"/>
              <a:ext cx="865188" cy="600075"/>
            </a:xfrm>
            <a:custGeom>
              <a:avLst/>
              <a:gdLst>
                <a:gd name="T0" fmla="*/ 205 w 291"/>
                <a:gd name="T1" fmla="*/ 18 h 202"/>
                <a:gd name="T2" fmla="*/ 119 w 291"/>
                <a:gd name="T3" fmla="*/ 41 h 202"/>
                <a:gd name="T4" fmla="*/ 68 w 291"/>
                <a:gd name="T5" fmla="*/ 202 h 202"/>
                <a:gd name="T6" fmla="*/ 211 w 291"/>
                <a:gd name="T7" fmla="*/ 163 h 202"/>
                <a:gd name="T8" fmla="*/ 272 w 291"/>
                <a:gd name="T9" fmla="*/ 167 h 202"/>
                <a:gd name="T10" fmla="*/ 287 w 291"/>
                <a:gd name="T11" fmla="*/ 69 h 202"/>
                <a:gd name="T12" fmla="*/ 238 w 291"/>
                <a:gd name="T13" fmla="*/ 0 h 202"/>
                <a:gd name="T14" fmla="*/ 212 w 291"/>
                <a:gd name="T15" fmla="*/ 7 h 202"/>
                <a:gd name="T16" fmla="*/ 205 w 291"/>
                <a:gd name="T17" fmla="*/ 1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02">
                  <a:moveTo>
                    <a:pt x="205" y="18"/>
                  </a:moveTo>
                  <a:cubicBezTo>
                    <a:pt x="205" y="18"/>
                    <a:pt x="166" y="36"/>
                    <a:pt x="119" y="41"/>
                  </a:cubicBezTo>
                  <a:cubicBezTo>
                    <a:pt x="72" y="46"/>
                    <a:pt x="0" y="100"/>
                    <a:pt x="68" y="202"/>
                  </a:cubicBezTo>
                  <a:cubicBezTo>
                    <a:pt x="68" y="202"/>
                    <a:pt x="132" y="156"/>
                    <a:pt x="211" y="163"/>
                  </a:cubicBezTo>
                  <a:cubicBezTo>
                    <a:pt x="291" y="171"/>
                    <a:pt x="272" y="167"/>
                    <a:pt x="272" y="167"/>
                  </a:cubicBezTo>
                  <a:cubicBezTo>
                    <a:pt x="287" y="69"/>
                    <a:pt x="287" y="69"/>
                    <a:pt x="287" y="69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05" y="18"/>
                    <a:pt x="205" y="18"/>
                    <a:pt x="205" y="18"/>
                  </a:cubicBezTo>
                </a:path>
              </a:pathLst>
            </a:custGeom>
            <a:solidFill>
              <a:srgbClr val="261B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26155E7B-0B7B-4F1D-801B-94F657ACA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2463" y="2122488"/>
              <a:ext cx="330200" cy="388938"/>
            </a:xfrm>
            <a:custGeom>
              <a:avLst/>
              <a:gdLst>
                <a:gd name="T0" fmla="*/ 0 w 111"/>
                <a:gd name="T1" fmla="*/ 0 h 131"/>
                <a:gd name="T2" fmla="*/ 5 w 111"/>
                <a:gd name="T3" fmla="*/ 82 h 131"/>
                <a:gd name="T4" fmla="*/ 43 w 111"/>
                <a:gd name="T5" fmla="*/ 122 h 131"/>
                <a:gd name="T6" fmla="*/ 105 w 111"/>
                <a:gd name="T7" fmla="*/ 95 h 131"/>
                <a:gd name="T8" fmla="*/ 109 w 111"/>
                <a:gd name="T9" fmla="*/ 0 h 131"/>
                <a:gd name="T10" fmla="*/ 0 w 11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31">
                  <a:moveTo>
                    <a:pt x="0" y="0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113"/>
                    <a:pt x="43" y="122"/>
                  </a:cubicBezTo>
                  <a:cubicBezTo>
                    <a:pt x="80" y="131"/>
                    <a:pt x="99" y="114"/>
                    <a:pt x="105" y="95"/>
                  </a:cubicBezTo>
                  <a:cubicBezTo>
                    <a:pt x="111" y="76"/>
                    <a:pt x="109" y="0"/>
                    <a:pt x="10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9C0D9FC7-DB87-42E5-BEE8-B009F078C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9150" y="2244725"/>
              <a:ext cx="30163" cy="38100"/>
            </a:xfrm>
            <a:custGeom>
              <a:avLst/>
              <a:gdLst>
                <a:gd name="T0" fmla="*/ 5 w 10"/>
                <a:gd name="T1" fmla="*/ 0 h 13"/>
                <a:gd name="T2" fmla="*/ 0 w 10"/>
                <a:gd name="T3" fmla="*/ 11 h 13"/>
                <a:gd name="T4" fmla="*/ 8 w 10"/>
                <a:gd name="T5" fmla="*/ 9 h 13"/>
                <a:gd name="T6" fmla="*/ 5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5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6" y="13"/>
                    <a:pt x="8" y="9"/>
                  </a:cubicBezTo>
                  <a:cubicBezTo>
                    <a:pt x="10" y="5"/>
                    <a:pt x="6" y="1"/>
                    <a:pt x="5" y="0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D32A1B4C-1278-4905-8AFE-31B6C3695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9625" y="2238375"/>
              <a:ext cx="39688" cy="41275"/>
            </a:xfrm>
            <a:custGeom>
              <a:avLst/>
              <a:gdLst>
                <a:gd name="T0" fmla="*/ 6 w 13"/>
                <a:gd name="T1" fmla="*/ 2 h 14"/>
                <a:gd name="T2" fmla="*/ 6 w 13"/>
                <a:gd name="T3" fmla="*/ 2 h 14"/>
                <a:gd name="T4" fmla="*/ 9 w 13"/>
                <a:gd name="T5" fmla="*/ 4 h 14"/>
                <a:gd name="T6" fmla="*/ 11 w 13"/>
                <a:gd name="T7" fmla="*/ 8 h 14"/>
                <a:gd name="T8" fmla="*/ 11 w 13"/>
                <a:gd name="T9" fmla="*/ 9 h 14"/>
                <a:gd name="T10" fmla="*/ 9 w 13"/>
                <a:gd name="T11" fmla="*/ 12 h 14"/>
                <a:gd name="T12" fmla="*/ 6 w 13"/>
                <a:gd name="T13" fmla="*/ 12 h 14"/>
                <a:gd name="T14" fmla="*/ 3 w 13"/>
                <a:gd name="T15" fmla="*/ 12 h 14"/>
                <a:gd name="T16" fmla="*/ 2 w 13"/>
                <a:gd name="T17" fmla="*/ 11 h 14"/>
                <a:gd name="T18" fmla="*/ 2 w 13"/>
                <a:gd name="T19" fmla="*/ 11 h 14"/>
                <a:gd name="T20" fmla="*/ 1 w 13"/>
                <a:gd name="T21" fmla="*/ 12 h 14"/>
                <a:gd name="T22" fmla="*/ 1 w 13"/>
                <a:gd name="T23" fmla="*/ 13 h 14"/>
                <a:gd name="T24" fmla="*/ 6 w 13"/>
                <a:gd name="T25" fmla="*/ 14 h 14"/>
                <a:gd name="T26" fmla="*/ 10 w 13"/>
                <a:gd name="T27" fmla="*/ 13 h 14"/>
                <a:gd name="T28" fmla="*/ 13 w 13"/>
                <a:gd name="T29" fmla="*/ 10 h 14"/>
                <a:gd name="T30" fmla="*/ 13 w 13"/>
                <a:gd name="T31" fmla="*/ 8 h 14"/>
                <a:gd name="T32" fmla="*/ 10 w 13"/>
                <a:gd name="T33" fmla="*/ 2 h 14"/>
                <a:gd name="T34" fmla="*/ 6 w 13"/>
                <a:gd name="T35" fmla="*/ 0 h 14"/>
                <a:gd name="T36" fmla="*/ 5 w 13"/>
                <a:gd name="T37" fmla="*/ 1 h 14"/>
                <a:gd name="T38" fmla="*/ 6 w 13"/>
                <a:gd name="T3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4"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8" y="3"/>
                    <a:pt x="9" y="4"/>
                  </a:cubicBezTo>
                  <a:cubicBezTo>
                    <a:pt x="10" y="5"/>
                    <a:pt x="11" y="6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0" y="10"/>
                    <a:pt x="10" y="11"/>
                    <a:pt x="9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3"/>
                    <a:pt x="3" y="14"/>
                    <a:pt x="6" y="14"/>
                  </a:cubicBezTo>
                  <a:cubicBezTo>
                    <a:pt x="7" y="14"/>
                    <a:pt x="9" y="14"/>
                    <a:pt x="10" y="13"/>
                  </a:cubicBezTo>
                  <a:cubicBezTo>
                    <a:pt x="11" y="13"/>
                    <a:pt x="12" y="12"/>
                    <a:pt x="13" y="10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5"/>
                    <a:pt x="11" y="3"/>
                    <a:pt x="10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2"/>
                    <a:pt x="5" y="2"/>
                    <a:pt x="6" y="2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1" name="Oval 37">
              <a:extLst>
                <a:ext uri="{FF2B5EF4-FFF2-40B4-BE49-F238E27FC236}">
                  <a16:creationId xmlns:a16="http://schemas.microsoft.com/office/drawing/2014/main" id="{5C1B1280-1984-43F6-8E30-446A561156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94538" y="2211388"/>
              <a:ext cx="20638" cy="23813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2" name="Oval 38">
              <a:extLst>
                <a:ext uri="{FF2B5EF4-FFF2-40B4-BE49-F238E27FC236}">
                  <a16:creationId xmlns:a16="http://schemas.microsoft.com/office/drawing/2014/main" id="{3F616ED6-63D0-40B5-9AC3-3C769E238A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27888" y="2222500"/>
              <a:ext cx="20638" cy="22225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1429B8F0-5DF5-4DA1-8708-FA761C25FA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5" y="2276475"/>
              <a:ext cx="246063" cy="180975"/>
            </a:xfrm>
            <a:custGeom>
              <a:avLst/>
              <a:gdLst>
                <a:gd name="T0" fmla="*/ 5 w 83"/>
                <a:gd name="T1" fmla="*/ 0 h 61"/>
                <a:gd name="T2" fmla="*/ 83 w 83"/>
                <a:gd name="T3" fmla="*/ 27 h 61"/>
                <a:gd name="T4" fmla="*/ 30 w 83"/>
                <a:gd name="T5" fmla="*/ 46 h 61"/>
                <a:gd name="T6" fmla="*/ 5 w 83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61">
                  <a:moveTo>
                    <a:pt x="5" y="0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61" y="61"/>
                    <a:pt x="30" y="46"/>
                  </a:cubicBezTo>
                  <a:cubicBezTo>
                    <a:pt x="0" y="32"/>
                    <a:pt x="5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B15F77CD-2A82-4ECF-B132-4E28E6243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231775" cy="80963"/>
            </a:xfrm>
            <a:custGeom>
              <a:avLst/>
              <a:gdLst>
                <a:gd name="T0" fmla="*/ 0 w 78"/>
                <a:gd name="T1" fmla="*/ 0 h 27"/>
                <a:gd name="T2" fmla="*/ 78 w 78"/>
                <a:gd name="T3" fmla="*/ 27 h 27"/>
                <a:gd name="T4" fmla="*/ 0 w 7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27">
                  <a:moveTo>
                    <a:pt x="0" y="0"/>
                  </a:moveTo>
                  <a:cubicBezTo>
                    <a:pt x="0" y="0"/>
                    <a:pt x="53" y="11"/>
                    <a:pt x="78" y="2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23548764-864A-404F-BA76-249E91CEEF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7388" y="2276475"/>
              <a:ext cx="241300" cy="166688"/>
            </a:xfrm>
            <a:custGeom>
              <a:avLst/>
              <a:gdLst>
                <a:gd name="T0" fmla="*/ 81 w 81"/>
                <a:gd name="T1" fmla="*/ 27 h 56"/>
                <a:gd name="T2" fmla="*/ 38 w 81"/>
                <a:gd name="T3" fmla="*/ 53 h 56"/>
                <a:gd name="T4" fmla="*/ 3 w 81"/>
                <a:gd name="T5" fmla="*/ 0 h 56"/>
                <a:gd name="T6" fmla="*/ 42 w 81"/>
                <a:gd name="T7" fmla="*/ 49 h 56"/>
                <a:gd name="T8" fmla="*/ 81 w 81"/>
                <a:gd name="T9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6">
                  <a:moveTo>
                    <a:pt x="81" y="27"/>
                  </a:moveTo>
                  <a:cubicBezTo>
                    <a:pt x="81" y="27"/>
                    <a:pt x="64" y="56"/>
                    <a:pt x="38" y="53"/>
                  </a:cubicBezTo>
                  <a:cubicBezTo>
                    <a:pt x="12" y="49"/>
                    <a:pt x="0" y="18"/>
                    <a:pt x="3" y="0"/>
                  </a:cubicBezTo>
                  <a:cubicBezTo>
                    <a:pt x="3" y="0"/>
                    <a:pt x="2" y="44"/>
                    <a:pt x="42" y="49"/>
                  </a:cubicBezTo>
                  <a:cubicBezTo>
                    <a:pt x="42" y="49"/>
                    <a:pt x="55" y="56"/>
                    <a:pt x="81" y="2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0B620BB9-850B-4546-A434-0C4F404193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4400" y="2351088"/>
              <a:ext cx="14288" cy="14288"/>
            </a:xfrm>
            <a:custGeom>
              <a:avLst/>
              <a:gdLst>
                <a:gd name="T0" fmla="*/ 0 w 9"/>
                <a:gd name="T1" fmla="*/ 0 h 9"/>
                <a:gd name="T2" fmla="*/ 3 w 9"/>
                <a:gd name="T3" fmla="*/ 9 h 9"/>
                <a:gd name="T4" fmla="*/ 9 w 9"/>
                <a:gd name="T5" fmla="*/ 4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3" y="9"/>
                  </a:lnTo>
                  <a:lnTo>
                    <a:pt x="9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FD5403BA-19EE-4821-9056-DB59DA026E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11113" cy="9525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6F5D6309-58D9-4C8E-B84E-4A09ADDDC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11113" cy="9525"/>
            </a:xfrm>
            <a:custGeom>
              <a:avLst/>
              <a:gdLst>
                <a:gd name="T0" fmla="*/ 7 w 7"/>
                <a:gd name="T1" fmla="*/ 2 h 6"/>
                <a:gd name="T2" fmla="*/ 0 w 7"/>
                <a:gd name="T3" fmla="*/ 6 h 6"/>
                <a:gd name="T4" fmla="*/ 0 w 7"/>
                <a:gd name="T5" fmla="*/ 0 h 6"/>
                <a:gd name="T6" fmla="*/ 7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7" y="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7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7F1B65B7-6D9D-4BC6-A9E5-88CA22B994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4200" y="2484438"/>
              <a:ext cx="358775" cy="422275"/>
            </a:xfrm>
            <a:custGeom>
              <a:avLst/>
              <a:gdLst>
                <a:gd name="T0" fmla="*/ 88 w 121"/>
                <a:gd name="T1" fmla="*/ 3 h 142"/>
                <a:gd name="T2" fmla="*/ 84 w 121"/>
                <a:gd name="T3" fmla="*/ 59 h 142"/>
                <a:gd name="T4" fmla="*/ 94 w 121"/>
                <a:gd name="T5" fmla="*/ 77 h 142"/>
                <a:gd name="T6" fmla="*/ 121 w 121"/>
                <a:gd name="T7" fmla="*/ 90 h 142"/>
                <a:gd name="T8" fmla="*/ 49 w 121"/>
                <a:gd name="T9" fmla="*/ 121 h 142"/>
                <a:gd name="T10" fmla="*/ 0 w 121"/>
                <a:gd name="T11" fmla="*/ 64 h 142"/>
                <a:gd name="T12" fmla="*/ 38 w 121"/>
                <a:gd name="T13" fmla="*/ 66 h 142"/>
                <a:gd name="T14" fmla="*/ 57 w 121"/>
                <a:gd name="T15" fmla="*/ 51 h 142"/>
                <a:gd name="T16" fmla="*/ 66 w 121"/>
                <a:gd name="T17" fmla="*/ 0 h 142"/>
                <a:gd name="T18" fmla="*/ 88 w 121"/>
                <a:gd name="T19" fmla="*/ 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42">
                  <a:moveTo>
                    <a:pt x="88" y="3"/>
                  </a:moveTo>
                  <a:cubicBezTo>
                    <a:pt x="84" y="59"/>
                    <a:pt x="84" y="59"/>
                    <a:pt x="84" y="59"/>
                  </a:cubicBezTo>
                  <a:cubicBezTo>
                    <a:pt x="83" y="67"/>
                    <a:pt x="87" y="74"/>
                    <a:pt x="94" y="77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1" y="90"/>
                    <a:pt x="89" y="142"/>
                    <a:pt x="49" y="121"/>
                  </a:cubicBezTo>
                  <a:cubicBezTo>
                    <a:pt x="8" y="101"/>
                    <a:pt x="4" y="87"/>
                    <a:pt x="0" y="64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7" y="67"/>
                    <a:pt x="55" y="60"/>
                    <a:pt x="57" y="5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8" y="3"/>
                    <a:pt x="88" y="3"/>
                    <a:pt x="88" y="3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81178B19-7640-4A61-AC40-D3A0F75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8325" y="2112963"/>
              <a:ext cx="350838" cy="131763"/>
            </a:xfrm>
            <a:custGeom>
              <a:avLst/>
              <a:gdLst>
                <a:gd name="T0" fmla="*/ 2 w 118"/>
                <a:gd name="T1" fmla="*/ 44 h 44"/>
                <a:gd name="T2" fmla="*/ 25 w 118"/>
                <a:gd name="T3" fmla="*/ 33 h 44"/>
                <a:gd name="T4" fmla="*/ 95 w 118"/>
                <a:gd name="T5" fmla="*/ 24 h 44"/>
                <a:gd name="T6" fmla="*/ 118 w 118"/>
                <a:gd name="T7" fmla="*/ 3 h 44"/>
                <a:gd name="T8" fmla="*/ 28 w 118"/>
                <a:gd name="T9" fmla="*/ 3 h 44"/>
                <a:gd name="T10" fmla="*/ 2 w 118"/>
                <a:gd name="T1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4">
                  <a:moveTo>
                    <a:pt x="2" y="44"/>
                  </a:moveTo>
                  <a:cubicBezTo>
                    <a:pt x="2" y="44"/>
                    <a:pt x="7" y="29"/>
                    <a:pt x="25" y="33"/>
                  </a:cubicBezTo>
                  <a:cubicBezTo>
                    <a:pt x="43" y="38"/>
                    <a:pt x="75" y="39"/>
                    <a:pt x="95" y="24"/>
                  </a:cubicBezTo>
                  <a:cubicBezTo>
                    <a:pt x="115" y="9"/>
                    <a:pt x="118" y="3"/>
                    <a:pt x="118" y="3"/>
                  </a:cubicBezTo>
                  <a:cubicBezTo>
                    <a:pt x="118" y="3"/>
                    <a:pt x="46" y="0"/>
                    <a:pt x="28" y="3"/>
                  </a:cubicBezTo>
                  <a:cubicBezTo>
                    <a:pt x="9" y="6"/>
                    <a:pt x="0" y="26"/>
                    <a:pt x="2" y="44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3034127D-4B35-4DA8-8F73-2B4002A76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9163" y="2122488"/>
              <a:ext cx="125413" cy="163513"/>
            </a:xfrm>
            <a:custGeom>
              <a:avLst/>
              <a:gdLst>
                <a:gd name="T0" fmla="*/ 0 w 42"/>
                <a:gd name="T1" fmla="*/ 0 h 55"/>
                <a:gd name="T2" fmla="*/ 42 w 42"/>
                <a:gd name="T3" fmla="*/ 55 h 55"/>
                <a:gd name="T4" fmla="*/ 27 w 42"/>
                <a:gd name="T5" fmla="*/ 16 h 55"/>
                <a:gd name="T6" fmla="*/ 19 w 42"/>
                <a:gd name="T7" fmla="*/ 0 h 55"/>
                <a:gd name="T8" fmla="*/ 0 w 42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5">
                  <a:moveTo>
                    <a:pt x="0" y="0"/>
                  </a:moveTo>
                  <a:cubicBezTo>
                    <a:pt x="0" y="0"/>
                    <a:pt x="6" y="52"/>
                    <a:pt x="42" y="55"/>
                  </a:cubicBezTo>
                  <a:cubicBezTo>
                    <a:pt x="42" y="55"/>
                    <a:pt x="28" y="31"/>
                    <a:pt x="27" y="16"/>
                  </a:cubicBezTo>
                  <a:cubicBezTo>
                    <a:pt x="26" y="1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28048D63-7262-44F8-8764-17DD4CC34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4513" y="2671763"/>
              <a:ext cx="431800" cy="228600"/>
            </a:xfrm>
            <a:custGeom>
              <a:avLst/>
              <a:gdLst>
                <a:gd name="T0" fmla="*/ 13 w 145"/>
                <a:gd name="T1" fmla="*/ 1 h 77"/>
                <a:gd name="T2" fmla="*/ 74 w 145"/>
                <a:gd name="T3" fmla="*/ 56 h 77"/>
                <a:gd name="T4" fmla="*/ 134 w 145"/>
                <a:gd name="T5" fmla="*/ 27 h 77"/>
                <a:gd name="T6" fmla="*/ 145 w 145"/>
                <a:gd name="T7" fmla="*/ 31 h 77"/>
                <a:gd name="T8" fmla="*/ 69 w 145"/>
                <a:gd name="T9" fmla="*/ 69 h 77"/>
                <a:gd name="T10" fmla="*/ 0 w 145"/>
                <a:gd name="T11" fmla="*/ 0 h 77"/>
                <a:gd name="T12" fmla="*/ 16 w 145"/>
                <a:gd name="T13" fmla="*/ 1 h 77"/>
                <a:gd name="T14" fmla="*/ 13 w 145"/>
                <a:gd name="T1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77">
                  <a:moveTo>
                    <a:pt x="13" y="1"/>
                  </a:moveTo>
                  <a:cubicBezTo>
                    <a:pt x="13" y="1"/>
                    <a:pt x="27" y="52"/>
                    <a:pt x="74" y="56"/>
                  </a:cubicBezTo>
                  <a:cubicBezTo>
                    <a:pt x="120" y="60"/>
                    <a:pt x="134" y="27"/>
                    <a:pt x="134" y="27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19" y="77"/>
                    <a:pt x="69" y="69"/>
                  </a:cubicBezTo>
                  <a:cubicBezTo>
                    <a:pt x="19" y="61"/>
                    <a:pt x="0" y="23"/>
                    <a:pt x="0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604581BD-7980-498C-AE3B-AEF56A0BEF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8150" y="2146300"/>
              <a:ext cx="220663" cy="373063"/>
            </a:xfrm>
            <a:custGeom>
              <a:avLst/>
              <a:gdLst>
                <a:gd name="T0" fmla="*/ 0 w 74"/>
                <a:gd name="T1" fmla="*/ 69 h 126"/>
                <a:gd name="T2" fmla="*/ 17 w 74"/>
                <a:gd name="T3" fmla="*/ 21 h 126"/>
                <a:gd name="T4" fmla="*/ 73 w 74"/>
                <a:gd name="T5" fmla="*/ 8 h 126"/>
                <a:gd name="T6" fmla="*/ 44 w 74"/>
                <a:gd name="T7" fmla="*/ 30 h 126"/>
                <a:gd name="T8" fmla="*/ 40 w 74"/>
                <a:gd name="T9" fmla="*/ 41 h 126"/>
                <a:gd name="T10" fmla="*/ 39 w 74"/>
                <a:gd name="T11" fmla="*/ 126 h 126"/>
                <a:gd name="T12" fmla="*/ 0 w 74"/>
                <a:gd name="T13" fmla="*/ 6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6">
                  <a:moveTo>
                    <a:pt x="0" y="69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74" y="0"/>
                    <a:pt x="73" y="8"/>
                  </a:cubicBezTo>
                  <a:cubicBezTo>
                    <a:pt x="71" y="17"/>
                    <a:pt x="55" y="33"/>
                    <a:pt x="44" y="30"/>
                  </a:cubicBezTo>
                  <a:cubicBezTo>
                    <a:pt x="33" y="26"/>
                    <a:pt x="36" y="35"/>
                    <a:pt x="40" y="41"/>
                  </a:cubicBezTo>
                  <a:cubicBezTo>
                    <a:pt x="45" y="47"/>
                    <a:pt x="60" y="101"/>
                    <a:pt x="39" y="126"/>
                  </a:cubicBezTo>
                  <a:lnTo>
                    <a:pt x="0" y="69"/>
                  </a:lnTo>
                  <a:close/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DDBC31D9-09E5-40A9-A5BB-DECB829A4A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2300" y="1870075"/>
              <a:ext cx="354013" cy="252413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5FDEF920-D4DB-4D2A-9F3F-5E98B2286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2300" y="1870075"/>
              <a:ext cx="354013" cy="252413"/>
            </a:xfrm>
            <a:custGeom>
              <a:avLst/>
              <a:gdLst>
                <a:gd name="T0" fmla="*/ 19 w 223"/>
                <a:gd name="T1" fmla="*/ 159 h 159"/>
                <a:gd name="T2" fmla="*/ 0 w 223"/>
                <a:gd name="T3" fmla="*/ 22 h 159"/>
                <a:gd name="T4" fmla="*/ 223 w 223"/>
                <a:gd name="T5" fmla="*/ 0 h 159"/>
                <a:gd name="T6" fmla="*/ 223 w 223"/>
                <a:gd name="T7" fmla="*/ 159 h 159"/>
                <a:gd name="T8" fmla="*/ 19 w 223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159">
                  <a:moveTo>
                    <a:pt x="19" y="159"/>
                  </a:moveTo>
                  <a:lnTo>
                    <a:pt x="0" y="22"/>
                  </a:lnTo>
                  <a:lnTo>
                    <a:pt x="223" y="0"/>
                  </a:lnTo>
                  <a:lnTo>
                    <a:pt x="223" y="159"/>
                  </a:lnTo>
                  <a:lnTo>
                    <a:pt x="19" y="15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71CE3A30-35FA-4A76-83BF-DB72E243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8450" y="1819275"/>
              <a:ext cx="960438" cy="160338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C79CBF7B-7419-4C0F-B363-571BE386F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8450" y="1819275"/>
              <a:ext cx="960438" cy="160338"/>
            </a:xfrm>
            <a:custGeom>
              <a:avLst/>
              <a:gdLst>
                <a:gd name="T0" fmla="*/ 0 w 605"/>
                <a:gd name="T1" fmla="*/ 86 h 101"/>
                <a:gd name="T2" fmla="*/ 0 w 605"/>
                <a:gd name="T3" fmla="*/ 101 h 101"/>
                <a:gd name="T4" fmla="*/ 605 w 605"/>
                <a:gd name="T5" fmla="*/ 17 h 101"/>
                <a:gd name="T6" fmla="*/ 592 w 605"/>
                <a:gd name="T7" fmla="*/ 0 h 101"/>
                <a:gd name="T8" fmla="*/ 0 w 605"/>
                <a:gd name="T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01">
                  <a:moveTo>
                    <a:pt x="0" y="86"/>
                  </a:moveTo>
                  <a:lnTo>
                    <a:pt x="0" y="101"/>
                  </a:lnTo>
                  <a:lnTo>
                    <a:pt x="605" y="17"/>
                  </a:lnTo>
                  <a:lnTo>
                    <a:pt x="592" y="0"/>
                  </a:lnTo>
                  <a:lnTo>
                    <a:pt x="0" y="8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8318D7CB-C01F-4CEA-836B-29735395C9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5913" y="1973263"/>
              <a:ext cx="95250" cy="303213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6CE10B1-12C9-4617-B108-A9BEFEFE9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5913" y="1973263"/>
              <a:ext cx="95250" cy="303213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28F9E070-AA8F-4D1A-83D1-F062EB287A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8525" y="5646738"/>
              <a:ext cx="441325" cy="168275"/>
            </a:xfrm>
            <a:custGeom>
              <a:avLst/>
              <a:gdLst>
                <a:gd name="T0" fmla="*/ 0 w 148"/>
                <a:gd name="T1" fmla="*/ 9 h 57"/>
                <a:gd name="T2" fmla="*/ 0 w 148"/>
                <a:gd name="T3" fmla="*/ 57 h 57"/>
                <a:gd name="T4" fmla="*/ 148 w 148"/>
                <a:gd name="T5" fmla="*/ 57 h 57"/>
                <a:gd name="T6" fmla="*/ 32 w 148"/>
                <a:gd name="T7" fmla="*/ 0 h 57"/>
                <a:gd name="T8" fmla="*/ 0 w 148"/>
                <a:gd name="T9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7">
                  <a:moveTo>
                    <a:pt x="0" y="9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7"/>
                    <a:pt x="129" y="36"/>
                    <a:pt x="32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71A27F30-D962-4916-9489-06A3D725AD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48525" y="5815013"/>
              <a:ext cx="441325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1C6C9A6C-4E0A-46C4-A9B6-9D2223C17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711825"/>
              <a:ext cx="323850" cy="269875"/>
            </a:xfrm>
            <a:custGeom>
              <a:avLst/>
              <a:gdLst>
                <a:gd name="T0" fmla="*/ 109 w 109"/>
                <a:gd name="T1" fmla="*/ 12 h 91"/>
                <a:gd name="T2" fmla="*/ 106 w 109"/>
                <a:gd name="T3" fmla="*/ 35 h 91"/>
                <a:gd name="T4" fmla="*/ 0 w 109"/>
                <a:gd name="T5" fmla="*/ 91 h 91"/>
                <a:gd name="T6" fmla="*/ 72 w 109"/>
                <a:gd name="T7" fmla="*/ 0 h 91"/>
                <a:gd name="T8" fmla="*/ 109 w 109"/>
                <a:gd name="T9" fmla="*/ 1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91">
                  <a:moveTo>
                    <a:pt x="109" y="12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33" y="88"/>
                    <a:pt x="0" y="91"/>
                  </a:cubicBezTo>
                  <a:cubicBezTo>
                    <a:pt x="0" y="91"/>
                    <a:pt x="11" y="32"/>
                    <a:pt x="72" y="0"/>
                  </a:cubicBezTo>
                  <a:cubicBezTo>
                    <a:pt x="109" y="12"/>
                    <a:pt x="109" y="12"/>
                    <a:pt x="109" y="12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5603D4B4-CFC9-49EB-81D9-1A1DD1161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815013"/>
              <a:ext cx="333375" cy="200025"/>
            </a:xfrm>
            <a:custGeom>
              <a:avLst/>
              <a:gdLst>
                <a:gd name="T0" fmla="*/ 3 w 112"/>
                <a:gd name="T1" fmla="*/ 56 h 67"/>
                <a:gd name="T2" fmla="*/ 3 w 112"/>
                <a:gd name="T3" fmla="*/ 67 h 67"/>
                <a:gd name="T4" fmla="*/ 112 w 112"/>
                <a:gd name="T5" fmla="*/ 9 h 67"/>
                <a:gd name="T6" fmla="*/ 109 w 112"/>
                <a:gd name="T7" fmla="*/ 0 h 67"/>
                <a:gd name="T8" fmla="*/ 19 w 112"/>
                <a:gd name="T9" fmla="*/ 52 h 67"/>
                <a:gd name="T10" fmla="*/ 3 w 112"/>
                <a:gd name="T11" fmla="*/ 5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67">
                  <a:moveTo>
                    <a:pt x="3" y="56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80" y="44"/>
                    <a:pt x="112" y="9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38" y="46"/>
                    <a:pt x="19" y="52"/>
                  </a:cubicBezTo>
                  <a:cubicBezTo>
                    <a:pt x="0" y="58"/>
                    <a:pt x="3" y="56"/>
                    <a:pt x="3" y="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61A546CE-AC17-4657-A05D-34A4BEC901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5113" y="5834063"/>
              <a:ext cx="77788" cy="44450"/>
            </a:xfrm>
            <a:custGeom>
              <a:avLst/>
              <a:gdLst>
                <a:gd name="T0" fmla="*/ 3 w 26"/>
                <a:gd name="T1" fmla="*/ 5 h 15"/>
                <a:gd name="T2" fmla="*/ 3 w 26"/>
                <a:gd name="T3" fmla="*/ 5 h 15"/>
                <a:gd name="T4" fmla="*/ 3 w 26"/>
                <a:gd name="T5" fmla="*/ 5 h 15"/>
                <a:gd name="T6" fmla="*/ 22 w 26"/>
                <a:gd name="T7" fmla="*/ 14 h 15"/>
                <a:gd name="T8" fmla="*/ 25 w 26"/>
                <a:gd name="T9" fmla="*/ 15 h 15"/>
                <a:gd name="T10" fmla="*/ 25 w 26"/>
                <a:gd name="T11" fmla="*/ 12 h 15"/>
                <a:gd name="T12" fmla="*/ 3 w 26"/>
                <a:gd name="T13" fmla="*/ 1 h 15"/>
                <a:gd name="T14" fmla="*/ 2 w 26"/>
                <a:gd name="T15" fmla="*/ 1 h 15"/>
                <a:gd name="T16" fmla="*/ 0 w 26"/>
                <a:gd name="T17" fmla="*/ 3 h 15"/>
                <a:gd name="T18" fmla="*/ 3 w 26"/>
                <a:gd name="T1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5"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5"/>
                    <a:pt x="13" y="5"/>
                    <a:pt x="22" y="14"/>
                  </a:cubicBezTo>
                  <a:cubicBezTo>
                    <a:pt x="23" y="15"/>
                    <a:pt x="24" y="15"/>
                    <a:pt x="25" y="15"/>
                  </a:cubicBezTo>
                  <a:cubicBezTo>
                    <a:pt x="26" y="14"/>
                    <a:pt x="26" y="13"/>
                    <a:pt x="25" y="12"/>
                  </a:cubicBezTo>
                  <a:cubicBezTo>
                    <a:pt x="15" y="2"/>
                    <a:pt x="7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A1A6B01B-50F4-43BA-B886-7DF755E41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59563" y="5780088"/>
              <a:ext cx="95250" cy="55563"/>
            </a:xfrm>
            <a:custGeom>
              <a:avLst/>
              <a:gdLst>
                <a:gd name="T0" fmla="*/ 2 w 32"/>
                <a:gd name="T1" fmla="*/ 4 h 19"/>
                <a:gd name="T2" fmla="*/ 3 w 32"/>
                <a:gd name="T3" fmla="*/ 4 h 19"/>
                <a:gd name="T4" fmla="*/ 15 w 32"/>
                <a:gd name="T5" fmla="*/ 8 h 19"/>
                <a:gd name="T6" fmla="*/ 28 w 32"/>
                <a:gd name="T7" fmla="*/ 17 h 19"/>
                <a:gd name="T8" fmla="*/ 31 w 32"/>
                <a:gd name="T9" fmla="*/ 18 h 19"/>
                <a:gd name="T10" fmla="*/ 31 w 32"/>
                <a:gd name="T11" fmla="*/ 15 h 19"/>
                <a:gd name="T12" fmla="*/ 14 w 32"/>
                <a:gd name="T13" fmla="*/ 3 h 19"/>
                <a:gd name="T14" fmla="*/ 2 w 32"/>
                <a:gd name="T15" fmla="*/ 0 h 19"/>
                <a:gd name="T16" fmla="*/ 0 w 32"/>
                <a:gd name="T17" fmla="*/ 2 h 19"/>
                <a:gd name="T18" fmla="*/ 2 w 32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">
                  <a:moveTo>
                    <a:pt x="2" y="4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5" y="5"/>
                    <a:pt x="10" y="6"/>
                    <a:pt x="15" y="8"/>
                  </a:cubicBezTo>
                  <a:cubicBezTo>
                    <a:pt x="20" y="10"/>
                    <a:pt x="25" y="13"/>
                    <a:pt x="28" y="17"/>
                  </a:cubicBezTo>
                  <a:cubicBezTo>
                    <a:pt x="28" y="18"/>
                    <a:pt x="30" y="19"/>
                    <a:pt x="31" y="18"/>
                  </a:cubicBezTo>
                  <a:cubicBezTo>
                    <a:pt x="32" y="18"/>
                    <a:pt x="32" y="16"/>
                    <a:pt x="31" y="15"/>
                  </a:cubicBezTo>
                  <a:cubicBezTo>
                    <a:pt x="28" y="9"/>
                    <a:pt x="20" y="5"/>
                    <a:pt x="14" y="3"/>
                  </a:cubicBezTo>
                  <a:cubicBezTo>
                    <a:pt x="8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EA267B92-5D67-4F8B-A5CF-53520AE6E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75" y="5708650"/>
              <a:ext cx="74613" cy="58738"/>
            </a:xfrm>
            <a:custGeom>
              <a:avLst/>
              <a:gdLst>
                <a:gd name="T0" fmla="*/ 22 w 25"/>
                <a:gd name="T1" fmla="*/ 1 h 20"/>
                <a:gd name="T2" fmla="*/ 13 w 25"/>
                <a:gd name="T3" fmla="*/ 6 h 20"/>
                <a:gd name="T4" fmla="*/ 1 w 25"/>
                <a:gd name="T5" fmla="*/ 17 h 20"/>
                <a:gd name="T6" fmla="*/ 1 w 25"/>
                <a:gd name="T7" fmla="*/ 20 h 20"/>
                <a:gd name="T8" fmla="*/ 4 w 25"/>
                <a:gd name="T9" fmla="*/ 19 h 20"/>
                <a:gd name="T10" fmla="*/ 16 w 25"/>
                <a:gd name="T11" fmla="*/ 9 h 20"/>
                <a:gd name="T12" fmla="*/ 21 w 25"/>
                <a:gd name="T13" fmla="*/ 6 h 20"/>
                <a:gd name="T14" fmla="*/ 23 w 25"/>
                <a:gd name="T15" fmla="*/ 5 h 20"/>
                <a:gd name="T16" fmla="*/ 24 w 25"/>
                <a:gd name="T17" fmla="*/ 4 h 20"/>
                <a:gd name="T18" fmla="*/ 25 w 25"/>
                <a:gd name="T19" fmla="*/ 1 h 20"/>
                <a:gd name="T20" fmla="*/ 22 w 25"/>
                <a:gd name="T2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0">
                  <a:moveTo>
                    <a:pt x="22" y="1"/>
                  </a:moveTo>
                  <a:cubicBezTo>
                    <a:pt x="22" y="1"/>
                    <a:pt x="18" y="3"/>
                    <a:pt x="13" y="6"/>
                  </a:cubicBezTo>
                  <a:cubicBezTo>
                    <a:pt x="9" y="9"/>
                    <a:pt x="3" y="13"/>
                    <a:pt x="1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2" y="20"/>
                    <a:pt x="3" y="20"/>
                    <a:pt x="4" y="19"/>
                  </a:cubicBezTo>
                  <a:cubicBezTo>
                    <a:pt x="6" y="16"/>
                    <a:pt x="11" y="12"/>
                    <a:pt x="16" y="9"/>
                  </a:cubicBezTo>
                  <a:cubicBezTo>
                    <a:pt x="18" y="8"/>
                    <a:pt x="20" y="6"/>
                    <a:pt x="21" y="6"/>
                  </a:cubicBezTo>
                  <a:cubicBezTo>
                    <a:pt x="22" y="5"/>
                    <a:pt x="23" y="5"/>
                    <a:pt x="23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5" y="2"/>
                    <a:pt x="25" y="1"/>
                  </a:cubicBezTo>
                  <a:cubicBezTo>
                    <a:pt x="24" y="1"/>
                    <a:pt x="23" y="0"/>
                    <a:pt x="2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E3FC6E89-9A80-4923-83A1-25F040BD35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3938" y="5681663"/>
              <a:ext cx="85725" cy="65088"/>
            </a:xfrm>
            <a:custGeom>
              <a:avLst/>
              <a:gdLst>
                <a:gd name="T0" fmla="*/ 25 w 29"/>
                <a:gd name="T1" fmla="*/ 1 h 22"/>
                <a:gd name="T2" fmla="*/ 15 w 29"/>
                <a:gd name="T3" fmla="*/ 7 h 22"/>
                <a:gd name="T4" fmla="*/ 7 w 29"/>
                <a:gd name="T5" fmla="*/ 12 h 22"/>
                <a:gd name="T6" fmla="*/ 0 w 29"/>
                <a:gd name="T7" fmla="*/ 18 h 22"/>
                <a:gd name="T8" fmla="*/ 1 w 29"/>
                <a:gd name="T9" fmla="*/ 21 h 22"/>
                <a:gd name="T10" fmla="*/ 4 w 29"/>
                <a:gd name="T11" fmla="*/ 20 h 22"/>
                <a:gd name="T12" fmla="*/ 9 w 29"/>
                <a:gd name="T13" fmla="*/ 15 h 22"/>
                <a:gd name="T14" fmla="*/ 21 w 29"/>
                <a:gd name="T15" fmla="*/ 8 h 22"/>
                <a:gd name="T16" fmla="*/ 25 w 29"/>
                <a:gd name="T17" fmla="*/ 5 h 22"/>
                <a:gd name="T18" fmla="*/ 27 w 29"/>
                <a:gd name="T19" fmla="*/ 4 h 22"/>
                <a:gd name="T20" fmla="*/ 28 w 29"/>
                <a:gd name="T21" fmla="*/ 1 h 22"/>
                <a:gd name="T22" fmla="*/ 25 w 29"/>
                <a:gd name="T2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2">
                  <a:moveTo>
                    <a:pt x="25" y="1"/>
                  </a:moveTo>
                  <a:cubicBezTo>
                    <a:pt x="25" y="1"/>
                    <a:pt x="20" y="3"/>
                    <a:pt x="15" y="7"/>
                  </a:cubicBezTo>
                  <a:cubicBezTo>
                    <a:pt x="12" y="8"/>
                    <a:pt x="9" y="10"/>
                    <a:pt x="7" y="12"/>
                  </a:cubicBezTo>
                  <a:cubicBezTo>
                    <a:pt x="4" y="14"/>
                    <a:pt x="2" y="16"/>
                    <a:pt x="0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2"/>
                    <a:pt x="3" y="21"/>
                    <a:pt x="4" y="20"/>
                  </a:cubicBezTo>
                  <a:cubicBezTo>
                    <a:pt x="5" y="19"/>
                    <a:pt x="7" y="17"/>
                    <a:pt x="9" y="15"/>
                  </a:cubicBezTo>
                  <a:cubicBezTo>
                    <a:pt x="13" y="13"/>
                    <a:pt x="17" y="10"/>
                    <a:pt x="21" y="8"/>
                  </a:cubicBezTo>
                  <a:cubicBezTo>
                    <a:pt x="23" y="7"/>
                    <a:pt x="24" y="6"/>
                    <a:pt x="25" y="5"/>
                  </a:cubicBezTo>
                  <a:cubicBezTo>
                    <a:pt x="27" y="5"/>
                    <a:pt x="27" y="4"/>
                    <a:pt x="27" y="4"/>
                  </a:cubicBezTo>
                  <a:cubicBezTo>
                    <a:pt x="28" y="4"/>
                    <a:pt x="29" y="2"/>
                    <a:pt x="28" y="1"/>
                  </a:cubicBezTo>
                  <a:cubicBezTo>
                    <a:pt x="28" y="1"/>
                    <a:pt x="26" y="0"/>
                    <a:pt x="2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1379FF80-A7AD-4DD0-9814-30C71CBCF9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3138" y="5654675"/>
              <a:ext cx="68263" cy="63500"/>
            </a:xfrm>
            <a:custGeom>
              <a:avLst/>
              <a:gdLst>
                <a:gd name="T0" fmla="*/ 20 w 23"/>
                <a:gd name="T1" fmla="*/ 1 h 21"/>
                <a:gd name="T2" fmla="*/ 1 w 23"/>
                <a:gd name="T3" fmla="*/ 18 h 21"/>
                <a:gd name="T4" fmla="*/ 1 w 23"/>
                <a:gd name="T5" fmla="*/ 21 h 21"/>
                <a:gd name="T6" fmla="*/ 4 w 23"/>
                <a:gd name="T7" fmla="*/ 20 h 21"/>
                <a:gd name="T8" fmla="*/ 15 w 23"/>
                <a:gd name="T9" fmla="*/ 8 h 21"/>
                <a:gd name="T10" fmla="*/ 20 w 23"/>
                <a:gd name="T11" fmla="*/ 5 h 21"/>
                <a:gd name="T12" fmla="*/ 21 w 23"/>
                <a:gd name="T13" fmla="*/ 4 h 21"/>
                <a:gd name="T14" fmla="*/ 22 w 23"/>
                <a:gd name="T15" fmla="*/ 4 h 21"/>
                <a:gd name="T16" fmla="*/ 22 w 23"/>
                <a:gd name="T17" fmla="*/ 4 h 21"/>
                <a:gd name="T18" fmla="*/ 23 w 23"/>
                <a:gd name="T19" fmla="*/ 2 h 21"/>
                <a:gd name="T20" fmla="*/ 20 w 23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1">
                  <a:moveTo>
                    <a:pt x="20" y="1"/>
                  </a:moveTo>
                  <a:cubicBezTo>
                    <a:pt x="20" y="1"/>
                    <a:pt x="8" y="6"/>
                    <a:pt x="1" y="18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2" y="21"/>
                    <a:pt x="3" y="21"/>
                    <a:pt x="4" y="20"/>
                  </a:cubicBezTo>
                  <a:cubicBezTo>
                    <a:pt x="7" y="15"/>
                    <a:pt x="12" y="11"/>
                    <a:pt x="15" y="8"/>
                  </a:cubicBezTo>
                  <a:cubicBezTo>
                    <a:pt x="17" y="7"/>
                    <a:pt x="19" y="6"/>
                    <a:pt x="20" y="5"/>
                  </a:cubicBezTo>
                  <a:cubicBezTo>
                    <a:pt x="21" y="5"/>
                    <a:pt x="21" y="5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3"/>
                    <a:pt x="23" y="2"/>
                  </a:cubicBezTo>
                  <a:cubicBezTo>
                    <a:pt x="22" y="1"/>
                    <a:pt x="21" y="0"/>
                    <a:pt x="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D4E31005-B49B-46DE-BB7C-F97E89080C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6350" y="2887663"/>
              <a:ext cx="112713" cy="265113"/>
            </a:xfrm>
            <a:custGeom>
              <a:avLst/>
              <a:gdLst>
                <a:gd name="T0" fmla="*/ 19 w 38"/>
                <a:gd name="T1" fmla="*/ 0 h 89"/>
                <a:gd name="T2" fmla="*/ 38 w 38"/>
                <a:gd name="T3" fmla="*/ 89 h 89"/>
                <a:gd name="T4" fmla="*/ 19 w 38"/>
                <a:gd name="T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89">
                  <a:moveTo>
                    <a:pt x="19" y="0"/>
                  </a:moveTo>
                  <a:cubicBezTo>
                    <a:pt x="38" y="89"/>
                    <a:pt x="38" y="89"/>
                    <a:pt x="38" y="89"/>
                  </a:cubicBezTo>
                  <a:cubicBezTo>
                    <a:pt x="38" y="89"/>
                    <a:pt x="0" y="38"/>
                    <a:pt x="19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CAF5D9BF-EA12-463F-A571-3C260ED754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9113" y="3357563"/>
              <a:ext cx="457200" cy="296863"/>
            </a:xfrm>
            <a:custGeom>
              <a:avLst/>
              <a:gdLst>
                <a:gd name="T0" fmla="*/ 154 w 154"/>
                <a:gd name="T1" fmla="*/ 0 h 100"/>
                <a:gd name="T2" fmla="*/ 0 w 154"/>
                <a:gd name="T3" fmla="*/ 100 h 100"/>
                <a:gd name="T4" fmla="*/ 154 w 154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" h="100">
                  <a:moveTo>
                    <a:pt x="154" y="0"/>
                  </a:moveTo>
                  <a:cubicBezTo>
                    <a:pt x="154" y="0"/>
                    <a:pt x="128" y="93"/>
                    <a:pt x="0" y="100"/>
                  </a:cubicBezTo>
                  <a:cubicBezTo>
                    <a:pt x="0" y="100"/>
                    <a:pt x="95" y="82"/>
                    <a:pt x="154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C69B23E-2BCB-408C-93DA-755913D166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0350" y="2300288"/>
              <a:ext cx="606425" cy="869950"/>
            </a:xfrm>
            <a:custGeom>
              <a:avLst/>
              <a:gdLst>
                <a:gd name="T0" fmla="*/ 0 w 382"/>
                <a:gd name="T1" fmla="*/ 170 h 548"/>
                <a:gd name="T2" fmla="*/ 288 w 382"/>
                <a:gd name="T3" fmla="*/ 548 h 548"/>
                <a:gd name="T4" fmla="*/ 382 w 382"/>
                <a:gd name="T5" fmla="*/ 406 h 548"/>
                <a:gd name="T6" fmla="*/ 101 w 382"/>
                <a:gd name="T7" fmla="*/ 0 h 548"/>
                <a:gd name="T8" fmla="*/ 0 w 382"/>
                <a:gd name="T9" fmla="*/ 17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" h="548">
                  <a:moveTo>
                    <a:pt x="0" y="170"/>
                  </a:moveTo>
                  <a:lnTo>
                    <a:pt x="288" y="548"/>
                  </a:lnTo>
                  <a:lnTo>
                    <a:pt x="382" y="406"/>
                  </a:lnTo>
                  <a:lnTo>
                    <a:pt x="101" y="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2" name="Oval 68">
              <a:extLst>
                <a:ext uri="{FF2B5EF4-FFF2-40B4-BE49-F238E27FC236}">
                  <a16:creationId xmlns:a16="http://schemas.microsoft.com/office/drawing/2014/main" id="{09CC4797-FD05-4CA6-9F56-27DBB67B5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85175" y="2017713"/>
              <a:ext cx="101600" cy="104775"/>
            </a:xfrm>
            <a:prstGeom prst="ellipse">
              <a:avLst/>
            </a:prstGeom>
            <a:solidFill>
              <a:srgbClr val="E66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A378C1F2-4555-4E71-B56A-849869339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5975" y="2324100"/>
              <a:ext cx="103188" cy="127000"/>
            </a:xfrm>
            <a:custGeom>
              <a:avLst/>
              <a:gdLst>
                <a:gd name="T0" fmla="*/ 23 w 35"/>
                <a:gd name="T1" fmla="*/ 0 h 43"/>
                <a:gd name="T2" fmla="*/ 0 w 35"/>
                <a:gd name="T3" fmla="*/ 30 h 43"/>
                <a:gd name="T4" fmla="*/ 14 w 35"/>
                <a:gd name="T5" fmla="*/ 26 h 43"/>
                <a:gd name="T6" fmla="*/ 14 w 35"/>
                <a:gd name="T7" fmla="*/ 43 h 43"/>
                <a:gd name="T8" fmla="*/ 35 w 35"/>
                <a:gd name="T9" fmla="*/ 10 h 43"/>
                <a:gd name="T10" fmla="*/ 23 w 35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43">
                  <a:moveTo>
                    <a:pt x="23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25" y="6"/>
                    <a:pt x="23" y="0"/>
                  </a:cubicBezTo>
                  <a:close/>
                </a:path>
              </a:pathLst>
            </a:custGeom>
            <a:solidFill>
              <a:srgbClr val="E6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4" name="Oval 70">
              <a:extLst>
                <a:ext uri="{FF2B5EF4-FFF2-40B4-BE49-F238E27FC236}">
                  <a16:creationId xmlns:a16="http://schemas.microsoft.com/office/drawing/2014/main" id="{C9CABDC9-19E9-477E-98B4-CF89691393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504238" y="2279650"/>
              <a:ext cx="74613" cy="74613"/>
            </a:xfrm>
            <a:prstGeom prst="ellipse">
              <a:avLst/>
            </a:prstGeom>
            <a:solidFill>
              <a:srgbClr val="E6B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5" name="Oval 71">
              <a:extLst>
                <a:ext uri="{FF2B5EF4-FFF2-40B4-BE49-F238E27FC236}">
                  <a16:creationId xmlns:a16="http://schemas.microsoft.com/office/drawing/2014/main" id="{436154B8-CEE9-46F3-A898-AFE4550A0C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515350" y="2290763"/>
              <a:ext cx="50800" cy="50800"/>
            </a:xfrm>
            <a:prstGeom prst="ellipse">
              <a:avLst/>
            </a:prstGeom>
            <a:solidFill>
              <a:srgbClr val="E6C4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FC0EF4A8-733D-497F-B634-61181AE5A2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5913" y="1973263"/>
              <a:ext cx="95250" cy="303213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A645283D-41CF-49A1-925E-DBE1E53BD1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5913" y="1973263"/>
              <a:ext cx="95250" cy="303213"/>
            </a:xfrm>
            <a:custGeom>
              <a:avLst/>
              <a:gdLst>
                <a:gd name="T0" fmla="*/ 25 w 60"/>
                <a:gd name="T1" fmla="*/ 0 h 191"/>
                <a:gd name="T2" fmla="*/ 0 w 60"/>
                <a:gd name="T3" fmla="*/ 191 h 191"/>
                <a:gd name="T4" fmla="*/ 32 w 60"/>
                <a:gd name="T5" fmla="*/ 187 h 191"/>
                <a:gd name="T6" fmla="*/ 26 w 60"/>
                <a:gd name="T7" fmla="*/ 146 h 191"/>
                <a:gd name="T8" fmla="*/ 40 w 60"/>
                <a:gd name="T9" fmla="*/ 182 h 191"/>
                <a:gd name="T10" fmla="*/ 60 w 60"/>
                <a:gd name="T11" fmla="*/ 180 h 191"/>
                <a:gd name="T12" fmla="*/ 25 w 60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91">
                  <a:moveTo>
                    <a:pt x="25" y="0"/>
                  </a:moveTo>
                  <a:lnTo>
                    <a:pt x="0" y="191"/>
                  </a:lnTo>
                  <a:lnTo>
                    <a:pt x="32" y="187"/>
                  </a:lnTo>
                  <a:lnTo>
                    <a:pt x="26" y="146"/>
                  </a:lnTo>
                  <a:lnTo>
                    <a:pt x="40" y="182"/>
                  </a:lnTo>
                  <a:lnTo>
                    <a:pt x="60" y="180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69CD78F4-CEDE-4FE1-A09C-01EDBF1747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15100" y="1890713"/>
              <a:ext cx="871538" cy="3511550"/>
            </a:xfrm>
            <a:custGeom>
              <a:avLst/>
              <a:gdLst>
                <a:gd name="T0" fmla="*/ 155 w 293"/>
                <a:gd name="T1" fmla="*/ 1182 h 1183"/>
                <a:gd name="T2" fmla="*/ 139 w 293"/>
                <a:gd name="T3" fmla="*/ 1182 h 1183"/>
                <a:gd name="T4" fmla="*/ 239 w 293"/>
                <a:gd name="T5" fmla="*/ 1169 h 1183"/>
                <a:gd name="T6" fmla="*/ 293 w 293"/>
                <a:gd name="T7" fmla="*/ 1144 h 1183"/>
                <a:gd name="T8" fmla="*/ 275 w 293"/>
                <a:gd name="T9" fmla="*/ 1154 h 1183"/>
                <a:gd name="T10" fmla="*/ 0 w 293"/>
                <a:gd name="T11" fmla="*/ 1127 h 1183"/>
                <a:gd name="T12" fmla="*/ 91 w 293"/>
                <a:gd name="T13" fmla="*/ 1172 h 1183"/>
                <a:gd name="T14" fmla="*/ 0 w 293"/>
                <a:gd name="T15" fmla="*/ 1127 h 1183"/>
                <a:gd name="T16" fmla="*/ 34 w 293"/>
                <a:gd name="T17" fmla="*/ 285 h 1183"/>
                <a:gd name="T18" fmla="*/ 49 w 293"/>
                <a:gd name="T19" fmla="*/ 279 h 1183"/>
                <a:gd name="T20" fmla="*/ 89 w 293"/>
                <a:gd name="T21" fmla="*/ 267 h 1183"/>
                <a:gd name="T22" fmla="*/ 51 w 293"/>
                <a:gd name="T23" fmla="*/ 142 h 1183"/>
                <a:gd name="T24" fmla="*/ 51 w 293"/>
                <a:gd name="T25" fmla="*/ 142 h 1183"/>
                <a:gd name="T26" fmla="*/ 51 w 293"/>
                <a:gd name="T27" fmla="*/ 142 h 1183"/>
                <a:gd name="T28" fmla="*/ 51 w 293"/>
                <a:gd name="T29" fmla="*/ 142 h 1183"/>
                <a:gd name="T30" fmla="*/ 51 w 293"/>
                <a:gd name="T31" fmla="*/ 142 h 1183"/>
                <a:gd name="T32" fmla="*/ 52 w 293"/>
                <a:gd name="T33" fmla="*/ 142 h 1183"/>
                <a:gd name="T34" fmla="*/ 52 w 293"/>
                <a:gd name="T35" fmla="*/ 142 h 1183"/>
                <a:gd name="T36" fmla="*/ 52 w 293"/>
                <a:gd name="T37" fmla="*/ 142 h 1183"/>
                <a:gd name="T38" fmla="*/ 52 w 293"/>
                <a:gd name="T39" fmla="*/ 142 h 1183"/>
                <a:gd name="T40" fmla="*/ 143 w 293"/>
                <a:gd name="T41" fmla="*/ 112 h 1183"/>
                <a:gd name="T42" fmla="*/ 138 w 293"/>
                <a:gd name="T43" fmla="*/ 119 h 1183"/>
                <a:gd name="T44" fmla="*/ 52 w 293"/>
                <a:gd name="T45" fmla="*/ 142 h 1183"/>
                <a:gd name="T46" fmla="*/ 138 w 293"/>
                <a:gd name="T47" fmla="*/ 119 h 1183"/>
                <a:gd name="T48" fmla="*/ 143 w 293"/>
                <a:gd name="T49" fmla="*/ 112 h 1183"/>
                <a:gd name="T50" fmla="*/ 155 w 293"/>
                <a:gd name="T51" fmla="*/ 15 h 1183"/>
                <a:gd name="T52" fmla="*/ 64 w 293"/>
                <a:gd name="T53" fmla="*/ 28 h 1183"/>
                <a:gd name="T54" fmla="*/ 155 w 293"/>
                <a:gd name="T55" fmla="*/ 15 h 1183"/>
                <a:gd name="T56" fmla="*/ 45 w 293"/>
                <a:gd name="T57" fmla="*/ 22 h 1183"/>
                <a:gd name="T58" fmla="*/ 154 w 293"/>
                <a:gd name="T59" fmla="*/ 6 h 1183"/>
                <a:gd name="T60" fmla="*/ 198 w 293"/>
                <a:gd name="T61" fmla="*/ 0 h 1183"/>
                <a:gd name="T62" fmla="*/ 154 w 293"/>
                <a:gd name="T63" fmla="*/ 5 h 1183"/>
                <a:gd name="T64" fmla="*/ 198 w 293"/>
                <a:gd name="T65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3" h="1183">
                  <a:moveTo>
                    <a:pt x="239" y="1167"/>
                  </a:moveTo>
                  <a:cubicBezTo>
                    <a:pt x="214" y="1176"/>
                    <a:pt x="185" y="1182"/>
                    <a:pt x="155" y="1182"/>
                  </a:cubicBezTo>
                  <a:cubicBezTo>
                    <a:pt x="150" y="1182"/>
                    <a:pt x="144" y="1181"/>
                    <a:pt x="139" y="1181"/>
                  </a:cubicBezTo>
                  <a:cubicBezTo>
                    <a:pt x="139" y="1182"/>
                    <a:pt x="139" y="1182"/>
                    <a:pt x="139" y="1182"/>
                  </a:cubicBezTo>
                  <a:cubicBezTo>
                    <a:pt x="146" y="1183"/>
                    <a:pt x="154" y="1183"/>
                    <a:pt x="162" y="1183"/>
                  </a:cubicBezTo>
                  <a:cubicBezTo>
                    <a:pt x="187" y="1183"/>
                    <a:pt x="213" y="1179"/>
                    <a:pt x="239" y="1169"/>
                  </a:cubicBezTo>
                  <a:cubicBezTo>
                    <a:pt x="239" y="1167"/>
                    <a:pt x="239" y="1167"/>
                    <a:pt x="239" y="1167"/>
                  </a:cubicBezTo>
                  <a:moveTo>
                    <a:pt x="293" y="1144"/>
                  </a:moveTo>
                  <a:cubicBezTo>
                    <a:pt x="287" y="1147"/>
                    <a:pt x="281" y="1150"/>
                    <a:pt x="275" y="1153"/>
                  </a:cubicBezTo>
                  <a:cubicBezTo>
                    <a:pt x="275" y="1154"/>
                    <a:pt x="275" y="1154"/>
                    <a:pt x="275" y="1154"/>
                  </a:cubicBezTo>
                  <a:cubicBezTo>
                    <a:pt x="281" y="1151"/>
                    <a:pt x="287" y="1147"/>
                    <a:pt x="293" y="1144"/>
                  </a:cubicBezTo>
                  <a:moveTo>
                    <a:pt x="0" y="1127"/>
                  </a:moveTo>
                  <a:cubicBezTo>
                    <a:pt x="30" y="1147"/>
                    <a:pt x="60" y="1163"/>
                    <a:pt x="91" y="1172"/>
                  </a:cubicBezTo>
                  <a:cubicBezTo>
                    <a:pt x="91" y="1172"/>
                    <a:pt x="91" y="1172"/>
                    <a:pt x="91" y="1172"/>
                  </a:cubicBezTo>
                  <a:cubicBezTo>
                    <a:pt x="83" y="1169"/>
                    <a:pt x="74" y="1165"/>
                    <a:pt x="65" y="1161"/>
                  </a:cubicBezTo>
                  <a:cubicBezTo>
                    <a:pt x="38" y="1148"/>
                    <a:pt x="16" y="1137"/>
                    <a:pt x="0" y="1127"/>
                  </a:cubicBezTo>
                  <a:moveTo>
                    <a:pt x="89" y="267"/>
                  </a:moveTo>
                  <a:cubicBezTo>
                    <a:pt x="68" y="271"/>
                    <a:pt x="49" y="278"/>
                    <a:pt x="34" y="285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9" y="283"/>
                    <a:pt x="44" y="281"/>
                    <a:pt x="49" y="279"/>
                  </a:cubicBezTo>
                  <a:cubicBezTo>
                    <a:pt x="44" y="281"/>
                    <a:pt x="39" y="283"/>
                    <a:pt x="34" y="285"/>
                  </a:cubicBezTo>
                  <a:cubicBezTo>
                    <a:pt x="49" y="278"/>
                    <a:pt x="67" y="271"/>
                    <a:pt x="89" y="267"/>
                  </a:cubicBezTo>
                  <a:cubicBezTo>
                    <a:pt x="89" y="267"/>
                    <a:pt x="89" y="267"/>
                    <a:pt x="89" y="267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1" y="142"/>
                  </a:move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52" y="142"/>
                  </a:move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moveTo>
                    <a:pt x="143" y="112"/>
                  </a:moveTo>
                  <a:cubicBezTo>
                    <a:pt x="139" y="115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99" y="137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99" y="137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9" y="115"/>
                    <a:pt x="143" y="112"/>
                  </a:cubicBezTo>
                  <a:cubicBezTo>
                    <a:pt x="143" y="112"/>
                    <a:pt x="143" y="112"/>
                    <a:pt x="143" y="112"/>
                  </a:cubicBezTo>
                  <a:moveTo>
                    <a:pt x="155" y="15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moveTo>
                    <a:pt x="154" y="6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4" y="6"/>
                    <a:pt x="154" y="6"/>
                    <a:pt x="154" y="6"/>
                  </a:cubicBezTo>
                  <a:moveTo>
                    <a:pt x="198" y="0"/>
                  </a:moveTo>
                  <a:cubicBezTo>
                    <a:pt x="167" y="4"/>
                    <a:pt x="167" y="4"/>
                    <a:pt x="167" y="4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67" y="4"/>
                    <a:pt x="167" y="4"/>
                    <a:pt x="167" y="4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solidFill>
              <a:srgbClr val="5055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E584DCEE-428D-4266-8319-2CF3CCF42B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4975" y="5370513"/>
              <a:ext cx="142875" cy="30163"/>
            </a:xfrm>
            <a:custGeom>
              <a:avLst/>
              <a:gdLst>
                <a:gd name="T0" fmla="*/ 0 w 48"/>
                <a:gd name="T1" fmla="*/ 0 h 10"/>
                <a:gd name="T2" fmla="*/ 0 w 48"/>
                <a:gd name="T3" fmla="*/ 0 h 10"/>
                <a:gd name="T4" fmla="*/ 48 w 48"/>
                <a:gd name="T5" fmla="*/ 10 h 10"/>
                <a:gd name="T6" fmla="*/ 48 w 48"/>
                <a:gd name="T7" fmla="*/ 9 h 10"/>
                <a:gd name="T8" fmla="*/ 0 w 4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5"/>
                    <a:pt x="32" y="8"/>
                    <a:pt x="48" y="10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32" y="8"/>
                    <a:pt x="16" y="5"/>
                    <a:pt x="0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2850ED13-F68D-4AEB-9B52-3A15EB7E84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4713" y="5313363"/>
              <a:ext cx="107950" cy="47625"/>
            </a:xfrm>
            <a:custGeom>
              <a:avLst/>
              <a:gdLst>
                <a:gd name="T0" fmla="*/ 36 w 36"/>
                <a:gd name="T1" fmla="*/ 0 h 16"/>
                <a:gd name="T2" fmla="*/ 0 w 36"/>
                <a:gd name="T3" fmla="*/ 14 h 16"/>
                <a:gd name="T4" fmla="*/ 0 w 36"/>
                <a:gd name="T5" fmla="*/ 16 h 16"/>
                <a:gd name="T6" fmla="*/ 36 w 36"/>
                <a:gd name="T7" fmla="*/ 1 h 16"/>
                <a:gd name="T8" fmla="*/ 36 w 3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6">
                  <a:moveTo>
                    <a:pt x="36" y="0"/>
                  </a:moveTo>
                  <a:cubicBezTo>
                    <a:pt x="25" y="5"/>
                    <a:pt x="13" y="10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2" y="12"/>
                    <a:pt x="24" y="7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B23F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EA42DAB4-B63E-444B-BBBE-E0377FD27D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35713" y="2674938"/>
              <a:ext cx="1103313" cy="2725738"/>
            </a:xfrm>
            <a:custGeom>
              <a:avLst/>
              <a:gdLst>
                <a:gd name="T0" fmla="*/ 204 w 371"/>
                <a:gd name="T1" fmla="*/ 0 h 918"/>
                <a:gd name="T2" fmla="*/ 149 w 371"/>
                <a:gd name="T3" fmla="*/ 3 h 918"/>
                <a:gd name="T4" fmla="*/ 109 w 371"/>
                <a:gd name="T5" fmla="*/ 15 h 918"/>
                <a:gd name="T6" fmla="*/ 61 w 371"/>
                <a:gd name="T7" fmla="*/ 39 h 918"/>
                <a:gd name="T8" fmla="*/ 12 w 371"/>
                <a:gd name="T9" fmla="*/ 74 h 918"/>
                <a:gd name="T10" fmla="*/ 40 w 371"/>
                <a:gd name="T11" fmla="*/ 250 h 918"/>
                <a:gd name="T12" fmla="*/ 94 w 371"/>
                <a:gd name="T13" fmla="*/ 219 h 918"/>
                <a:gd name="T14" fmla="*/ 76 w 371"/>
                <a:gd name="T15" fmla="*/ 802 h 918"/>
                <a:gd name="T16" fmla="*/ 77 w 371"/>
                <a:gd name="T17" fmla="*/ 813 h 918"/>
                <a:gd name="T18" fmla="*/ 78 w 371"/>
                <a:gd name="T19" fmla="*/ 815 h 918"/>
                <a:gd name="T20" fmla="*/ 78 w 371"/>
                <a:gd name="T21" fmla="*/ 816 h 918"/>
                <a:gd name="T22" fmla="*/ 78 w 371"/>
                <a:gd name="T23" fmla="*/ 817 h 918"/>
                <a:gd name="T24" fmla="*/ 78 w 371"/>
                <a:gd name="T25" fmla="*/ 818 h 918"/>
                <a:gd name="T26" fmla="*/ 78 w 371"/>
                <a:gd name="T27" fmla="*/ 818 h 918"/>
                <a:gd name="T28" fmla="*/ 78 w 371"/>
                <a:gd name="T29" fmla="*/ 819 h 918"/>
                <a:gd name="T30" fmla="*/ 79 w 371"/>
                <a:gd name="T31" fmla="*/ 822 h 918"/>
                <a:gd name="T32" fmla="*/ 79 w 371"/>
                <a:gd name="T33" fmla="*/ 823 h 918"/>
                <a:gd name="T34" fmla="*/ 79 w 371"/>
                <a:gd name="T35" fmla="*/ 823 h 918"/>
                <a:gd name="T36" fmla="*/ 79 w 371"/>
                <a:gd name="T37" fmla="*/ 823 h 918"/>
                <a:gd name="T38" fmla="*/ 79 w 371"/>
                <a:gd name="T39" fmla="*/ 823 h 918"/>
                <a:gd name="T40" fmla="*/ 79 w 371"/>
                <a:gd name="T41" fmla="*/ 824 h 918"/>
                <a:gd name="T42" fmla="*/ 79 w 371"/>
                <a:gd name="T43" fmla="*/ 825 h 918"/>
                <a:gd name="T44" fmla="*/ 79 w 371"/>
                <a:gd name="T45" fmla="*/ 825 h 918"/>
                <a:gd name="T46" fmla="*/ 79 w 371"/>
                <a:gd name="T47" fmla="*/ 825 h 918"/>
                <a:gd name="T48" fmla="*/ 79 w 371"/>
                <a:gd name="T49" fmla="*/ 825 h 918"/>
                <a:gd name="T50" fmla="*/ 79 w 371"/>
                <a:gd name="T51" fmla="*/ 825 h 918"/>
                <a:gd name="T52" fmla="*/ 79 w 371"/>
                <a:gd name="T53" fmla="*/ 825 h 918"/>
                <a:gd name="T54" fmla="*/ 79 w 371"/>
                <a:gd name="T55" fmla="*/ 825 h 918"/>
                <a:gd name="T56" fmla="*/ 79 w 371"/>
                <a:gd name="T57" fmla="*/ 825 h 918"/>
                <a:gd name="T58" fmla="*/ 79 w 371"/>
                <a:gd name="T59" fmla="*/ 825 h 918"/>
                <a:gd name="T60" fmla="*/ 79 w 371"/>
                <a:gd name="T61" fmla="*/ 826 h 918"/>
                <a:gd name="T62" fmla="*/ 79 w 371"/>
                <a:gd name="T63" fmla="*/ 826 h 918"/>
                <a:gd name="T64" fmla="*/ 79 w 371"/>
                <a:gd name="T65" fmla="*/ 826 h 918"/>
                <a:gd name="T66" fmla="*/ 79 w 371"/>
                <a:gd name="T67" fmla="*/ 826 h 918"/>
                <a:gd name="T68" fmla="*/ 79 w 371"/>
                <a:gd name="T69" fmla="*/ 826 h 918"/>
                <a:gd name="T70" fmla="*/ 79 w 371"/>
                <a:gd name="T71" fmla="*/ 826 h 918"/>
                <a:gd name="T72" fmla="*/ 79 w 371"/>
                <a:gd name="T73" fmla="*/ 826 h 918"/>
                <a:gd name="T74" fmla="*/ 79 w 371"/>
                <a:gd name="T75" fmla="*/ 826 h 918"/>
                <a:gd name="T76" fmla="*/ 79 w 371"/>
                <a:gd name="T77" fmla="*/ 826 h 918"/>
                <a:gd name="T78" fmla="*/ 79 w 371"/>
                <a:gd name="T79" fmla="*/ 826 h 918"/>
                <a:gd name="T80" fmla="*/ 79 w 371"/>
                <a:gd name="T81" fmla="*/ 826 h 918"/>
                <a:gd name="T82" fmla="*/ 79 w 371"/>
                <a:gd name="T83" fmla="*/ 826 h 918"/>
                <a:gd name="T84" fmla="*/ 79 w 371"/>
                <a:gd name="T85" fmla="*/ 826 h 918"/>
                <a:gd name="T86" fmla="*/ 35 w 371"/>
                <a:gd name="T87" fmla="*/ 850 h 918"/>
                <a:gd name="T88" fmla="*/ 125 w 371"/>
                <a:gd name="T89" fmla="*/ 897 h 918"/>
                <a:gd name="T90" fmla="*/ 215 w 371"/>
                <a:gd name="T91" fmla="*/ 918 h 918"/>
                <a:gd name="T92" fmla="*/ 353 w 371"/>
                <a:gd name="T93" fmla="*/ 880 h 918"/>
                <a:gd name="T94" fmla="*/ 160 w 371"/>
                <a:gd name="T95" fmla="*/ 405 h 918"/>
                <a:gd name="T96" fmla="*/ 188 w 371"/>
                <a:gd name="T97" fmla="*/ 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1" h="918">
                  <a:moveTo>
                    <a:pt x="201" y="0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3" y="0"/>
                    <a:pt x="202" y="0"/>
                    <a:pt x="201" y="0"/>
                  </a:cubicBezTo>
                  <a:moveTo>
                    <a:pt x="187" y="0"/>
                  </a:moveTo>
                  <a:cubicBezTo>
                    <a:pt x="174" y="0"/>
                    <a:pt x="161" y="1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38" y="6"/>
                    <a:pt x="124" y="10"/>
                    <a:pt x="109" y="15"/>
                  </a:cubicBezTo>
                  <a:cubicBezTo>
                    <a:pt x="104" y="17"/>
                    <a:pt x="99" y="19"/>
                    <a:pt x="94" y="21"/>
                  </a:cubicBezTo>
                  <a:cubicBezTo>
                    <a:pt x="94" y="21"/>
                    <a:pt x="94" y="21"/>
                    <a:pt x="94" y="21"/>
                  </a:cubicBezTo>
                  <a:cubicBezTo>
                    <a:pt x="74" y="30"/>
                    <a:pt x="61" y="39"/>
                    <a:pt x="61" y="39"/>
                  </a:cubicBezTo>
                  <a:cubicBezTo>
                    <a:pt x="61" y="38"/>
                    <a:pt x="60" y="37"/>
                    <a:pt x="59" y="36"/>
                  </a:cubicBezTo>
                  <a:cubicBezTo>
                    <a:pt x="41" y="45"/>
                    <a:pt x="24" y="55"/>
                    <a:pt x="9" y="65"/>
                  </a:cubicBezTo>
                  <a:cubicBezTo>
                    <a:pt x="10" y="68"/>
                    <a:pt x="11" y="71"/>
                    <a:pt x="12" y="74"/>
                  </a:cubicBezTo>
                  <a:cubicBezTo>
                    <a:pt x="34" y="141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40" y="250"/>
                    <a:pt x="40" y="250"/>
                    <a:pt x="40" y="250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3" y="282"/>
                    <a:pt x="6" y="303"/>
                    <a:pt x="9" y="324"/>
                  </a:cubicBezTo>
                  <a:cubicBezTo>
                    <a:pt x="94" y="219"/>
                    <a:pt x="94" y="219"/>
                    <a:pt x="94" y="219"/>
                  </a:cubicBezTo>
                  <a:cubicBezTo>
                    <a:pt x="42" y="555"/>
                    <a:pt x="42" y="555"/>
                    <a:pt x="42" y="555"/>
                  </a:cubicBezTo>
                  <a:cubicBezTo>
                    <a:pt x="57" y="664"/>
                    <a:pt x="70" y="759"/>
                    <a:pt x="76" y="801"/>
                  </a:cubicBezTo>
                  <a:cubicBezTo>
                    <a:pt x="76" y="802"/>
                    <a:pt x="76" y="802"/>
                    <a:pt x="76" y="802"/>
                  </a:cubicBezTo>
                  <a:cubicBezTo>
                    <a:pt x="76" y="804"/>
                    <a:pt x="76" y="806"/>
                    <a:pt x="77" y="808"/>
                  </a:cubicBezTo>
                  <a:cubicBezTo>
                    <a:pt x="77" y="808"/>
                    <a:pt x="77" y="808"/>
                    <a:pt x="77" y="808"/>
                  </a:cubicBezTo>
                  <a:cubicBezTo>
                    <a:pt x="77" y="810"/>
                    <a:pt x="77" y="811"/>
                    <a:pt x="77" y="813"/>
                  </a:cubicBezTo>
                  <a:cubicBezTo>
                    <a:pt x="77" y="813"/>
                    <a:pt x="77" y="813"/>
                    <a:pt x="77" y="813"/>
                  </a:cubicBezTo>
                  <a:cubicBezTo>
                    <a:pt x="78" y="814"/>
                    <a:pt x="78" y="814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5"/>
                    <a:pt x="78" y="815"/>
                    <a:pt x="78" y="815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6"/>
                  </a:cubicBezTo>
                  <a:cubicBezTo>
                    <a:pt x="78" y="816"/>
                    <a:pt x="78" y="816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7"/>
                    <a:pt x="78" y="817"/>
                    <a:pt x="78" y="817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8"/>
                    <a:pt x="78" y="818"/>
                  </a:cubicBezTo>
                  <a:cubicBezTo>
                    <a:pt x="78" y="818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19"/>
                    <a:pt x="78" y="819"/>
                    <a:pt x="78" y="819"/>
                  </a:cubicBezTo>
                  <a:cubicBezTo>
                    <a:pt x="78" y="820"/>
                    <a:pt x="79" y="821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2"/>
                    <a:pt x="79" y="822"/>
                    <a:pt x="79" y="822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3"/>
                    <a:pt x="79" y="823"/>
                  </a:cubicBezTo>
                  <a:cubicBezTo>
                    <a:pt x="79" y="823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4"/>
                    <a:pt x="79" y="824"/>
                    <a:pt x="79" y="824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5"/>
                    <a:pt x="79" y="825"/>
                    <a:pt x="79" y="825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9" y="826"/>
                    <a:pt x="79" y="826"/>
                    <a:pt x="79" y="826"/>
                  </a:cubicBezTo>
                  <a:cubicBezTo>
                    <a:pt x="77" y="827"/>
                    <a:pt x="61" y="837"/>
                    <a:pt x="35" y="850"/>
                  </a:cubicBezTo>
                  <a:cubicBezTo>
                    <a:pt x="42" y="854"/>
                    <a:pt x="50" y="858"/>
                    <a:pt x="60" y="863"/>
                  </a:cubicBezTo>
                  <a:cubicBezTo>
                    <a:pt x="60" y="863"/>
                    <a:pt x="60" y="863"/>
                    <a:pt x="60" y="863"/>
                  </a:cubicBezTo>
                  <a:cubicBezTo>
                    <a:pt x="76" y="873"/>
                    <a:pt x="98" y="884"/>
                    <a:pt x="125" y="897"/>
                  </a:cubicBezTo>
                  <a:cubicBezTo>
                    <a:pt x="134" y="901"/>
                    <a:pt x="143" y="905"/>
                    <a:pt x="151" y="908"/>
                  </a:cubicBezTo>
                  <a:cubicBezTo>
                    <a:pt x="167" y="913"/>
                    <a:pt x="183" y="916"/>
                    <a:pt x="199" y="917"/>
                  </a:cubicBezTo>
                  <a:cubicBezTo>
                    <a:pt x="204" y="917"/>
                    <a:pt x="210" y="918"/>
                    <a:pt x="215" y="918"/>
                  </a:cubicBezTo>
                  <a:cubicBezTo>
                    <a:pt x="245" y="918"/>
                    <a:pt x="274" y="912"/>
                    <a:pt x="299" y="903"/>
                  </a:cubicBezTo>
                  <a:cubicBezTo>
                    <a:pt x="312" y="899"/>
                    <a:pt x="324" y="894"/>
                    <a:pt x="335" y="889"/>
                  </a:cubicBezTo>
                  <a:cubicBezTo>
                    <a:pt x="341" y="886"/>
                    <a:pt x="347" y="883"/>
                    <a:pt x="353" y="880"/>
                  </a:cubicBezTo>
                  <a:cubicBezTo>
                    <a:pt x="353" y="880"/>
                    <a:pt x="353" y="880"/>
                    <a:pt x="353" y="880"/>
                  </a:cubicBezTo>
                  <a:cubicBezTo>
                    <a:pt x="356" y="878"/>
                    <a:pt x="368" y="814"/>
                    <a:pt x="371" y="813"/>
                  </a:cubicBezTo>
                  <a:cubicBezTo>
                    <a:pt x="244" y="706"/>
                    <a:pt x="141" y="568"/>
                    <a:pt x="160" y="405"/>
                  </a:cubicBezTo>
                  <a:cubicBezTo>
                    <a:pt x="172" y="311"/>
                    <a:pt x="201" y="221"/>
                    <a:pt x="213" y="122"/>
                  </a:cubicBezTo>
                  <a:cubicBezTo>
                    <a:pt x="216" y="100"/>
                    <a:pt x="221" y="79"/>
                    <a:pt x="227" y="58"/>
                  </a:cubicBezTo>
                  <a:cubicBezTo>
                    <a:pt x="200" y="43"/>
                    <a:pt x="189" y="17"/>
                    <a:pt x="188" y="0"/>
                  </a:cubicBezTo>
                  <a:cubicBezTo>
                    <a:pt x="188" y="0"/>
                    <a:pt x="187" y="0"/>
                    <a:pt x="187" y="0"/>
                  </a:cubicBezTo>
                </a:path>
              </a:pathLst>
            </a:custGeom>
            <a:solidFill>
              <a:srgbClr val="171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4F73A677-7ABE-43CF-8B89-A5B2690F3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21425" y="2208213"/>
              <a:ext cx="790575" cy="582613"/>
            </a:xfrm>
            <a:custGeom>
              <a:avLst/>
              <a:gdLst>
                <a:gd name="T0" fmla="*/ 220 w 266"/>
                <a:gd name="T1" fmla="*/ 0 h 196"/>
                <a:gd name="T2" fmla="*/ 208 w 266"/>
                <a:gd name="T3" fmla="*/ 5 h 196"/>
                <a:gd name="T4" fmla="*/ 208 w 266"/>
                <a:gd name="T5" fmla="*/ 5 h 196"/>
                <a:gd name="T6" fmla="*/ 208 w 266"/>
                <a:gd name="T7" fmla="*/ 5 h 196"/>
                <a:gd name="T8" fmla="*/ 203 w 266"/>
                <a:gd name="T9" fmla="*/ 12 h 196"/>
                <a:gd name="T10" fmla="*/ 117 w 266"/>
                <a:gd name="T11" fmla="*/ 35 h 196"/>
                <a:gd name="T12" fmla="*/ 117 w 266"/>
                <a:gd name="T13" fmla="*/ 35 h 196"/>
                <a:gd name="T14" fmla="*/ 117 w 266"/>
                <a:gd name="T15" fmla="*/ 35 h 196"/>
                <a:gd name="T16" fmla="*/ 117 w 266"/>
                <a:gd name="T17" fmla="*/ 35 h 196"/>
                <a:gd name="T18" fmla="*/ 117 w 266"/>
                <a:gd name="T19" fmla="*/ 35 h 196"/>
                <a:gd name="T20" fmla="*/ 117 w 266"/>
                <a:gd name="T21" fmla="*/ 35 h 196"/>
                <a:gd name="T22" fmla="*/ 117 w 266"/>
                <a:gd name="T23" fmla="*/ 35 h 196"/>
                <a:gd name="T24" fmla="*/ 117 w 266"/>
                <a:gd name="T25" fmla="*/ 35 h 196"/>
                <a:gd name="T26" fmla="*/ 116 w 266"/>
                <a:gd name="T27" fmla="*/ 35 h 196"/>
                <a:gd name="T28" fmla="*/ 116 w 266"/>
                <a:gd name="T29" fmla="*/ 35 h 196"/>
                <a:gd name="T30" fmla="*/ 116 w 266"/>
                <a:gd name="T31" fmla="*/ 35 h 196"/>
                <a:gd name="T32" fmla="*/ 116 w 266"/>
                <a:gd name="T33" fmla="*/ 35 h 196"/>
                <a:gd name="T34" fmla="*/ 116 w 266"/>
                <a:gd name="T35" fmla="*/ 35 h 196"/>
                <a:gd name="T36" fmla="*/ 116 w 266"/>
                <a:gd name="T37" fmla="*/ 35 h 196"/>
                <a:gd name="T38" fmla="*/ 65 w 266"/>
                <a:gd name="T39" fmla="*/ 193 h 196"/>
                <a:gd name="T40" fmla="*/ 64 w 266"/>
                <a:gd name="T41" fmla="*/ 193 h 196"/>
                <a:gd name="T42" fmla="*/ 66 w 266"/>
                <a:gd name="T43" fmla="*/ 196 h 196"/>
                <a:gd name="T44" fmla="*/ 99 w 266"/>
                <a:gd name="T45" fmla="*/ 178 h 196"/>
                <a:gd name="T46" fmla="*/ 154 w 266"/>
                <a:gd name="T47" fmla="*/ 160 h 196"/>
                <a:gd name="T48" fmla="*/ 192 w 266"/>
                <a:gd name="T49" fmla="*/ 157 h 196"/>
                <a:gd name="T50" fmla="*/ 193 w 266"/>
                <a:gd name="T51" fmla="*/ 157 h 196"/>
                <a:gd name="T52" fmla="*/ 193 w 266"/>
                <a:gd name="T53" fmla="*/ 156 h 196"/>
                <a:gd name="T54" fmla="*/ 206 w 266"/>
                <a:gd name="T55" fmla="*/ 157 h 196"/>
                <a:gd name="T56" fmla="*/ 209 w 266"/>
                <a:gd name="T57" fmla="*/ 157 h 196"/>
                <a:gd name="T58" fmla="*/ 244 w 266"/>
                <a:gd name="T59" fmla="*/ 159 h 196"/>
                <a:gd name="T60" fmla="*/ 245 w 266"/>
                <a:gd name="T61" fmla="*/ 159 h 196"/>
                <a:gd name="T62" fmla="*/ 247 w 266"/>
                <a:gd name="T63" fmla="*/ 159 h 196"/>
                <a:gd name="T64" fmla="*/ 266 w 266"/>
                <a:gd name="T65" fmla="*/ 91 h 196"/>
                <a:gd name="T66" fmla="*/ 234 w 266"/>
                <a:gd name="T67" fmla="*/ 53 h 196"/>
                <a:gd name="T68" fmla="*/ 230 w 266"/>
                <a:gd name="T69" fmla="*/ 2 h 196"/>
                <a:gd name="T70" fmla="*/ 226 w 266"/>
                <a:gd name="T71" fmla="*/ 1 h 196"/>
                <a:gd name="T72" fmla="*/ 220 w 266"/>
                <a:gd name="T7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6" h="196">
                  <a:moveTo>
                    <a:pt x="220" y="0"/>
                  </a:moveTo>
                  <a:cubicBezTo>
                    <a:pt x="214" y="0"/>
                    <a:pt x="210" y="3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8" y="5"/>
                    <a:pt x="208" y="5"/>
                    <a:pt x="208" y="5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03" y="12"/>
                    <a:pt x="164" y="30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69" y="41"/>
                    <a:pt x="0" y="94"/>
                    <a:pt x="65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65" y="194"/>
                    <a:pt x="66" y="195"/>
                    <a:pt x="66" y="196"/>
                  </a:cubicBezTo>
                  <a:cubicBezTo>
                    <a:pt x="66" y="196"/>
                    <a:pt x="79" y="187"/>
                    <a:pt x="99" y="178"/>
                  </a:cubicBezTo>
                  <a:cubicBezTo>
                    <a:pt x="114" y="171"/>
                    <a:pt x="133" y="164"/>
                    <a:pt x="154" y="160"/>
                  </a:cubicBezTo>
                  <a:cubicBezTo>
                    <a:pt x="166" y="158"/>
                    <a:pt x="179" y="157"/>
                    <a:pt x="192" y="157"/>
                  </a:cubicBezTo>
                  <a:cubicBezTo>
                    <a:pt x="192" y="157"/>
                    <a:pt x="193" y="157"/>
                    <a:pt x="193" y="157"/>
                  </a:cubicBezTo>
                  <a:cubicBezTo>
                    <a:pt x="193" y="156"/>
                    <a:pt x="193" y="156"/>
                    <a:pt x="193" y="156"/>
                  </a:cubicBezTo>
                  <a:cubicBezTo>
                    <a:pt x="206" y="157"/>
                    <a:pt x="206" y="157"/>
                    <a:pt x="206" y="157"/>
                  </a:cubicBezTo>
                  <a:cubicBezTo>
                    <a:pt x="207" y="157"/>
                    <a:pt x="208" y="157"/>
                    <a:pt x="209" y="157"/>
                  </a:cubicBezTo>
                  <a:cubicBezTo>
                    <a:pt x="244" y="159"/>
                    <a:pt x="244" y="159"/>
                    <a:pt x="244" y="159"/>
                  </a:cubicBezTo>
                  <a:cubicBezTo>
                    <a:pt x="244" y="159"/>
                    <a:pt x="244" y="159"/>
                    <a:pt x="245" y="159"/>
                  </a:cubicBezTo>
                  <a:cubicBezTo>
                    <a:pt x="245" y="159"/>
                    <a:pt x="246" y="159"/>
                    <a:pt x="247" y="159"/>
                  </a:cubicBezTo>
                  <a:cubicBezTo>
                    <a:pt x="254" y="137"/>
                    <a:pt x="260" y="114"/>
                    <a:pt x="266" y="91"/>
                  </a:cubicBezTo>
                  <a:cubicBezTo>
                    <a:pt x="234" y="81"/>
                    <a:pt x="234" y="53"/>
                    <a:pt x="234" y="53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29" y="2"/>
                    <a:pt x="227" y="2"/>
                    <a:pt x="226" y="1"/>
                  </a:cubicBezTo>
                  <a:cubicBezTo>
                    <a:pt x="224" y="1"/>
                    <a:pt x="222" y="0"/>
                    <a:pt x="220" y="0"/>
                  </a:cubicBezTo>
                </a:path>
              </a:pathLst>
            </a:custGeom>
            <a:solidFill>
              <a:srgbClr val="1B1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A8FC5544-0DCA-48E8-9CB8-59BFC8D789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5638" y="2211388"/>
              <a:ext cx="147638" cy="266700"/>
            </a:xfrm>
            <a:custGeom>
              <a:avLst/>
              <a:gdLst>
                <a:gd name="T0" fmla="*/ 50 w 50"/>
                <a:gd name="T1" fmla="*/ 0 h 90"/>
                <a:gd name="T2" fmla="*/ 37 w 50"/>
                <a:gd name="T3" fmla="*/ 2 h 90"/>
                <a:gd name="T4" fmla="*/ 37 w 50"/>
                <a:gd name="T5" fmla="*/ 4 h 90"/>
                <a:gd name="T6" fmla="*/ 33 w 50"/>
                <a:gd name="T7" fmla="*/ 8 h 90"/>
                <a:gd name="T8" fmla="*/ 30 w 50"/>
                <a:gd name="T9" fmla="*/ 4 h 90"/>
                <a:gd name="T10" fmla="*/ 30 w 50"/>
                <a:gd name="T11" fmla="*/ 3 h 90"/>
                <a:gd name="T12" fmla="*/ 23 w 50"/>
                <a:gd name="T13" fmla="*/ 3 h 90"/>
                <a:gd name="T14" fmla="*/ 0 w 50"/>
                <a:gd name="T15" fmla="*/ 1 h 90"/>
                <a:gd name="T16" fmla="*/ 4 w 50"/>
                <a:gd name="T17" fmla="*/ 52 h 90"/>
                <a:gd name="T18" fmla="*/ 36 w 50"/>
                <a:gd name="T19" fmla="*/ 90 h 90"/>
                <a:gd name="T20" fmla="*/ 40 w 50"/>
                <a:gd name="T21" fmla="*/ 72 h 90"/>
                <a:gd name="T22" fmla="*/ 17 w 50"/>
                <a:gd name="T23" fmla="*/ 45 h 90"/>
                <a:gd name="T24" fmla="*/ 14 w 50"/>
                <a:gd name="T25" fmla="*/ 31 h 90"/>
                <a:gd name="T26" fmla="*/ 14 w 50"/>
                <a:gd name="T27" fmla="*/ 22 h 90"/>
                <a:gd name="T28" fmla="*/ 14 w 50"/>
                <a:gd name="T29" fmla="*/ 22 h 90"/>
                <a:gd name="T30" fmla="*/ 14 w 50"/>
                <a:gd name="T31" fmla="*/ 22 h 90"/>
                <a:gd name="T32" fmla="*/ 47 w 50"/>
                <a:gd name="T33" fmla="*/ 31 h 90"/>
                <a:gd name="T34" fmla="*/ 50 w 50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90">
                  <a:moveTo>
                    <a:pt x="50" y="0"/>
                  </a:moveTo>
                  <a:cubicBezTo>
                    <a:pt x="45" y="1"/>
                    <a:pt x="41" y="2"/>
                    <a:pt x="37" y="2"/>
                  </a:cubicBezTo>
                  <a:cubicBezTo>
                    <a:pt x="37" y="3"/>
                    <a:pt x="37" y="3"/>
                    <a:pt x="37" y="4"/>
                  </a:cubicBezTo>
                  <a:cubicBezTo>
                    <a:pt x="37" y="6"/>
                    <a:pt x="35" y="8"/>
                    <a:pt x="33" y="8"/>
                  </a:cubicBezTo>
                  <a:cubicBezTo>
                    <a:pt x="31" y="8"/>
                    <a:pt x="30" y="6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28" y="3"/>
                    <a:pt x="25" y="3"/>
                    <a:pt x="23" y="3"/>
                  </a:cubicBezTo>
                  <a:cubicBezTo>
                    <a:pt x="15" y="3"/>
                    <a:pt x="7" y="3"/>
                    <a:pt x="0" y="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80"/>
                    <a:pt x="36" y="90"/>
                  </a:cubicBezTo>
                  <a:cubicBezTo>
                    <a:pt x="37" y="84"/>
                    <a:pt x="38" y="78"/>
                    <a:pt x="40" y="72"/>
                  </a:cubicBezTo>
                  <a:cubicBezTo>
                    <a:pt x="28" y="67"/>
                    <a:pt x="21" y="56"/>
                    <a:pt x="17" y="45"/>
                  </a:cubicBezTo>
                  <a:cubicBezTo>
                    <a:pt x="15" y="40"/>
                    <a:pt x="14" y="35"/>
                    <a:pt x="14" y="31"/>
                  </a:cubicBezTo>
                  <a:cubicBezTo>
                    <a:pt x="14" y="28"/>
                    <a:pt x="14" y="25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29" y="25"/>
                    <a:pt x="47" y="31"/>
                  </a:cubicBezTo>
                  <a:cubicBezTo>
                    <a:pt x="48" y="20"/>
                    <a:pt x="49" y="10"/>
                    <a:pt x="50" y="0"/>
                  </a:cubicBezTo>
                </a:path>
              </a:pathLst>
            </a:custGeom>
            <a:solidFill>
              <a:srgbClr val="DDA1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0AB4446A-97B9-4BE0-880F-570AE64419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94538" y="2217738"/>
              <a:ext cx="20638" cy="17463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1 h 6"/>
                <a:gd name="T4" fmla="*/ 0 w 7"/>
                <a:gd name="T5" fmla="*/ 2 h 6"/>
                <a:gd name="T6" fmla="*/ 3 w 7"/>
                <a:gd name="T7" fmla="*/ 6 h 6"/>
                <a:gd name="T8" fmla="*/ 7 w 7"/>
                <a:gd name="T9" fmla="*/ 2 h 6"/>
                <a:gd name="T10" fmla="*/ 7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" y="6"/>
                    <a:pt x="7" y="4"/>
                    <a:pt x="7" y="2"/>
                  </a:cubicBezTo>
                  <a:cubicBezTo>
                    <a:pt x="7" y="1"/>
                    <a:pt x="7" y="1"/>
                    <a:pt x="7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D6E776B1-A253-403B-9FF3-7A7448CC1C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46913" y="2276475"/>
              <a:ext cx="98425" cy="136525"/>
            </a:xfrm>
            <a:custGeom>
              <a:avLst/>
              <a:gdLst>
                <a:gd name="T0" fmla="*/ 0 w 33"/>
                <a:gd name="T1" fmla="*/ 9 h 46"/>
                <a:gd name="T2" fmla="*/ 3 w 33"/>
                <a:gd name="T3" fmla="*/ 23 h 46"/>
                <a:gd name="T4" fmla="*/ 0 w 33"/>
                <a:gd name="T5" fmla="*/ 9 h 46"/>
                <a:gd name="T6" fmla="*/ 0 w 33"/>
                <a:gd name="T7" fmla="*/ 0 h 46"/>
                <a:gd name="T8" fmla="*/ 0 w 33"/>
                <a:gd name="T9" fmla="*/ 0 h 46"/>
                <a:gd name="T10" fmla="*/ 0 w 33"/>
                <a:gd name="T11" fmla="*/ 0 h 46"/>
                <a:gd name="T12" fmla="*/ 0 w 33"/>
                <a:gd name="T13" fmla="*/ 0 h 46"/>
                <a:gd name="T14" fmla="*/ 0 w 33"/>
                <a:gd name="T15" fmla="*/ 0 h 46"/>
                <a:gd name="T16" fmla="*/ 4 w 33"/>
                <a:gd name="T17" fmla="*/ 1 h 46"/>
                <a:gd name="T18" fmla="*/ 1 w 33"/>
                <a:gd name="T19" fmla="*/ 3 h 46"/>
                <a:gd name="T20" fmla="*/ 27 w 33"/>
                <a:gd name="T21" fmla="*/ 46 h 46"/>
                <a:gd name="T22" fmla="*/ 31 w 33"/>
                <a:gd name="T23" fmla="*/ 19 h 46"/>
                <a:gd name="T24" fmla="*/ 33 w 33"/>
                <a:gd name="T25" fmla="*/ 11 h 46"/>
                <a:gd name="T26" fmla="*/ 0 w 33"/>
                <a:gd name="T2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0" y="9"/>
                  </a:moveTo>
                  <a:cubicBezTo>
                    <a:pt x="0" y="13"/>
                    <a:pt x="1" y="18"/>
                    <a:pt x="3" y="23"/>
                  </a:cubicBezTo>
                  <a:cubicBezTo>
                    <a:pt x="1" y="18"/>
                    <a:pt x="0" y="14"/>
                    <a:pt x="0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2"/>
                    <a:pt x="4" y="36"/>
                    <a:pt x="27" y="46"/>
                  </a:cubicBezTo>
                  <a:cubicBezTo>
                    <a:pt x="28" y="37"/>
                    <a:pt x="30" y="28"/>
                    <a:pt x="31" y="19"/>
                  </a:cubicBezTo>
                  <a:cubicBezTo>
                    <a:pt x="32" y="16"/>
                    <a:pt x="32" y="14"/>
                    <a:pt x="33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58C05672-FBC7-4578-A25C-0ECFDDA37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98425" cy="33338"/>
            </a:xfrm>
            <a:custGeom>
              <a:avLst/>
              <a:gdLst>
                <a:gd name="T0" fmla="*/ 0 w 33"/>
                <a:gd name="T1" fmla="*/ 0 h 11"/>
                <a:gd name="T2" fmla="*/ 0 w 33"/>
                <a:gd name="T3" fmla="*/ 0 h 11"/>
                <a:gd name="T4" fmla="*/ 33 w 33"/>
                <a:gd name="T5" fmla="*/ 11 h 11"/>
                <a:gd name="T6" fmla="*/ 33 w 33"/>
                <a:gd name="T7" fmla="*/ 9 h 11"/>
                <a:gd name="T8" fmla="*/ 0 w 3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0"/>
                    <a:pt x="33" y="9"/>
                    <a:pt x="33" y="9"/>
                  </a:cubicBezTo>
                  <a:cubicBezTo>
                    <a:pt x="15" y="3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8E37F06B-F8A1-4613-AFF3-8691AAB5F8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80963" cy="149225"/>
            </a:xfrm>
            <a:custGeom>
              <a:avLst/>
              <a:gdLst>
                <a:gd name="T0" fmla="*/ 0 w 27"/>
                <a:gd name="T1" fmla="*/ 0 h 50"/>
                <a:gd name="T2" fmla="*/ 0 w 27"/>
                <a:gd name="T3" fmla="*/ 0 h 50"/>
                <a:gd name="T4" fmla="*/ 0 w 27"/>
                <a:gd name="T5" fmla="*/ 9 h 50"/>
                <a:gd name="T6" fmla="*/ 3 w 27"/>
                <a:gd name="T7" fmla="*/ 23 h 50"/>
                <a:gd name="T8" fmla="*/ 26 w 27"/>
                <a:gd name="T9" fmla="*/ 50 h 50"/>
                <a:gd name="T10" fmla="*/ 27 w 27"/>
                <a:gd name="T11" fmla="*/ 46 h 50"/>
                <a:gd name="T12" fmla="*/ 1 w 27"/>
                <a:gd name="T13" fmla="*/ 3 h 50"/>
                <a:gd name="T14" fmla="*/ 0 w 27"/>
                <a:gd name="T15" fmla="*/ 3 h 50"/>
                <a:gd name="T16" fmla="*/ 0 w 27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14"/>
                    <a:pt x="1" y="18"/>
                    <a:pt x="3" y="23"/>
                  </a:cubicBezTo>
                  <a:cubicBezTo>
                    <a:pt x="7" y="34"/>
                    <a:pt x="14" y="45"/>
                    <a:pt x="26" y="50"/>
                  </a:cubicBezTo>
                  <a:cubicBezTo>
                    <a:pt x="26" y="49"/>
                    <a:pt x="26" y="47"/>
                    <a:pt x="27" y="46"/>
                  </a:cubicBezTo>
                  <a:cubicBezTo>
                    <a:pt x="4" y="36"/>
                    <a:pt x="1" y="12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6D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7DB5BF02-1332-437E-BB54-F55856D30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11113" cy="9525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2A94B0DD-E268-4045-8CC7-5900CF5C9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913" y="2276475"/>
              <a:ext cx="11113" cy="9525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0 h 6"/>
                <a:gd name="T4" fmla="*/ 0 w 7"/>
                <a:gd name="T5" fmla="*/ 6 h 6"/>
                <a:gd name="T6" fmla="*/ 2 w 7"/>
                <a:gd name="T7" fmla="*/ 6 h 6"/>
                <a:gd name="T8" fmla="*/ 7 w 7"/>
                <a:gd name="T9" fmla="*/ 2 h 6"/>
                <a:gd name="T10" fmla="*/ 0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7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91370FAE-12F4-42BC-8CC4-A180349C27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4200" y="2674938"/>
              <a:ext cx="122238" cy="127000"/>
            </a:xfrm>
            <a:custGeom>
              <a:avLst/>
              <a:gdLst>
                <a:gd name="T0" fmla="*/ 0 w 41"/>
                <a:gd name="T1" fmla="*/ 0 h 43"/>
                <a:gd name="T2" fmla="*/ 29 w 41"/>
                <a:gd name="T3" fmla="*/ 43 h 43"/>
                <a:gd name="T4" fmla="*/ 41 w 41"/>
                <a:gd name="T5" fmla="*/ 2 h 43"/>
                <a:gd name="T6" fmla="*/ 39 w 41"/>
                <a:gd name="T7" fmla="*/ 2 h 43"/>
                <a:gd name="T8" fmla="*/ 38 w 41"/>
                <a:gd name="T9" fmla="*/ 2 h 43"/>
                <a:gd name="T10" fmla="*/ 3 w 41"/>
                <a:gd name="T11" fmla="*/ 0 h 43"/>
                <a:gd name="T12" fmla="*/ 3 w 41"/>
                <a:gd name="T13" fmla="*/ 0 h 43"/>
                <a:gd name="T14" fmla="*/ 3 w 41"/>
                <a:gd name="T15" fmla="*/ 0 h 43"/>
                <a:gd name="T16" fmla="*/ 0 w 41"/>
                <a:gd name="T1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0"/>
                  </a:moveTo>
                  <a:cubicBezTo>
                    <a:pt x="0" y="0"/>
                    <a:pt x="7" y="27"/>
                    <a:pt x="29" y="43"/>
                  </a:cubicBezTo>
                  <a:cubicBezTo>
                    <a:pt x="33" y="29"/>
                    <a:pt x="37" y="16"/>
                    <a:pt x="41" y="2"/>
                  </a:cubicBezTo>
                  <a:cubicBezTo>
                    <a:pt x="40" y="2"/>
                    <a:pt x="39" y="2"/>
                    <a:pt x="39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90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8E26DA77-6FC8-458E-9539-5EB00BE691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4675" y="2122488"/>
              <a:ext cx="228600" cy="122238"/>
            </a:xfrm>
            <a:custGeom>
              <a:avLst/>
              <a:gdLst>
                <a:gd name="T0" fmla="*/ 76 w 77"/>
                <a:gd name="T1" fmla="*/ 0 h 41"/>
                <a:gd name="T2" fmla="*/ 26 w 77"/>
                <a:gd name="T3" fmla="*/ 0 h 41"/>
                <a:gd name="T4" fmla="*/ 26 w 77"/>
                <a:gd name="T5" fmla="*/ 0 h 41"/>
                <a:gd name="T6" fmla="*/ 0 w 77"/>
                <a:gd name="T7" fmla="*/ 36 h 41"/>
                <a:gd name="T8" fmla="*/ 0 w 77"/>
                <a:gd name="T9" fmla="*/ 41 h 41"/>
                <a:gd name="T10" fmla="*/ 0 w 77"/>
                <a:gd name="T11" fmla="*/ 41 h 41"/>
                <a:gd name="T12" fmla="*/ 0 w 77"/>
                <a:gd name="T13" fmla="*/ 41 h 41"/>
                <a:gd name="T14" fmla="*/ 5 w 77"/>
                <a:gd name="T15" fmla="*/ 34 h 41"/>
                <a:gd name="T16" fmla="*/ 17 w 77"/>
                <a:gd name="T17" fmla="*/ 29 h 41"/>
                <a:gd name="T18" fmla="*/ 23 w 77"/>
                <a:gd name="T19" fmla="*/ 30 h 41"/>
                <a:gd name="T20" fmla="*/ 27 w 77"/>
                <a:gd name="T21" fmla="*/ 31 h 41"/>
                <a:gd name="T22" fmla="*/ 50 w 77"/>
                <a:gd name="T23" fmla="*/ 33 h 41"/>
                <a:gd name="T24" fmla="*/ 57 w 77"/>
                <a:gd name="T25" fmla="*/ 33 h 41"/>
                <a:gd name="T26" fmla="*/ 64 w 77"/>
                <a:gd name="T27" fmla="*/ 32 h 41"/>
                <a:gd name="T28" fmla="*/ 77 w 77"/>
                <a:gd name="T29" fmla="*/ 30 h 41"/>
                <a:gd name="T30" fmla="*/ 76 w 77"/>
                <a:gd name="T3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41">
                  <a:moveTo>
                    <a:pt x="7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9" y="2"/>
                    <a:pt x="0" y="19"/>
                    <a:pt x="0" y="36"/>
                  </a:cubicBezTo>
                  <a:cubicBezTo>
                    <a:pt x="0" y="37"/>
                    <a:pt x="0" y="39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1" y="37"/>
                    <a:pt x="5" y="34"/>
                  </a:cubicBezTo>
                  <a:cubicBezTo>
                    <a:pt x="7" y="32"/>
                    <a:pt x="11" y="29"/>
                    <a:pt x="17" y="29"/>
                  </a:cubicBezTo>
                  <a:cubicBezTo>
                    <a:pt x="19" y="29"/>
                    <a:pt x="21" y="30"/>
                    <a:pt x="23" y="30"/>
                  </a:cubicBezTo>
                  <a:cubicBezTo>
                    <a:pt x="24" y="31"/>
                    <a:pt x="26" y="31"/>
                    <a:pt x="27" y="31"/>
                  </a:cubicBezTo>
                  <a:cubicBezTo>
                    <a:pt x="34" y="33"/>
                    <a:pt x="42" y="33"/>
                    <a:pt x="50" y="33"/>
                  </a:cubicBezTo>
                  <a:cubicBezTo>
                    <a:pt x="52" y="33"/>
                    <a:pt x="55" y="33"/>
                    <a:pt x="57" y="33"/>
                  </a:cubicBezTo>
                  <a:cubicBezTo>
                    <a:pt x="59" y="33"/>
                    <a:pt x="62" y="33"/>
                    <a:pt x="64" y="32"/>
                  </a:cubicBezTo>
                  <a:cubicBezTo>
                    <a:pt x="68" y="32"/>
                    <a:pt x="72" y="31"/>
                    <a:pt x="77" y="30"/>
                  </a:cubicBezTo>
                  <a:cubicBezTo>
                    <a:pt x="77" y="20"/>
                    <a:pt x="77" y="10"/>
                    <a:pt x="76" y="0"/>
                  </a:cubicBezTo>
                </a:path>
              </a:pathLst>
            </a:custGeom>
            <a:solidFill>
              <a:srgbClr val="3323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F3C66846-A5C8-4999-B83C-25B02C461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4513" y="2671763"/>
              <a:ext cx="125413" cy="174625"/>
            </a:xfrm>
            <a:custGeom>
              <a:avLst/>
              <a:gdLst>
                <a:gd name="T0" fmla="*/ 0 w 42"/>
                <a:gd name="T1" fmla="*/ 0 h 59"/>
                <a:gd name="T2" fmla="*/ 0 w 42"/>
                <a:gd name="T3" fmla="*/ 1 h 59"/>
                <a:gd name="T4" fmla="*/ 39 w 42"/>
                <a:gd name="T5" fmla="*/ 59 h 59"/>
                <a:gd name="T6" fmla="*/ 42 w 42"/>
                <a:gd name="T7" fmla="*/ 44 h 59"/>
                <a:gd name="T8" fmla="*/ 13 w 42"/>
                <a:gd name="T9" fmla="*/ 1 h 59"/>
                <a:gd name="T10" fmla="*/ 13 w 42"/>
                <a:gd name="T11" fmla="*/ 1 h 59"/>
                <a:gd name="T12" fmla="*/ 16 w 42"/>
                <a:gd name="T13" fmla="*/ 1 h 59"/>
                <a:gd name="T14" fmla="*/ 16 w 42"/>
                <a:gd name="T15" fmla="*/ 1 h 59"/>
                <a:gd name="T16" fmla="*/ 13 w 42"/>
                <a:gd name="T17" fmla="*/ 1 h 59"/>
                <a:gd name="T18" fmla="*/ 0 w 42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8"/>
                    <a:pt x="12" y="44"/>
                    <a:pt x="39" y="59"/>
                  </a:cubicBezTo>
                  <a:cubicBezTo>
                    <a:pt x="40" y="54"/>
                    <a:pt x="41" y="49"/>
                    <a:pt x="42" y="44"/>
                  </a:cubicBezTo>
                  <a:cubicBezTo>
                    <a:pt x="20" y="28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DD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68CC2F5D-9E3B-44C5-ACFB-F5ED1C3ADC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72300" y="1901825"/>
              <a:ext cx="179388" cy="220663"/>
            </a:xfrm>
            <a:custGeom>
              <a:avLst/>
              <a:gdLst>
                <a:gd name="T0" fmla="*/ 47 w 60"/>
                <a:gd name="T1" fmla="*/ 4 h 74"/>
                <a:gd name="T2" fmla="*/ 1 w 60"/>
                <a:gd name="T3" fmla="*/ 11 h 74"/>
                <a:gd name="T4" fmla="*/ 1 w 60"/>
                <a:gd name="T5" fmla="*/ 11 h 74"/>
                <a:gd name="T6" fmla="*/ 1 w 60"/>
                <a:gd name="T7" fmla="*/ 11 h 74"/>
                <a:gd name="T8" fmla="*/ 10 w 60"/>
                <a:gd name="T9" fmla="*/ 74 h 74"/>
                <a:gd name="T10" fmla="*/ 10 w 60"/>
                <a:gd name="T11" fmla="*/ 74 h 74"/>
                <a:gd name="T12" fmla="*/ 60 w 60"/>
                <a:gd name="T13" fmla="*/ 74 h 74"/>
                <a:gd name="T14" fmla="*/ 47 w 60"/>
                <a:gd name="T15" fmla="*/ 4 h 74"/>
                <a:gd name="T16" fmla="*/ 13 w 60"/>
                <a:gd name="T17" fmla="*/ 0 h 74"/>
                <a:gd name="T18" fmla="*/ 0 w 60"/>
                <a:gd name="T19" fmla="*/ 1 h 74"/>
                <a:gd name="T20" fmla="*/ 0 w 60"/>
                <a:gd name="T21" fmla="*/ 2 h 74"/>
                <a:gd name="T22" fmla="*/ 0 w 60"/>
                <a:gd name="T23" fmla="*/ 2 h 74"/>
                <a:gd name="T24" fmla="*/ 13 w 60"/>
                <a:gd name="T2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47" y="4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50"/>
                    <a:pt x="54" y="27"/>
                    <a:pt x="47" y="4"/>
                  </a:cubicBezTo>
                  <a:moveTo>
                    <a:pt x="1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7FDCC21-96FF-4766-B577-6F2E64EDD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8450" y="1890713"/>
              <a:ext cx="463550" cy="88900"/>
            </a:xfrm>
            <a:custGeom>
              <a:avLst/>
              <a:gdLst>
                <a:gd name="T0" fmla="*/ 153 w 156"/>
                <a:gd name="T1" fmla="*/ 0 h 30"/>
                <a:gd name="T2" fmla="*/ 122 w 156"/>
                <a:gd name="T3" fmla="*/ 4 h 30"/>
                <a:gd name="T4" fmla="*/ 109 w 156"/>
                <a:gd name="T5" fmla="*/ 6 h 30"/>
                <a:gd name="T6" fmla="*/ 0 w 156"/>
                <a:gd name="T7" fmla="*/ 22 h 30"/>
                <a:gd name="T8" fmla="*/ 0 w 156"/>
                <a:gd name="T9" fmla="*/ 30 h 30"/>
                <a:gd name="T10" fmla="*/ 110 w 156"/>
                <a:gd name="T11" fmla="*/ 15 h 30"/>
                <a:gd name="T12" fmla="*/ 156 w 156"/>
                <a:gd name="T13" fmla="*/ 8 h 30"/>
                <a:gd name="T14" fmla="*/ 153 w 156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30">
                  <a:moveTo>
                    <a:pt x="15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5" y="5"/>
                    <a:pt x="154" y="2"/>
                    <a:pt x="153" y="0"/>
                  </a:cubicBezTo>
                </a:path>
              </a:pathLst>
            </a:custGeom>
            <a:solidFill>
              <a:srgbClr val="1E2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91DCD134-DB23-4B4A-9E0A-F7DDBE66C3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9817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261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FE6C2DF3-3E06-48BB-BFA9-AE5DC11B5F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9817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DD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55505169-4D23-4F2E-AAD5-407745F6A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175" y="1741488"/>
              <a:ext cx="382588" cy="169863"/>
            </a:xfrm>
            <a:custGeom>
              <a:avLst/>
              <a:gdLst>
                <a:gd name="T0" fmla="*/ 129 w 129"/>
                <a:gd name="T1" fmla="*/ 57 h 57"/>
                <a:gd name="T2" fmla="*/ 65 w 129"/>
                <a:gd name="T3" fmla="*/ 0 h 57"/>
                <a:gd name="T4" fmla="*/ 0 w 129"/>
                <a:gd name="T5" fmla="*/ 57 h 57"/>
                <a:gd name="T6" fmla="*/ 129 w 129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9" h="57">
                  <a:moveTo>
                    <a:pt x="129" y="57"/>
                  </a:moveTo>
                  <a:cubicBezTo>
                    <a:pt x="126" y="25"/>
                    <a:pt x="98" y="0"/>
                    <a:pt x="65" y="0"/>
                  </a:cubicBezTo>
                  <a:cubicBezTo>
                    <a:pt x="31" y="0"/>
                    <a:pt x="4" y="25"/>
                    <a:pt x="0" y="57"/>
                  </a:cubicBezTo>
                  <a:lnTo>
                    <a:pt x="12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8ED85E81-61BE-4981-9D8B-EAB09D5C2F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4263" y="1695450"/>
              <a:ext cx="719138" cy="215900"/>
            </a:xfrm>
            <a:custGeom>
              <a:avLst/>
              <a:gdLst>
                <a:gd name="T0" fmla="*/ 242 w 242"/>
                <a:gd name="T1" fmla="*/ 73 h 73"/>
                <a:gd name="T2" fmla="*/ 121 w 242"/>
                <a:gd name="T3" fmla="*/ 0 h 73"/>
                <a:gd name="T4" fmla="*/ 0 w 242"/>
                <a:gd name="T5" fmla="*/ 73 h 73"/>
                <a:gd name="T6" fmla="*/ 242 w 242"/>
                <a:gd name="T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2" h="73">
                  <a:moveTo>
                    <a:pt x="242" y="73"/>
                  </a:moveTo>
                  <a:cubicBezTo>
                    <a:pt x="219" y="29"/>
                    <a:pt x="174" y="0"/>
                    <a:pt x="121" y="0"/>
                  </a:cubicBezTo>
                  <a:cubicBezTo>
                    <a:pt x="68" y="0"/>
                    <a:pt x="23" y="29"/>
                    <a:pt x="0" y="73"/>
                  </a:cubicBezTo>
                  <a:lnTo>
                    <a:pt x="242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8C8611DB-4A09-4DD2-BE68-5AD32102CE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08350" y="1833563"/>
              <a:ext cx="404813" cy="77788"/>
            </a:xfrm>
            <a:custGeom>
              <a:avLst/>
              <a:gdLst>
                <a:gd name="T0" fmla="*/ 136 w 136"/>
                <a:gd name="T1" fmla="*/ 26 h 26"/>
                <a:gd name="T2" fmla="*/ 68 w 136"/>
                <a:gd name="T3" fmla="*/ 0 h 26"/>
                <a:gd name="T4" fmla="*/ 0 w 136"/>
                <a:gd name="T5" fmla="*/ 26 h 26"/>
                <a:gd name="T6" fmla="*/ 136 w 13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26">
                  <a:moveTo>
                    <a:pt x="136" y="26"/>
                  </a:moveTo>
                  <a:cubicBezTo>
                    <a:pt x="118" y="10"/>
                    <a:pt x="94" y="0"/>
                    <a:pt x="68" y="0"/>
                  </a:cubicBezTo>
                  <a:cubicBezTo>
                    <a:pt x="41" y="0"/>
                    <a:pt x="18" y="10"/>
                    <a:pt x="0" y="26"/>
                  </a:cubicBezTo>
                  <a:lnTo>
                    <a:pt x="136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5764CCF9-CE5D-402D-8853-00A1F91FB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6738" y="5367338"/>
              <a:ext cx="177800" cy="388938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1" name="Freeform 97">
              <a:extLst>
                <a:ext uri="{FF2B5EF4-FFF2-40B4-BE49-F238E27FC236}">
                  <a16:creationId xmlns:a16="http://schemas.microsoft.com/office/drawing/2014/main" id="{BC50AAAC-B464-4384-9415-E3F578DF64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6738" y="5367338"/>
              <a:ext cx="177800" cy="388938"/>
            </a:xfrm>
            <a:custGeom>
              <a:avLst/>
              <a:gdLst>
                <a:gd name="T0" fmla="*/ 32 w 112"/>
                <a:gd name="T1" fmla="*/ 0 h 245"/>
                <a:gd name="T2" fmla="*/ 30 w 112"/>
                <a:gd name="T3" fmla="*/ 9 h 245"/>
                <a:gd name="T4" fmla="*/ 0 w 112"/>
                <a:gd name="T5" fmla="*/ 245 h 245"/>
                <a:gd name="T6" fmla="*/ 77 w 112"/>
                <a:gd name="T7" fmla="*/ 245 h 245"/>
                <a:gd name="T8" fmla="*/ 112 w 112"/>
                <a:gd name="T9" fmla="*/ 35 h 245"/>
                <a:gd name="T10" fmla="*/ 32 w 112"/>
                <a:gd name="T1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5">
                  <a:moveTo>
                    <a:pt x="32" y="0"/>
                  </a:moveTo>
                  <a:lnTo>
                    <a:pt x="30" y="9"/>
                  </a:lnTo>
                  <a:lnTo>
                    <a:pt x="0" y="245"/>
                  </a:lnTo>
                  <a:lnTo>
                    <a:pt x="77" y="245"/>
                  </a:lnTo>
                  <a:lnTo>
                    <a:pt x="112" y="35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D1EF81AB-3126-4BE0-84AF-10C52769DE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1263" y="5445125"/>
              <a:ext cx="160338" cy="301625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738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3" name="Freeform 99">
              <a:extLst>
                <a:ext uri="{FF2B5EF4-FFF2-40B4-BE49-F238E27FC236}">
                  <a16:creationId xmlns:a16="http://schemas.microsoft.com/office/drawing/2014/main" id="{EC4D69D4-FF83-48AC-8D24-585DCFF9D4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1263" y="5445125"/>
              <a:ext cx="160338" cy="301625"/>
            </a:xfrm>
            <a:custGeom>
              <a:avLst/>
              <a:gdLst>
                <a:gd name="T0" fmla="*/ 21 w 101"/>
                <a:gd name="T1" fmla="*/ 9 h 190"/>
                <a:gd name="T2" fmla="*/ 0 w 101"/>
                <a:gd name="T3" fmla="*/ 190 h 190"/>
                <a:gd name="T4" fmla="*/ 79 w 101"/>
                <a:gd name="T5" fmla="*/ 177 h 190"/>
                <a:gd name="T6" fmla="*/ 101 w 101"/>
                <a:gd name="T7" fmla="*/ 0 h 190"/>
                <a:gd name="T8" fmla="*/ 21 w 101"/>
                <a:gd name="T9" fmla="*/ 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0">
                  <a:moveTo>
                    <a:pt x="21" y="9"/>
                  </a:moveTo>
                  <a:lnTo>
                    <a:pt x="0" y="190"/>
                  </a:lnTo>
                  <a:lnTo>
                    <a:pt x="79" y="177"/>
                  </a:lnTo>
                  <a:lnTo>
                    <a:pt x="101" y="0"/>
                  </a:lnTo>
                  <a:lnTo>
                    <a:pt x="21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4" name="Freeform 100">
              <a:extLst>
                <a:ext uri="{FF2B5EF4-FFF2-40B4-BE49-F238E27FC236}">
                  <a16:creationId xmlns:a16="http://schemas.microsoft.com/office/drawing/2014/main" id="{33274502-F831-4142-B968-EED9B996C6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1263" y="5726113"/>
              <a:ext cx="360363" cy="139700"/>
            </a:xfrm>
            <a:custGeom>
              <a:avLst/>
              <a:gdLst>
                <a:gd name="T0" fmla="*/ 0 w 121"/>
                <a:gd name="T1" fmla="*/ 7 h 47"/>
                <a:gd name="T2" fmla="*/ 42 w 121"/>
                <a:gd name="T3" fmla="*/ 0 h 47"/>
                <a:gd name="T4" fmla="*/ 121 w 121"/>
                <a:gd name="T5" fmla="*/ 47 h 47"/>
                <a:gd name="T6" fmla="*/ 0 w 121"/>
                <a:gd name="T7" fmla="*/ 37 h 47"/>
                <a:gd name="T8" fmla="*/ 0 w 121"/>
                <a:gd name="T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47">
                  <a:moveTo>
                    <a:pt x="0" y="7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102" y="9"/>
                    <a:pt x="121" y="47"/>
                  </a:cubicBezTo>
                  <a:cubicBezTo>
                    <a:pt x="0" y="37"/>
                    <a:pt x="0" y="37"/>
                    <a:pt x="0" y="3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5" name="Freeform 101">
              <a:extLst>
                <a:ext uri="{FF2B5EF4-FFF2-40B4-BE49-F238E27FC236}">
                  <a16:creationId xmlns:a16="http://schemas.microsoft.com/office/drawing/2014/main" id="{1E1CA282-5EE0-4A44-987A-9D42EAD757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4038" y="5753100"/>
              <a:ext cx="381000" cy="125413"/>
            </a:xfrm>
            <a:custGeom>
              <a:avLst/>
              <a:gdLst>
                <a:gd name="T0" fmla="*/ 45 w 128"/>
                <a:gd name="T1" fmla="*/ 1 h 42"/>
                <a:gd name="T2" fmla="*/ 128 w 128"/>
                <a:gd name="T3" fmla="*/ 42 h 42"/>
                <a:gd name="T4" fmla="*/ 0 w 128"/>
                <a:gd name="T5" fmla="*/ 31 h 42"/>
                <a:gd name="T6" fmla="*/ 4 w 128"/>
                <a:gd name="T7" fmla="*/ 1 h 42"/>
                <a:gd name="T8" fmla="*/ 42 w 12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42">
                  <a:moveTo>
                    <a:pt x="45" y="1"/>
                  </a:moveTo>
                  <a:cubicBezTo>
                    <a:pt x="45" y="1"/>
                    <a:pt x="102" y="2"/>
                    <a:pt x="128" y="4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8F66E82C-3A08-47D0-86C3-14218EB154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1263" y="5835650"/>
              <a:ext cx="360363" cy="50800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  <a:gd name="T10" fmla="*/ 0 w 227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1F542A7A-8C02-4713-AFCA-709C9DC2F0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1263" y="5835650"/>
              <a:ext cx="360363" cy="50800"/>
            </a:xfrm>
            <a:custGeom>
              <a:avLst/>
              <a:gdLst>
                <a:gd name="T0" fmla="*/ 0 w 227"/>
                <a:gd name="T1" fmla="*/ 0 h 32"/>
                <a:gd name="T2" fmla="*/ 0 w 227"/>
                <a:gd name="T3" fmla="*/ 19 h 32"/>
                <a:gd name="T4" fmla="*/ 227 w 227"/>
                <a:gd name="T5" fmla="*/ 32 h 32"/>
                <a:gd name="T6" fmla="*/ 227 w 227"/>
                <a:gd name="T7" fmla="*/ 19 h 32"/>
                <a:gd name="T8" fmla="*/ 4 w 227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32">
                  <a:moveTo>
                    <a:pt x="0" y="0"/>
                  </a:moveTo>
                  <a:lnTo>
                    <a:pt x="0" y="19"/>
                  </a:lnTo>
                  <a:lnTo>
                    <a:pt x="227" y="32"/>
                  </a:lnTo>
                  <a:lnTo>
                    <a:pt x="227" y="19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8" name="Freeform 104">
              <a:extLst>
                <a:ext uri="{FF2B5EF4-FFF2-40B4-BE49-F238E27FC236}">
                  <a16:creationId xmlns:a16="http://schemas.microsoft.com/office/drawing/2014/main" id="{9EAF03F0-4C21-41D6-B38A-F2CE000E9F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56100" y="5845175"/>
              <a:ext cx="388938" cy="71438"/>
            </a:xfrm>
            <a:custGeom>
              <a:avLst/>
              <a:gdLst>
                <a:gd name="T0" fmla="*/ 245 w 245"/>
                <a:gd name="T1" fmla="*/ 21 h 45"/>
                <a:gd name="T2" fmla="*/ 245 w 245"/>
                <a:gd name="T3" fmla="*/ 45 h 45"/>
                <a:gd name="T4" fmla="*/ 0 w 245"/>
                <a:gd name="T5" fmla="*/ 26 h 45"/>
                <a:gd name="T6" fmla="*/ 5 w 245"/>
                <a:gd name="T7" fmla="*/ 0 h 45"/>
                <a:gd name="T8" fmla="*/ 245 w 245"/>
                <a:gd name="T9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45">
                  <a:moveTo>
                    <a:pt x="245" y="21"/>
                  </a:moveTo>
                  <a:lnTo>
                    <a:pt x="245" y="45"/>
                  </a:lnTo>
                  <a:lnTo>
                    <a:pt x="0" y="26"/>
                  </a:lnTo>
                  <a:lnTo>
                    <a:pt x="5" y="0"/>
                  </a:lnTo>
                  <a:lnTo>
                    <a:pt x="245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9" name="Freeform 105">
              <a:extLst>
                <a:ext uri="{FF2B5EF4-FFF2-40B4-BE49-F238E27FC236}">
                  <a16:creationId xmlns:a16="http://schemas.microsoft.com/office/drawing/2014/main" id="{F3CFD3C2-934F-4270-84FD-8F4D024BF3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8650" y="5756275"/>
              <a:ext cx="122238" cy="47625"/>
            </a:xfrm>
            <a:custGeom>
              <a:avLst/>
              <a:gdLst>
                <a:gd name="T0" fmla="*/ 4 w 41"/>
                <a:gd name="T1" fmla="*/ 15 h 16"/>
                <a:gd name="T2" fmla="*/ 4 w 41"/>
                <a:gd name="T3" fmla="*/ 15 h 16"/>
                <a:gd name="T4" fmla="*/ 39 w 41"/>
                <a:gd name="T5" fmla="*/ 4 h 16"/>
                <a:gd name="T6" fmla="*/ 41 w 41"/>
                <a:gd name="T7" fmla="*/ 2 h 16"/>
                <a:gd name="T8" fmla="*/ 39 w 41"/>
                <a:gd name="T9" fmla="*/ 0 h 16"/>
                <a:gd name="T10" fmla="*/ 1 w 41"/>
                <a:gd name="T11" fmla="*/ 12 h 16"/>
                <a:gd name="T12" fmla="*/ 1 w 41"/>
                <a:gd name="T13" fmla="*/ 15 h 16"/>
                <a:gd name="T14" fmla="*/ 4 w 41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6">
                  <a:moveTo>
                    <a:pt x="4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16" y="4"/>
                    <a:pt x="39" y="4"/>
                  </a:cubicBezTo>
                  <a:cubicBezTo>
                    <a:pt x="40" y="4"/>
                    <a:pt x="41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4" y="0"/>
                    <a:pt x="1" y="12"/>
                    <a:pt x="1" y="12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2" y="16"/>
                    <a:pt x="3" y="16"/>
                    <a:pt x="4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0" name="Freeform 106">
              <a:extLst>
                <a:ext uri="{FF2B5EF4-FFF2-40B4-BE49-F238E27FC236}">
                  <a16:creationId xmlns:a16="http://schemas.microsoft.com/office/drawing/2014/main" id="{551B41C8-3321-47EE-9468-8819A7331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03738" y="5773738"/>
              <a:ext cx="115888" cy="47625"/>
            </a:xfrm>
            <a:custGeom>
              <a:avLst/>
              <a:gdLst>
                <a:gd name="T0" fmla="*/ 4 w 39"/>
                <a:gd name="T1" fmla="*/ 16 h 16"/>
                <a:gd name="T2" fmla="*/ 4 w 39"/>
                <a:gd name="T3" fmla="*/ 15 h 16"/>
                <a:gd name="T4" fmla="*/ 37 w 39"/>
                <a:gd name="T5" fmla="*/ 4 h 16"/>
                <a:gd name="T6" fmla="*/ 39 w 39"/>
                <a:gd name="T7" fmla="*/ 2 h 16"/>
                <a:gd name="T8" fmla="*/ 37 w 39"/>
                <a:gd name="T9" fmla="*/ 0 h 16"/>
                <a:gd name="T10" fmla="*/ 13 w 39"/>
                <a:gd name="T11" fmla="*/ 6 h 16"/>
                <a:gd name="T12" fmla="*/ 2 w 39"/>
                <a:gd name="T13" fmla="*/ 12 h 16"/>
                <a:gd name="T14" fmla="*/ 1 w 39"/>
                <a:gd name="T15" fmla="*/ 15 h 16"/>
                <a:gd name="T16" fmla="*/ 4 w 3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6">
                  <a:moveTo>
                    <a:pt x="4" y="16"/>
                  </a:moveTo>
                  <a:cubicBezTo>
                    <a:pt x="4" y="16"/>
                    <a:pt x="4" y="15"/>
                    <a:pt x="4" y="15"/>
                  </a:cubicBezTo>
                  <a:cubicBezTo>
                    <a:pt x="8" y="13"/>
                    <a:pt x="23" y="5"/>
                    <a:pt x="37" y="4"/>
                  </a:cubicBezTo>
                  <a:cubicBezTo>
                    <a:pt x="38" y="4"/>
                    <a:pt x="39" y="3"/>
                    <a:pt x="39" y="2"/>
                  </a:cubicBezTo>
                  <a:cubicBezTo>
                    <a:pt x="39" y="1"/>
                    <a:pt x="38" y="0"/>
                    <a:pt x="37" y="0"/>
                  </a:cubicBezTo>
                  <a:cubicBezTo>
                    <a:pt x="28" y="0"/>
                    <a:pt x="20" y="4"/>
                    <a:pt x="13" y="6"/>
                  </a:cubicBezTo>
                  <a:cubicBezTo>
                    <a:pt x="6" y="9"/>
                    <a:pt x="2" y="12"/>
                    <a:pt x="2" y="12"/>
                  </a:cubicBezTo>
                  <a:cubicBezTo>
                    <a:pt x="1" y="13"/>
                    <a:pt x="0" y="14"/>
                    <a:pt x="1" y="15"/>
                  </a:cubicBezTo>
                  <a:cubicBezTo>
                    <a:pt x="2" y="16"/>
                    <a:pt x="3" y="16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E153A643-C102-4173-938A-382A0C48BD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33975" y="5738813"/>
              <a:ext cx="87313" cy="55563"/>
            </a:xfrm>
            <a:custGeom>
              <a:avLst/>
              <a:gdLst>
                <a:gd name="T0" fmla="*/ 4 w 29"/>
                <a:gd name="T1" fmla="*/ 17 h 19"/>
                <a:gd name="T2" fmla="*/ 4 w 29"/>
                <a:gd name="T3" fmla="*/ 17 h 19"/>
                <a:gd name="T4" fmla="*/ 4 w 29"/>
                <a:gd name="T5" fmla="*/ 18 h 19"/>
                <a:gd name="T6" fmla="*/ 4 w 29"/>
                <a:gd name="T7" fmla="*/ 17 h 19"/>
                <a:gd name="T8" fmla="*/ 4 w 29"/>
                <a:gd name="T9" fmla="*/ 17 h 19"/>
                <a:gd name="T10" fmla="*/ 4 w 29"/>
                <a:gd name="T11" fmla="*/ 18 h 19"/>
                <a:gd name="T12" fmla="*/ 9 w 29"/>
                <a:gd name="T13" fmla="*/ 12 h 19"/>
                <a:gd name="T14" fmla="*/ 27 w 29"/>
                <a:gd name="T15" fmla="*/ 4 h 19"/>
                <a:gd name="T16" fmla="*/ 29 w 29"/>
                <a:gd name="T17" fmla="*/ 1 h 19"/>
                <a:gd name="T18" fmla="*/ 26 w 29"/>
                <a:gd name="T19" fmla="*/ 0 h 19"/>
                <a:gd name="T20" fmla="*/ 6 w 29"/>
                <a:gd name="T21" fmla="*/ 9 h 19"/>
                <a:gd name="T22" fmla="*/ 1 w 29"/>
                <a:gd name="T23" fmla="*/ 16 h 19"/>
                <a:gd name="T24" fmla="*/ 2 w 29"/>
                <a:gd name="T25" fmla="*/ 19 h 19"/>
                <a:gd name="T26" fmla="*/ 4 w 29"/>
                <a:gd name="T2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9">
                  <a:moveTo>
                    <a:pt x="4" y="17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5" y="15"/>
                    <a:pt x="9" y="12"/>
                  </a:cubicBezTo>
                  <a:cubicBezTo>
                    <a:pt x="12" y="9"/>
                    <a:pt x="18" y="5"/>
                    <a:pt x="27" y="4"/>
                  </a:cubicBezTo>
                  <a:cubicBezTo>
                    <a:pt x="28" y="4"/>
                    <a:pt x="29" y="2"/>
                    <a:pt x="29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16" y="2"/>
                    <a:pt x="10" y="6"/>
                    <a:pt x="6" y="9"/>
                  </a:cubicBezTo>
                  <a:cubicBezTo>
                    <a:pt x="2" y="13"/>
                    <a:pt x="1" y="16"/>
                    <a:pt x="1" y="16"/>
                  </a:cubicBezTo>
                  <a:cubicBezTo>
                    <a:pt x="0" y="17"/>
                    <a:pt x="1" y="18"/>
                    <a:pt x="2" y="19"/>
                  </a:cubicBezTo>
                  <a:cubicBezTo>
                    <a:pt x="3" y="19"/>
                    <a:pt x="4" y="19"/>
                    <a:pt x="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6D9102CB-DDD2-4A9D-AC81-FE7B5B43D4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00650" y="5762625"/>
              <a:ext cx="82550" cy="41275"/>
            </a:xfrm>
            <a:custGeom>
              <a:avLst/>
              <a:gdLst>
                <a:gd name="T0" fmla="*/ 4 w 28"/>
                <a:gd name="T1" fmla="*/ 13 h 14"/>
                <a:gd name="T2" fmla="*/ 4 w 28"/>
                <a:gd name="T3" fmla="*/ 13 h 14"/>
                <a:gd name="T4" fmla="*/ 4 w 28"/>
                <a:gd name="T5" fmla="*/ 13 h 14"/>
                <a:gd name="T6" fmla="*/ 4 w 28"/>
                <a:gd name="T7" fmla="*/ 13 h 14"/>
                <a:gd name="T8" fmla="*/ 4 w 28"/>
                <a:gd name="T9" fmla="*/ 13 h 14"/>
                <a:gd name="T10" fmla="*/ 4 w 28"/>
                <a:gd name="T11" fmla="*/ 13 h 14"/>
                <a:gd name="T12" fmla="*/ 26 w 28"/>
                <a:gd name="T13" fmla="*/ 4 h 14"/>
                <a:gd name="T14" fmla="*/ 28 w 28"/>
                <a:gd name="T15" fmla="*/ 2 h 14"/>
                <a:gd name="T16" fmla="*/ 26 w 28"/>
                <a:gd name="T17" fmla="*/ 0 h 14"/>
                <a:gd name="T18" fmla="*/ 1 w 28"/>
                <a:gd name="T19" fmla="*/ 11 h 14"/>
                <a:gd name="T20" fmla="*/ 1 w 28"/>
                <a:gd name="T21" fmla="*/ 13 h 14"/>
                <a:gd name="T22" fmla="*/ 4 w 28"/>
                <a:gd name="T2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4">
                  <a:moveTo>
                    <a:pt x="4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11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9" y="2"/>
                    <a:pt x="1" y="10"/>
                    <a:pt x="1" y="11"/>
                  </a:cubicBezTo>
                  <a:cubicBezTo>
                    <a:pt x="0" y="11"/>
                    <a:pt x="0" y="13"/>
                    <a:pt x="1" y="13"/>
                  </a:cubicBezTo>
                  <a:cubicBezTo>
                    <a:pt x="2" y="14"/>
                    <a:pt x="3" y="14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570B7DF-2AE6-4DD3-A522-9BAF6ABC62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3088" y="2000250"/>
              <a:ext cx="188913" cy="196850"/>
            </a:xfrm>
            <a:custGeom>
              <a:avLst/>
              <a:gdLst>
                <a:gd name="T0" fmla="*/ 39 w 64"/>
                <a:gd name="T1" fmla="*/ 0 h 66"/>
                <a:gd name="T2" fmla="*/ 0 w 64"/>
                <a:gd name="T3" fmla="*/ 52 h 66"/>
                <a:gd name="T4" fmla="*/ 25 w 64"/>
                <a:gd name="T5" fmla="*/ 60 h 66"/>
                <a:gd name="T6" fmla="*/ 32 w 64"/>
                <a:gd name="T7" fmla="*/ 47 h 66"/>
                <a:gd name="T8" fmla="*/ 32 w 64"/>
                <a:gd name="T9" fmla="*/ 60 h 66"/>
                <a:gd name="T10" fmla="*/ 63 w 64"/>
                <a:gd name="T11" fmla="*/ 66 h 66"/>
                <a:gd name="T12" fmla="*/ 64 w 64"/>
                <a:gd name="T13" fmla="*/ 49 h 66"/>
                <a:gd name="T14" fmla="*/ 39 w 64"/>
                <a:gd name="T1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39" y="0"/>
                  </a:moveTo>
                  <a:cubicBezTo>
                    <a:pt x="39" y="0"/>
                    <a:pt x="0" y="16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7741672F-ABED-4E40-950E-19D2DF10B2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738" y="2487613"/>
              <a:ext cx="2039938" cy="3033713"/>
            </a:xfrm>
            <a:custGeom>
              <a:avLst/>
              <a:gdLst>
                <a:gd name="T0" fmla="*/ 686 w 686"/>
                <a:gd name="T1" fmla="*/ 67 h 1022"/>
                <a:gd name="T2" fmla="*/ 440 w 686"/>
                <a:gd name="T3" fmla="*/ 2 h 1022"/>
                <a:gd name="T4" fmla="*/ 85 w 686"/>
                <a:gd name="T5" fmla="*/ 156 h 1022"/>
                <a:gd name="T6" fmla="*/ 71 w 686"/>
                <a:gd name="T7" fmla="*/ 432 h 1022"/>
                <a:gd name="T8" fmla="*/ 235 w 686"/>
                <a:gd name="T9" fmla="*/ 486 h 1022"/>
                <a:gd name="T10" fmla="*/ 137 w 686"/>
                <a:gd name="T11" fmla="*/ 895 h 1022"/>
                <a:gd name="T12" fmla="*/ 464 w 686"/>
                <a:gd name="T13" fmla="*/ 1003 h 1022"/>
                <a:gd name="T14" fmla="*/ 669 w 686"/>
                <a:gd name="T15" fmla="*/ 944 h 1022"/>
                <a:gd name="T16" fmla="*/ 686 w 686"/>
                <a:gd name="T17" fmla="*/ 67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022">
                  <a:moveTo>
                    <a:pt x="686" y="67"/>
                  </a:moveTo>
                  <a:cubicBezTo>
                    <a:pt x="686" y="67"/>
                    <a:pt x="588" y="3"/>
                    <a:pt x="440" y="2"/>
                  </a:cubicBezTo>
                  <a:cubicBezTo>
                    <a:pt x="292" y="0"/>
                    <a:pt x="146" y="67"/>
                    <a:pt x="85" y="156"/>
                  </a:cubicBezTo>
                  <a:cubicBezTo>
                    <a:pt x="25" y="244"/>
                    <a:pt x="0" y="359"/>
                    <a:pt x="71" y="432"/>
                  </a:cubicBezTo>
                  <a:cubicBezTo>
                    <a:pt x="142" y="504"/>
                    <a:pt x="235" y="486"/>
                    <a:pt x="235" y="486"/>
                  </a:cubicBezTo>
                  <a:cubicBezTo>
                    <a:pt x="137" y="895"/>
                    <a:pt x="137" y="895"/>
                    <a:pt x="137" y="895"/>
                  </a:cubicBezTo>
                  <a:cubicBezTo>
                    <a:pt x="137" y="895"/>
                    <a:pt x="276" y="1022"/>
                    <a:pt x="464" y="1003"/>
                  </a:cubicBezTo>
                  <a:cubicBezTo>
                    <a:pt x="653" y="985"/>
                    <a:pt x="669" y="944"/>
                    <a:pt x="669" y="944"/>
                  </a:cubicBezTo>
                  <a:cubicBezTo>
                    <a:pt x="686" y="67"/>
                    <a:pt x="686" y="67"/>
                    <a:pt x="686" y="67"/>
                  </a:cubicBezTo>
                </a:path>
              </a:pathLst>
            </a:custGeom>
            <a:solidFill>
              <a:srgbClr val="202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5" name="Freeform 111">
              <a:extLst>
                <a:ext uri="{FF2B5EF4-FFF2-40B4-BE49-F238E27FC236}">
                  <a16:creationId xmlns:a16="http://schemas.microsoft.com/office/drawing/2014/main" id="{726C41F0-4D72-4F34-9EEE-BAB22A3827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0925" y="2627313"/>
              <a:ext cx="892175" cy="1355725"/>
            </a:xfrm>
            <a:custGeom>
              <a:avLst/>
              <a:gdLst>
                <a:gd name="T0" fmla="*/ 189 w 300"/>
                <a:gd name="T1" fmla="*/ 169 h 457"/>
                <a:gd name="T2" fmla="*/ 232 w 300"/>
                <a:gd name="T3" fmla="*/ 0 h 457"/>
                <a:gd name="T4" fmla="*/ 84 w 300"/>
                <a:gd name="T5" fmla="*/ 404 h 457"/>
                <a:gd name="T6" fmla="*/ 257 w 300"/>
                <a:gd name="T7" fmla="*/ 436 h 457"/>
                <a:gd name="T8" fmla="*/ 300 w 300"/>
                <a:gd name="T9" fmla="*/ 152 h 457"/>
                <a:gd name="T10" fmla="*/ 189 w 300"/>
                <a:gd name="T11" fmla="*/ 16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457">
                  <a:moveTo>
                    <a:pt x="189" y="169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109"/>
                    <a:pt x="2" y="318"/>
                    <a:pt x="84" y="404"/>
                  </a:cubicBezTo>
                  <a:cubicBezTo>
                    <a:pt x="133" y="457"/>
                    <a:pt x="207" y="450"/>
                    <a:pt x="257" y="436"/>
                  </a:cubicBezTo>
                  <a:cubicBezTo>
                    <a:pt x="300" y="152"/>
                    <a:pt x="300" y="152"/>
                    <a:pt x="300" y="152"/>
                  </a:cubicBezTo>
                  <a:cubicBezTo>
                    <a:pt x="189" y="169"/>
                    <a:pt x="189" y="169"/>
                    <a:pt x="189" y="169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84AD61D6-1891-4516-8E81-355F59A1CB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56100" y="3063875"/>
              <a:ext cx="219075" cy="857250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56 w 74"/>
                <a:gd name="T7" fmla="*/ 268 h 289"/>
                <a:gd name="T8" fmla="*/ 74 w 74"/>
                <a:gd name="T9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262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7" name="Freeform 113">
              <a:extLst>
                <a:ext uri="{FF2B5EF4-FFF2-40B4-BE49-F238E27FC236}">
                  <a16:creationId xmlns:a16="http://schemas.microsoft.com/office/drawing/2014/main" id="{4E7D0220-DE69-4DEF-B227-0262F4B88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7713" y="3063875"/>
              <a:ext cx="176213" cy="260350"/>
            </a:xfrm>
            <a:custGeom>
              <a:avLst/>
              <a:gdLst>
                <a:gd name="T0" fmla="*/ 5 w 59"/>
                <a:gd name="T1" fmla="*/ 15 h 88"/>
                <a:gd name="T2" fmla="*/ 22 w 59"/>
                <a:gd name="T3" fmla="*/ 0 h 88"/>
                <a:gd name="T4" fmla="*/ 21 w 59"/>
                <a:gd name="T5" fmla="*/ 15 h 88"/>
                <a:gd name="T6" fmla="*/ 52 w 59"/>
                <a:gd name="T7" fmla="*/ 7 h 88"/>
                <a:gd name="T8" fmla="*/ 59 w 59"/>
                <a:gd name="T9" fmla="*/ 23 h 88"/>
                <a:gd name="T10" fmla="*/ 57 w 59"/>
                <a:gd name="T11" fmla="*/ 65 h 88"/>
                <a:gd name="T12" fmla="*/ 49 w 59"/>
                <a:gd name="T13" fmla="*/ 72 h 88"/>
                <a:gd name="T14" fmla="*/ 0 w 59"/>
                <a:gd name="T15" fmla="*/ 88 h 88"/>
                <a:gd name="T16" fmla="*/ 5 w 59"/>
                <a:gd name="T17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8">
                  <a:moveTo>
                    <a:pt x="5" y="15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8" y="6"/>
                    <a:pt x="59" y="23"/>
                  </a:cubicBezTo>
                  <a:cubicBezTo>
                    <a:pt x="59" y="41"/>
                    <a:pt x="57" y="65"/>
                    <a:pt x="57" y="65"/>
                  </a:cubicBezTo>
                  <a:cubicBezTo>
                    <a:pt x="57" y="65"/>
                    <a:pt x="56" y="69"/>
                    <a:pt x="49" y="72"/>
                  </a:cubicBezTo>
                  <a:cubicBezTo>
                    <a:pt x="42" y="75"/>
                    <a:pt x="0" y="88"/>
                    <a:pt x="0" y="88"/>
                  </a:cubicBezTo>
                  <a:cubicBezTo>
                    <a:pt x="5" y="15"/>
                    <a:pt x="5" y="15"/>
                    <a:pt x="5" y="15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8" name="Freeform 114">
              <a:extLst>
                <a:ext uri="{FF2B5EF4-FFF2-40B4-BE49-F238E27FC236}">
                  <a16:creationId xmlns:a16="http://schemas.microsoft.com/office/drawing/2014/main" id="{15E30D07-020A-4884-92CD-C74F74851A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2000" y="2139950"/>
              <a:ext cx="393700" cy="561975"/>
            </a:xfrm>
            <a:custGeom>
              <a:avLst/>
              <a:gdLst>
                <a:gd name="T0" fmla="*/ 0 w 132"/>
                <a:gd name="T1" fmla="*/ 0 h 189"/>
                <a:gd name="T2" fmla="*/ 0 w 132"/>
                <a:gd name="T3" fmla="*/ 132 h 189"/>
                <a:gd name="T4" fmla="*/ 100 w 132"/>
                <a:gd name="T5" fmla="*/ 189 h 189"/>
                <a:gd name="T6" fmla="*/ 132 w 132"/>
                <a:gd name="T7" fmla="*/ 124 h 189"/>
                <a:gd name="T8" fmla="*/ 81 w 132"/>
                <a:gd name="T9" fmla="*/ 17 h 189"/>
                <a:gd name="T10" fmla="*/ 0 w 132"/>
                <a:gd name="T1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89">
                  <a:moveTo>
                    <a:pt x="0" y="0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00" y="189"/>
                    <a:pt x="100" y="189"/>
                  </a:cubicBezTo>
                  <a:cubicBezTo>
                    <a:pt x="101" y="188"/>
                    <a:pt x="132" y="124"/>
                    <a:pt x="132" y="124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7B3C3C6F-2BD7-490C-93E1-4D8E8B9E95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6113" y="1911350"/>
              <a:ext cx="446088" cy="347663"/>
            </a:xfrm>
            <a:custGeom>
              <a:avLst/>
              <a:gdLst>
                <a:gd name="T0" fmla="*/ 27 w 150"/>
                <a:gd name="T1" fmla="*/ 56 h 117"/>
                <a:gd name="T2" fmla="*/ 9 w 150"/>
                <a:gd name="T3" fmla="*/ 52 h 117"/>
                <a:gd name="T4" fmla="*/ 27 w 150"/>
                <a:gd name="T5" fmla="*/ 78 h 117"/>
                <a:gd name="T6" fmla="*/ 37 w 150"/>
                <a:gd name="T7" fmla="*/ 74 h 117"/>
                <a:gd name="T8" fmla="*/ 53 w 150"/>
                <a:gd name="T9" fmla="*/ 103 h 117"/>
                <a:gd name="T10" fmla="*/ 96 w 150"/>
                <a:gd name="T11" fmla="*/ 106 h 117"/>
                <a:gd name="T12" fmla="*/ 135 w 150"/>
                <a:gd name="T13" fmla="*/ 53 h 117"/>
                <a:gd name="T14" fmla="*/ 77 w 150"/>
                <a:gd name="T15" fmla="*/ 0 h 117"/>
                <a:gd name="T16" fmla="*/ 14 w 150"/>
                <a:gd name="T17" fmla="*/ 30 h 117"/>
                <a:gd name="T18" fmla="*/ 27 w 150"/>
                <a:gd name="T19" fmla="*/ 5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17">
                  <a:moveTo>
                    <a:pt x="27" y="56"/>
                  </a:moveTo>
                  <a:cubicBezTo>
                    <a:pt x="27" y="56"/>
                    <a:pt x="18" y="44"/>
                    <a:pt x="9" y="52"/>
                  </a:cubicBezTo>
                  <a:cubicBezTo>
                    <a:pt x="0" y="60"/>
                    <a:pt x="16" y="83"/>
                    <a:pt x="27" y="78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3"/>
                    <a:pt x="68" y="117"/>
                    <a:pt x="96" y="106"/>
                  </a:cubicBezTo>
                  <a:cubicBezTo>
                    <a:pt x="124" y="95"/>
                    <a:pt x="150" y="77"/>
                    <a:pt x="135" y="53"/>
                  </a:cubicBezTo>
                  <a:cubicBezTo>
                    <a:pt x="120" y="30"/>
                    <a:pt x="77" y="0"/>
                    <a:pt x="77" y="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7" y="56"/>
                    <a:pt x="27" y="56"/>
                    <a:pt x="27" y="56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515366BA-EBA8-4E0F-A631-352EE674A2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9625" y="2816225"/>
              <a:ext cx="98425" cy="292100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1" name="Freeform 117">
              <a:extLst>
                <a:ext uri="{FF2B5EF4-FFF2-40B4-BE49-F238E27FC236}">
                  <a16:creationId xmlns:a16="http://schemas.microsoft.com/office/drawing/2014/main" id="{46283719-11A5-40FF-9A30-E3222EC4A1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9625" y="2816225"/>
              <a:ext cx="98425" cy="292100"/>
            </a:xfrm>
            <a:custGeom>
              <a:avLst/>
              <a:gdLst>
                <a:gd name="T0" fmla="*/ 0 w 62"/>
                <a:gd name="T1" fmla="*/ 184 h 184"/>
                <a:gd name="T2" fmla="*/ 6 w 62"/>
                <a:gd name="T3" fmla="*/ 17 h 184"/>
                <a:gd name="T4" fmla="*/ 62 w 62"/>
                <a:gd name="T5" fmla="*/ 0 h 184"/>
                <a:gd name="T6" fmla="*/ 51 w 62"/>
                <a:gd name="T7" fmla="*/ 171 h 184"/>
                <a:gd name="T8" fmla="*/ 0 w 62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84">
                  <a:moveTo>
                    <a:pt x="0" y="184"/>
                  </a:moveTo>
                  <a:lnTo>
                    <a:pt x="6" y="17"/>
                  </a:lnTo>
                  <a:lnTo>
                    <a:pt x="62" y="0"/>
                  </a:lnTo>
                  <a:lnTo>
                    <a:pt x="51" y="171"/>
                  </a:lnTo>
                  <a:lnTo>
                    <a:pt x="0" y="1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45B1341C-6060-42A5-A7EB-1F4248E05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3279775"/>
              <a:ext cx="106363" cy="361950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3" name="Freeform 119">
              <a:extLst>
                <a:ext uri="{FF2B5EF4-FFF2-40B4-BE49-F238E27FC236}">
                  <a16:creationId xmlns:a16="http://schemas.microsoft.com/office/drawing/2014/main" id="{5FF793AF-D927-4CAA-BE45-8DC4A48884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3279775"/>
              <a:ext cx="106363" cy="361950"/>
            </a:xfrm>
            <a:custGeom>
              <a:avLst/>
              <a:gdLst>
                <a:gd name="T0" fmla="*/ 67 w 67"/>
                <a:gd name="T1" fmla="*/ 0 h 228"/>
                <a:gd name="T2" fmla="*/ 67 w 67"/>
                <a:gd name="T3" fmla="*/ 187 h 228"/>
                <a:gd name="T4" fmla="*/ 0 w 67"/>
                <a:gd name="T5" fmla="*/ 228 h 228"/>
                <a:gd name="T6" fmla="*/ 18 w 67"/>
                <a:gd name="T7" fmla="*/ 15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67" y="187"/>
                  </a:lnTo>
                  <a:lnTo>
                    <a:pt x="0" y="228"/>
                  </a:lnTo>
                  <a:lnTo>
                    <a:pt x="18" y="15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E09D6E0F-27FE-437E-A82B-8FB2841AA5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038" y="3063875"/>
              <a:ext cx="82550" cy="44450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84D38FD5-DB5B-44F5-8F1C-24AD84A337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038" y="3063875"/>
              <a:ext cx="82550" cy="44450"/>
            </a:xfrm>
            <a:custGeom>
              <a:avLst/>
              <a:gdLst>
                <a:gd name="T0" fmla="*/ 5 w 52"/>
                <a:gd name="T1" fmla="*/ 28 h 28"/>
                <a:gd name="T2" fmla="*/ 52 w 52"/>
                <a:gd name="T3" fmla="*/ 15 h 28"/>
                <a:gd name="T4" fmla="*/ 52 w 52"/>
                <a:gd name="T5" fmla="*/ 0 h 28"/>
                <a:gd name="T6" fmla="*/ 0 w 52"/>
                <a:gd name="T7" fmla="*/ 13 h 28"/>
                <a:gd name="T8" fmla="*/ 5 w 5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8">
                  <a:moveTo>
                    <a:pt x="5" y="28"/>
                  </a:moveTo>
                  <a:lnTo>
                    <a:pt x="52" y="15"/>
                  </a:lnTo>
                  <a:lnTo>
                    <a:pt x="52" y="0"/>
                  </a:lnTo>
                  <a:lnTo>
                    <a:pt x="0" y="13"/>
                  </a:lnTo>
                  <a:lnTo>
                    <a:pt x="5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6" name="Oval 122">
              <a:extLst>
                <a:ext uri="{FF2B5EF4-FFF2-40B4-BE49-F238E27FC236}">
                  <a16:creationId xmlns:a16="http://schemas.microsoft.com/office/drawing/2014/main" id="{BABA898E-25E2-4921-BA96-98BC669053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19625" y="1985963"/>
              <a:ext cx="22225" cy="20638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7" name="Oval 123">
              <a:extLst>
                <a:ext uri="{FF2B5EF4-FFF2-40B4-BE49-F238E27FC236}">
                  <a16:creationId xmlns:a16="http://schemas.microsoft.com/office/drawing/2014/main" id="{113D179B-DB00-483F-B820-5C34A947B0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87888" y="1941513"/>
              <a:ext cx="22225" cy="20638"/>
            </a:xfrm>
            <a:prstGeom prst="ellipse">
              <a:avLst/>
            </a:pr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7C8D64C-C155-4829-A9C7-6B7A5198E2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200025" cy="92075"/>
            </a:xfrm>
            <a:custGeom>
              <a:avLst/>
              <a:gdLst>
                <a:gd name="T0" fmla="*/ 0 w 67"/>
                <a:gd name="T1" fmla="*/ 0 h 31"/>
                <a:gd name="T2" fmla="*/ 67 w 67"/>
                <a:gd name="T3" fmla="*/ 10 h 31"/>
                <a:gd name="T4" fmla="*/ 30 w 67"/>
                <a:gd name="T5" fmla="*/ 23 h 31"/>
                <a:gd name="T6" fmla="*/ 0 w 67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31">
                  <a:moveTo>
                    <a:pt x="0" y="0"/>
                  </a:move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59" y="31"/>
                    <a:pt x="30" y="23"/>
                  </a:cubicBezTo>
                  <a:cubicBezTo>
                    <a:pt x="2" y="15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25FF8E0A-4D61-4439-AB7E-1AF3099CA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2047875"/>
              <a:ext cx="23813" cy="23813"/>
            </a:xfrm>
            <a:custGeom>
              <a:avLst/>
              <a:gdLst>
                <a:gd name="T0" fmla="*/ 6 w 8"/>
                <a:gd name="T1" fmla="*/ 0 h 8"/>
                <a:gd name="T2" fmla="*/ 0 w 8"/>
                <a:gd name="T3" fmla="*/ 6 h 8"/>
                <a:gd name="T4" fmla="*/ 0 w 8"/>
                <a:gd name="T5" fmla="*/ 7 h 8"/>
                <a:gd name="T6" fmla="*/ 2 w 8"/>
                <a:gd name="T7" fmla="*/ 7 h 8"/>
                <a:gd name="T8" fmla="*/ 7 w 8"/>
                <a:gd name="T9" fmla="*/ 1 h 8"/>
                <a:gd name="T10" fmla="*/ 7 w 8"/>
                <a:gd name="T11" fmla="*/ 0 h 8"/>
                <a:gd name="T12" fmla="*/ 6 w 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6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8"/>
                    <a:pt x="1" y="8"/>
                    <a:pt x="2" y="7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998EC49C-58A1-4CED-AE97-29FFB01024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203200" cy="95250"/>
            </a:xfrm>
            <a:custGeom>
              <a:avLst/>
              <a:gdLst>
                <a:gd name="T0" fmla="*/ 0 w 68"/>
                <a:gd name="T1" fmla="*/ 0 h 32"/>
                <a:gd name="T2" fmla="*/ 68 w 68"/>
                <a:gd name="T3" fmla="*/ 10 h 32"/>
                <a:gd name="T4" fmla="*/ 29 w 68"/>
                <a:gd name="T5" fmla="*/ 22 h 32"/>
                <a:gd name="T6" fmla="*/ 0 w 68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32">
                  <a:moveTo>
                    <a:pt x="0" y="0"/>
                  </a:moveTo>
                  <a:cubicBezTo>
                    <a:pt x="68" y="10"/>
                    <a:pt x="68" y="10"/>
                    <a:pt x="68" y="10"/>
                  </a:cubicBezTo>
                  <a:cubicBezTo>
                    <a:pt x="68" y="10"/>
                    <a:pt x="53" y="32"/>
                    <a:pt x="29" y="22"/>
                  </a:cubicBezTo>
                  <a:cubicBezTo>
                    <a:pt x="4" y="13"/>
                    <a:pt x="1" y="5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7F4F96B-B2F3-4415-8C89-0F5E9B788E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9488" y="2084388"/>
              <a:ext cx="12700" cy="14288"/>
            </a:xfrm>
            <a:custGeom>
              <a:avLst/>
              <a:gdLst>
                <a:gd name="T0" fmla="*/ 0 w 8"/>
                <a:gd name="T1" fmla="*/ 0 h 9"/>
                <a:gd name="T2" fmla="*/ 4 w 8"/>
                <a:gd name="T3" fmla="*/ 9 h 9"/>
                <a:gd name="T4" fmla="*/ 8 w 8"/>
                <a:gd name="T5" fmla="*/ 1 h 9"/>
                <a:gd name="T6" fmla="*/ 0 w 8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lnTo>
                    <a:pt x="4" y="9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F13244B8-7675-450B-B596-B3BB803DF1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12700" cy="11113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3" name="Freeform 129">
              <a:extLst>
                <a:ext uri="{FF2B5EF4-FFF2-40B4-BE49-F238E27FC236}">
                  <a16:creationId xmlns:a16="http://schemas.microsoft.com/office/drawing/2014/main" id="{7C09145A-E605-4086-87B1-7A27BEE9A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12700" cy="11113"/>
            </a:xfrm>
            <a:custGeom>
              <a:avLst/>
              <a:gdLst>
                <a:gd name="T0" fmla="*/ 8 w 8"/>
                <a:gd name="T1" fmla="*/ 2 h 7"/>
                <a:gd name="T2" fmla="*/ 2 w 8"/>
                <a:gd name="T3" fmla="*/ 7 h 7"/>
                <a:gd name="T4" fmla="*/ 0 w 8"/>
                <a:gd name="T5" fmla="*/ 0 h 7"/>
                <a:gd name="T6" fmla="*/ 8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2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4" name="Freeform 130">
              <a:extLst>
                <a:ext uri="{FF2B5EF4-FFF2-40B4-BE49-F238E27FC236}">
                  <a16:creationId xmlns:a16="http://schemas.microsoft.com/office/drawing/2014/main" id="{D109AC67-201E-44F0-BD1A-4E9F1279D0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0113" y="1992313"/>
              <a:ext cx="31750" cy="46038"/>
            </a:xfrm>
            <a:custGeom>
              <a:avLst/>
              <a:gdLst>
                <a:gd name="T0" fmla="*/ 0 w 11"/>
                <a:gd name="T1" fmla="*/ 4 h 16"/>
                <a:gd name="T2" fmla="*/ 4 w 11"/>
                <a:gd name="T3" fmla="*/ 16 h 16"/>
                <a:gd name="T4" fmla="*/ 11 w 11"/>
                <a:gd name="T5" fmla="*/ 11 h 16"/>
                <a:gd name="T6" fmla="*/ 0 w 11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0" y="4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10" y="16"/>
                    <a:pt x="11" y="11"/>
                  </a:cubicBezTo>
                  <a:cubicBezTo>
                    <a:pt x="11" y="5"/>
                    <a:pt x="6" y="0"/>
                    <a:pt x="0" y="4"/>
                  </a:cubicBez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5" name="Freeform 131">
              <a:extLst>
                <a:ext uri="{FF2B5EF4-FFF2-40B4-BE49-F238E27FC236}">
                  <a16:creationId xmlns:a16="http://schemas.microsoft.com/office/drawing/2014/main" id="{DA082CBC-6ADC-4087-A19C-BD39FF866B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588" y="1997075"/>
              <a:ext cx="47625" cy="44450"/>
            </a:xfrm>
            <a:custGeom>
              <a:avLst/>
              <a:gdLst>
                <a:gd name="T0" fmla="*/ 1 w 16"/>
                <a:gd name="T1" fmla="*/ 4 h 15"/>
                <a:gd name="T2" fmla="*/ 2 w 16"/>
                <a:gd name="T3" fmla="*/ 4 h 15"/>
                <a:gd name="T4" fmla="*/ 7 w 16"/>
                <a:gd name="T5" fmla="*/ 2 h 15"/>
                <a:gd name="T6" fmla="*/ 12 w 16"/>
                <a:gd name="T7" fmla="*/ 4 h 15"/>
                <a:gd name="T8" fmla="*/ 14 w 16"/>
                <a:gd name="T9" fmla="*/ 8 h 15"/>
                <a:gd name="T10" fmla="*/ 7 w 16"/>
                <a:gd name="T11" fmla="*/ 13 h 15"/>
                <a:gd name="T12" fmla="*/ 5 w 16"/>
                <a:gd name="T13" fmla="*/ 13 h 15"/>
                <a:gd name="T14" fmla="*/ 4 w 16"/>
                <a:gd name="T15" fmla="*/ 14 h 15"/>
                <a:gd name="T16" fmla="*/ 5 w 16"/>
                <a:gd name="T17" fmla="*/ 15 h 15"/>
                <a:gd name="T18" fmla="*/ 7 w 16"/>
                <a:gd name="T19" fmla="*/ 15 h 15"/>
                <a:gd name="T20" fmla="*/ 13 w 16"/>
                <a:gd name="T21" fmla="*/ 13 h 15"/>
                <a:gd name="T22" fmla="*/ 16 w 16"/>
                <a:gd name="T23" fmla="*/ 8 h 15"/>
                <a:gd name="T24" fmla="*/ 13 w 16"/>
                <a:gd name="T25" fmla="*/ 2 h 15"/>
                <a:gd name="T26" fmla="*/ 7 w 16"/>
                <a:gd name="T27" fmla="*/ 0 h 15"/>
                <a:gd name="T28" fmla="*/ 0 w 16"/>
                <a:gd name="T29" fmla="*/ 2 h 15"/>
                <a:gd name="T30" fmla="*/ 0 w 16"/>
                <a:gd name="T31" fmla="*/ 3 h 15"/>
                <a:gd name="T32" fmla="*/ 1 w 16"/>
                <a:gd name="T3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5">
                  <a:moveTo>
                    <a:pt x="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5" y="2"/>
                    <a:pt x="7" y="2"/>
                  </a:cubicBezTo>
                  <a:cubicBezTo>
                    <a:pt x="9" y="2"/>
                    <a:pt x="10" y="2"/>
                    <a:pt x="12" y="4"/>
                  </a:cubicBezTo>
                  <a:cubicBezTo>
                    <a:pt x="13" y="5"/>
                    <a:pt x="14" y="6"/>
                    <a:pt x="14" y="8"/>
                  </a:cubicBezTo>
                  <a:cubicBezTo>
                    <a:pt x="14" y="10"/>
                    <a:pt x="11" y="13"/>
                    <a:pt x="7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5"/>
                    <a:pt x="6" y="15"/>
                    <a:pt x="7" y="15"/>
                  </a:cubicBezTo>
                  <a:cubicBezTo>
                    <a:pt x="9" y="15"/>
                    <a:pt x="12" y="14"/>
                    <a:pt x="13" y="13"/>
                  </a:cubicBezTo>
                  <a:cubicBezTo>
                    <a:pt x="15" y="12"/>
                    <a:pt x="16" y="10"/>
                    <a:pt x="16" y="8"/>
                  </a:cubicBezTo>
                  <a:cubicBezTo>
                    <a:pt x="16" y="6"/>
                    <a:pt x="15" y="4"/>
                    <a:pt x="13" y="2"/>
                  </a:cubicBezTo>
                  <a:cubicBezTo>
                    <a:pt x="11" y="0"/>
                    <a:pt x="9" y="0"/>
                    <a:pt x="7" y="0"/>
                  </a:cubicBezTo>
                  <a:cubicBezTo>
                    <a:pt x="3" y="0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6" name="Freeform 132">
              <a:extLst>
                <a:ext uri="{FF2B5EF4-FFF2-40B4-BE49-F238E27FC236}">
                  <a16:creationId xmlns:a16="http://schemas.microsoft.com/office/drawing/2014/main" id="{AC4BE100-4047-419C-B4A9-4882077FAB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2463" y="2041525"/>
              <a:ext cx="104775" cy="111125"/>
            </a:xfrm>
            <a:custGeom>
              <a:avLst/>
              <a:gdLst>
                <a:gd name="T0" fmla="*/ 24 w 35"/>
                <a:gd name="T1" fmla="*/ 11 h 37"/>
                <a:gd name="T2" fmla="*/ 35 w 35"/>
                <a:gd name="T3" fmla="*/ 30 h 37"/>
                <a:gd name="T4" fmla="*/ 19 w 35"/>
                <a:gd name="T5" fmla="*/ 34 h 37"/>
                <a:gd name="T6" fmla="*/ 6 w 35"/>
                <a:gd name="T7" fmla="*/ 7 h 37"/>
                <a:gd name="T8" fmla="*/ 24 w 35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24" y="11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0" y="37"/>
                    <a:pt x="19" y="34"/>
                  </a:cubicBezTo>
                  <a:cubicBezTo>
                    <a:pt x="8" y="31"/>
                    <a:pt x="0" y="14"/>
                    <a:pt x="6" y="7"/>
                  </a:cubicBezTo>
                  <a:cubicBezTo>
                    <a:pt x="12" y="0"/>
                    <a:pt x="22" y="8"/>
                    <a:pt x="24" y="11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EBC39232-4FFC-4BA7-804A-7783C7FED8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92625" y="1928813"/>
              <a:ext cx="153988" cy="139700"/>
            </a:xfrm>
            <a:custGeom>
              <a:avLst/>
              <a:gdLst>
                <a:gd name="T0" fmla="*/ 52 w 52"/>
                <a:gd name="T1" fmla="*/ 0 h 47"/>
                <a:gd name="T2" fmla="*/ 13 w 52"/>
                <a:gd name="T3" fmla="*/ 47 h 47"/>
                <a:gd name="T4" fmla="*/ 0 w 52"/>
                <a:gd name="T5" fmla="*/ 24 h 47"/>
                <a:gd name="T6" fmla="*/ 52 w 52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7">
                  <a:moveTo>
                    <a:pt x="52" y="0"/>
                  </a:moveTo>
                  <a:cubicBezTo>
                    <a:pt x="52" y="0"/>
                    <a:pt x="32" y="42"/>
                    <a:pt x="13" y="4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8BD83853-EB94-47F1-A977-CB93100E0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438" y="1911350"/>
              <a:ext cx="80963" cy="30163"/>
            </a:xfrm>
            <a:custGeom>
              <a:avLst/>
              <a:gdLst>
                <a:gd name="T0" fmla="*/ 0 w 51"/>
                <a:gd name="T1" fmla="*/ 15 h 19"/>
                <a:gd name="T2" fmla="*/ 51 w 51"/>
                <a:gd name="T3" fmla="*/ 19 h 19"/>
                <a:gd name="T4" fmla="*/ 27 w 51"/>
                <a:gd name="T5" fmla="*/ 0 h 19"/>
                <a:gd name="T6" fmla="*/ 0 w 51"/>
                <a:gd name="T7" fmla="*/ 11 h 19"/>
                <a:gd name="T8" fmla="*/ 0 w 51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9">
                  <a:moveTo>
                    <a:pt x="0" y="15"/>
                  </a:moveTo>
                  <a:lnTo>
                    <a:pt x="51" y="19"/>
                  </a:lnTo>
                  <a:lnTo>
                    <a:pt x="27" y="0"/>
                  </a:lnTo>
                  <a:lnTo>
                    <a:pt x="0" y="11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75B7A293-8FC6-4234-B338-38A27B2F76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5300" y="1724025"/>
              <a:ext cx="484188" cy="276225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5BE92173-9B3D-46C0-A420-2E5024DD1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5300" y="1724025"/>
              <a:ext cx="484188" cy="276225"/>
            </a:xfrm>
            <a:custGeom>
              <a:avLst/>
              <a:gdLst>
                <a:gd name="T0" fmla="*/ 82 w 305"/>
                <a:gd name="T1" fmla="*/ 116 h 174"/>
                <a:gd name="T2" fmla="*/ 122 w 305"/>
                <a:gd name="T3" fmla="*/ 174 h 174"/>
                <a:gd name="T4" fmla="*/ 240 w 305"/>
                <a:gd name="T5" fmla="*/ 126 h 174"/>
                <a:gd name="T6" fmla="*/ 195 w 305"/>
                <a:gd name="T7" fmla="*/ 54 h 174"/>
                <a:gd name="T8" fmla="*/ 305 w 305"/>
                <a:gd name="T9" fmla="*/ 4 h 174"/>
                <a:gd name="T10" fmla="*/ 298 w 305"/>
                <a:gd name="T11" fmla="*/ 0 h 174"/>
                <a:gd name="T12" fmla="*/ 0 w 305"/>
                <a:gd name="T13" fmla="*/ 150 h 174"/>
                <a:gd name="T14" fmla="*/ 2 w 305"/>
                <a:gd name="T15" fmla="*/ 165 h 174"/>
                <a:gd name="T16" fmla="*/ 82 w 305"/>
                <a:gd name="T17" fmla="*/ 11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174">
                  <a:moveTo>
                    <a:pt x="82" y="116"/>
                  </a:moveTo>
                  <a:lnTo>
                    <a:pt x="122" y="174"/>
                  </a:lnTo>
                  <a:lnTo>
                    <a:pt x="240" y="126"/>
                  </a:lnTo>
                  <a:lnTo>
                    <a:pt x="195" y="54"/>
                  </a:lnTo>
                  <a:lnTo>
                    <a:pt x="305" y="4"/>
                  </a:lnTo>
                  <a:lnTo>
                    <a:pt x="298" y="0"/>
                  </a:lnTo>
                  <a:lnTo>
                    <a:pt x="0" y="150"/>
                  </a:lnTo>
                  <a:lnTo>
                    <a:pt x="2" y="165"/>
                  </a:lnTo>
                  <a:lnTo>
                    <a:pt x="82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6F128C84-C7A1-4450-9357-BC29C1EC8D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5200" y="1724025"/>
              <a:ext cx="58738" cy="244475"/>
            </a:xfrm>
            <a:custGeom>
              <a:avLst/>
              <a:gdLst>
                <a:gd name="T0" fmla="*/ 0 w 37"/>
                <a:gd name="T1" fmla="*/ 0 h 154"/>
                <a:gd name="T2" fmla="*/ 2 w 37"/>
                <a:gd name="T3" fmla="*/ 154 h 154"/>
                <a:gd name="T4" fmla="*/ 15 w 37"/>
                <a:gd name="T5" fmla="*/ 148 h 154"/>
                <a:gd name="T6" fmla="*/ 11 w 37"/>
                <a:gd name="T7" fmla="*/ 124 h 154"/>
                <a:gd name="T8" fmla="*/ 20 w 37"/>
                <a:gd name="T9" fmla="*/ 148 h 154"/>
                <a:gd name="T10" fmla="*/ 37 w 37"/>
                <a:gd name="T11" fmla="*/ 146 h 154"/>
                <a:gd name="T12" fmla="*/ 0 w 37"/>
                <a:gd name="T1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54">
                  <a:moveTo>
                    <a:pt x="0" y="0"/>
                  </a:moveTo>
                  <a:lnTo>
                    <a:pt x="2" y="154"/>
                  </a:lnTo>
                  <a:lnTo>
                    <a:pt x="15" y="148"/>
                  </a:lnTo>
                  <a:lnTo>
                    <a:pt x="11" y="124"/>
                  </a:lnTo>
                  <a:lnTo>
                    <a:pt x="20" y="148"/>
                  </a:lnTo>
                  <a:lnTo>
                    <a:pt x="37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A0D845B3-68EA-4DD2-9773-2AA2AF2753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5400" y="1816100"/>
              <a:ext cx="1219200" cy="3675063"/>
            </a:xfrm>
            <a:custGeom>
              <a:avLst/>
              <a:gdLst>
                <a:gd name="T0" fmla="*/ 387 w 410"/>
                <a:gd name="T1" fmla="*/ 1230 h 1238"/>
                <a:gd name="T2" fmla="*/ 410 w 410"/>
                <a:gd name="T3" fmla="*/ 1227 h 1238"/>
                <a:gd name="T4" fmla="*/ 409 w 410"/>
                <a:gd name="T5" fmla="*/ 1238 h 1238"/>
                <a:gd name="T6" fmla="*/ 410 w 410"/>
                <a:gd name="T7" fmla="*/ 1227 h 1238"/>
                <a:gd name="T8" fmla="*/ 197 w 410"/>
                <a:gd name="T9" fmla="*/ 1212 h 1238"/>
                <a:gd name="T10" fmla="*/ 198 w 410"/>
                <a:gd name="T11" fmla="*/ 1201 h 1238"/>
                <a:gd name="T12" fmla="*/ 63 w 410"/>
                <a:gd name="T13" fmla="*/ 1121 h 1238"/>
                <a:gd name="T14" fmla="*/ 63 w 410"/>
                <a:gd name="T15" fmla="*/ 1121 h 1238"/>
                <a:gd name="T16" fmla="*/ 79 w 410"/>
                <a:gd name="T17" fmla="*/ 717 h 1238"/>
                <a:gd name="T18" fmla="*/ 1 w 410"/>
                <a:gd name="T19" fmla="*/ 677 h 1238"/>
                <a:gd name="T20" fmla="*/ 1 w 410"/>
                <a:gd name="T21" fmla="*/ 677 h 1238"/>
                <a:gd name="T22" fmla="*/ 1 w 410"/>
                <a:gd name="T23" fmla="*/ 677 h 1238"/>
                <a:gd name="T24" fmla="*/ 1 w 410"/>
                <a:gd name="T25" fmla="*/ 677 h 1238"/>
                <a:gd name="T26" fmla="*/ 1 w 410"/>
                <a:gd name="T27" fmla="*/ 677 h 1238"/>
                <a:gd name="T28" fmla="*/ 1 w 410"/>
                <a:gd name="T29" fmla="*/ 677 h 1238"/>
                <a:gd name="T30" fmla="*/ 1 w 410"/>
                <a:gd name="T31" fmla="*/ 677 h 1238"/>
                <a:gd name="T32" fmla="*/ 1 w 410"/>
                <a:gd name="T33" fmla="*/ 677 h 1238"/>
                <a:gd name="T34" fmla="*/ 1 w 410"/>
                <a:gd name="T35" fmla="*/ 677 h 1238"/>
                <a:gd name="T36" fmla="*/ 1 w 410"/>
                <a:gd name="T37" fmla="*/ 676 h 1238"/>
                <a:gd name="T38" fmla="*/ 1 w 410"/>
                <a:gd name="T39" fmla="*/ 676 h 1238"/>
                <a:gd name="T40" fmla="*/ 1 w 410"/>
                <a:gd name="T41" fmla="*/ 676 h 1238"/>
                <a:gd name="T42" fmla="*/ 0 w 410"/>
                <a:gd name="T43" fmla="*/ 676 h 1238"/>
                <a:gd name="T44" fmla="*/ 0 w 410"/>
                <a:gd name="T45" fmla="*/ 676 h 1238"/>
                <a:gd name="T46" fmla="*/ 0 w 410"/>
                <a:gd name="T47" fmla="*/ 676 h 1238"/>
                <a:gd name="T48" fmla="*/ 0 w 410"/>
                <a:gd name="T49" fmla="*/ 676 h 1238"/>
                <a:gd name="T50" fmla="*/ 0 w 410"/>
                <a:gd name="T51" fmla="*/ 676 h 1238"/>
                <a:gd name="T52" fmla="*/ 0 w 410"/>
                <a:gd name="T53" fmla="*/ 675 h 1238"/>
                <a:gd name="T54" fmla="*/ 246 w 410"/>
                <a:gd name="T55" fmla="*/ 107 h 1238"/>
                <a:gd name="T56" fmla="*/ 248 w 410"/>
                <a:gd name="T57" fmla="*/ 111 h 1238"/>
                <a:gd name="T58" fmla="*/ 219 w 410"/>
                <a:gd name="T59" fmla="*/ 64 h 1238"/>
                <a:gd name="T60" fmla="*/ 184 w 410"/>
                <a:gd name="T61" fmla="*/ 114 h 1238"/>
                <a:gd name="T62" fmla="*/ 256 w 410"/>
                <a:gd name="T63" fmla="*/ 0 h 1238"/>
                <a:gd name="T64" fmla="*/ 256 w 410"/>
                <a:gd name="T65" fmla="*/ 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0" h="1238">
                  <a:moveTo>
                    <a:pt x="390" y="1229"/>
                  </a:moveTo>
                  <a:cubicBezTo>
                    <a:pt x="389" y="1229"/>
                    <a:pt x="388" y="1230"/>
                    <a:pt x="387" y="1230"/>
                  </a:cubicBezTo>
                  <a:cubicBezTo>
                    <a:pt x="388" y="1230"/>
                    <a:pt x="389" y="1229"/>
                    <a:pt x="390" y="1229"/>
                  </a:cubicBezTo>
                  <a:moveTo>
                    <a:pt x="410" y="1227"/>
                  </a:moveTo>
                  <a:cubicBezTo>
                    <a:pt x="410" y="1227"/>
                    <a:pt x="410" y="1227"/>
                    <a:pt x="410" y="1227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09" y="1238"/>
                    <a:pt x="409" y="1238"/>
                    <a:pt x="409" y="1238"/>
                  </a:cubicBezTo>
                  <a:cubicBezTo>
                    <a:pt x="410" y="1227"/>
                    <a:pt x="410" y="1227"/>
                    <a:pt x="410" y="1227"/>
                  </a:cubicBezTo>
                  <a:moveTo>
                    <a:pt x="198" y="1201"/>
                  </a:moveTo>
                  <a:cubicBezTo>
                    <a:pt x="197" y="1212"/>
                    <a:pt x="197" y="1212"/>
                    <a:pt x="197" y="1212"/>
                  </a:cubicBezTo>
                  <a:cubicBezTo>
                    <a:pt x="197" y="1212"/>
                    <a:pt x="197" y="1212"/>
                    <a:pt x="197" y="1212"/>
                  </a:cubicBezTo>
                  <a:cubicBezTo>
                    <a:pt x="198" y="1201"/>
                    <a:pt x="198" y="1201"/>
                    <a:pt x="198" y="1201"/>
                  </a:cubicBezTo>
                  <a:cubicBezTo>
                    <a:pt x="198" y="1201"/>
                    <a:pt x="198" y="1201"/>
                    <a:pt x="198" y="1201"/>
                  </a:cubicBezTo>
                  <a:moveTo>
                    <a:pt x="63" y="1121"/>
                  </a:moveTo>
                  <a:cubicBezTo>
                    <a:pt x="63" y="1121"/>
                    <a:pt x="63" y="1121"/>
                    <a:pt x="63" y="1121"/>
                  </a:cubicBezTo>
                  <a:cubicBezTo>
                    <a:pt x="63" y="1121"/>
                    <a:pt x="63" y="1121"/>
                    <a:pt x="63" y="1121"/>
                  </a:cubicBezTo>
                  <a:moveTo>
                    <a:pt x="2" y="677"/>
                  </a:moveTo>
                  <a:cubicBezTo>
                    <a:pt x="24" y="701"/>
                    <a:pt x="51" y="713"/>
                    <a:pt x="79" y="717"/>
                  </a:cubicBezTo>
                  <a:cubicBezTo>
                    <a:pt x="51" y="713"/>
                    <a:pt x="24" y="701"/>
                    <a:pt x="2" y="677"/>
                  </a:cubicBezTo>
                  <a:moveTo>
                    <a:pt x="1" y="677"/>
                  </a:moveTo>
                  <a:cubicBezTo>
                    <a:pt x="1" y="677"/>
                    <a:pt x="2" y="677"/>
                    <a:pt x="2" y="677"/>
                  </a:cubicBezTo>
                  <a:cubicBezTo>
                    <a:pt x="2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7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7"/>
                  </a:cubicBezTo>
                  <a:moveTo>
                    <a:pt x="1" y="676"/>
                  </a:moveTo>
                  <a:cubicBezTo>
                    <a:pt x="1" y="677"/>
                    <a:pt x="1" y="677"/>
                    <a:pt x="1" y="677"/>
                  </a:cubicBezTo>
                  <a:cubicBezTo>
                    <a:pt x="1" y="677"/>
                    <a:pt x="1" y="677"/>
                    <a:pt x="1" y="676"/>
                  </a:cubicBezTo>
                  <a:moveTo>
                    <a:pt x="1" y="676"/>
                  </a:moveTo>
                  <a:cubicBezTo>
                    <a:pt x="1" y="676"/>
                    <a:pt x="1" y="676"/>
                    <a:pt x="1" y="676"/>
                  </a:cubicBezTo>
                  <a:cubicBezTo>
                    <a:pt x="1" y="676"/>
                    <a:pt x="1" y="676"/>
                    <a:pt x="1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6"/>
                  </a:moveTo>
                  <a:cubicBezTo>
                    <a:pt x="0" y="676"/>
                    <a:pt x="0" y="676"/>
                    <a:pt x="0" y="676"/>
                  </a:cubicBezTo>
                  <a:cubicBezTo>
                    <a:pt x="0" y="676"/>
                    <a:pt x="0" y="676"/>
                    <a:pt x="0" y="676"/>
                  </a:cubicBezTo>
                  <a:moveTo>
                    <a:pt x="0" y="675"/>
                  </a:moveTo>
                  <a:cubicBezTo>
                    <a:pt x="0" y="675"/>
                    <a:pt x="0" y="675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moveTo>
                    <a:pt x="246" y="107"/>
                  </a:moveTo>
                  <a:cubicBezTo>
                    <a:pt x="246" y="107"/>
                    <a:pt x="246" y="107"/>
                    <a:pt x="246" y="107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6" y="107"/>
                    <a:pt x="246" y="107"/>
                    <a:pt x="246" y="107"/>
                  </a:cubicBezTo>
                  <a:moveTo>
                    <a:pt x="219" y="64"/>
                  </a:moveTo>
                  <a:cubicBezTo>
                    <a:pt x="208" y="70"/>
                    <a:pt x="184" y="86"/>
                    <a:pt x="184" y="114"/>
                  </a:cubicBezTo>
                  <a:cubicBezTo>
                    <a:pt x="184" y="114"/>
                    <a:pt x="184" y="114"/>
                    <a:pt x="184" y="114"/>
                  </a:cubicBezTo>
                  <a:cubicBezTo>
                    <a:pt x="184" y="86"/>
                    <a:pt x="208" y="70"/>
                    <a:pt x="219" y="64"/>
                  </a:cubicBezTo>
                  <a:moveTo>
                    <a:pt x="256" y="0"/>
                  </a:moveTo>
                  <a:cubicBezTo>
                    <a:pt x="158" y="49"/>
                    <a:pt x="158" y="49"/>
                    <a:pt x="158" y="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0"/>
                    <a:pt x="256" y="0"/>
                    <a:pt x="256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0C43E6B-DEA0-45D2-9BD3-269B6BE7C9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21188" y="5381625"/>
              <a:ext cx="133350" cy="92075"/>
            </a:xfrm>
            <a:custGeom>
              <a:avLst/>
              <a:gdLst>
                <a:gd name="T0" fmla="*/ 1 w 45"/>
                <a:gd name="T1" fmla="*/ 0 h 31"/>
                <a:gd name="T2" fmla="*/ 0 w 45"/>
                <a:gd name="T3" fmla="*/ 11 h 31"/>
                <a:gd name="T4" fmla="*/ 42 w 45"/>
                <a:gd name="T5" fmla="*/ 31 h 31"/>
                <a:gd name="T6" fmla="*/ 45 w 45"/>
                <a:gd name="T7" fmla="*/ 14 h 31"/>
                <a:gd name="T8" fmla="*/ 1 w 4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1">
                  <a:moveTo>
                    <a:pt x="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4" y="19"/>
                    <a:pt x="28" y="26"/>
                    <a:pt x="42" y="31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29" y="10"/>
                    <a:pt x="15" y="5"/>
                    <a:pt x="1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D21B6CAE-6507-47C7-A44E-02EB634A73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51425" y="5445125"/>
              <a:ext cx="130175" cy="46038"/>
            </a:xfrm>
            <a:custGeom>
              <a:avLst/>
              <a:gdLst>
                <a:gd name="T0" fmla="*/ 44 w 44"/>
                <a:gd name="T1" fmla="*/ 0 h 16"/>
                <a:gd name="T2" fmla="*/ 1 w 44"/>
                <a:gd name="T3" fmla="*/ 5 h 16"/>
                <a:gd name="T4" fmla="*/ 1 w 44"/>
                <a:gd name="T5" fmla="*/ 5 h 16"/>
                <a:gd name="T6" fmla="*/ 0 w 44"/>
                <a:gd name="T7" fmla="*/ 16 h 16"/>
                <a:gd name="T8" fmla="*/ 43 w 44"/>
                <a:gd name="T9" fmla="*/ 6 h 16"/>
                <a:gd name="T10" fmla="*/ 44 w 4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6">
                  <a:moveTo>
                    <a:pt x="44" y="0"/>
                  </a:moveTo>
                  <a:cubicBezTo>
                    <a:pt x="31" y="2"/>
                    <a:pt x="17" y="3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4" y="13"/>
                    <a:pt x="28" y="9"/>
                    <a:pt x="43" y="6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596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99D15D6A-F437-43EC-9CF3-54435D7DD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3088" y="2000250"/>
              <a:ext cx="188913" cy="196850"/>
            </a:xfrm>
            <a:custGeom>
              <a:avLst/>
              <a:gdLst>
                <a:gd name="T0" fmla="*/ 38 w 64"/>
                <a:gd name="T1" fmla="*/ 0 h 66"/>
                <a:gd name="T2" fmla="*/ 35 w 64"/>
                <a:gd name="T3" fmla="*/ 2 h 66"/>
                <a:gd name="T4" fmla="*/ 0 w 64"/>
                <a:gd name="T5" fmla="*/ 52 h 66"/>
                <a:gd name="T6" fmla="*/ 25 w 64"/>
                <a:gd name="T7" fmla="*/ 60 h 66"/>
                <a:gd name="T8" fmla="*/ 32 w 64"/>
                <a:gd name="T9" fmla="*/ 47 h 66"/>
                <a:gd name="T10" fmla="*/ 32 w 64"/>
                <a:gd name="T11" fmla="*/ 60 h 66"/>
                <a:gd name="T12" fmla="*/ 63 w 64"/>
                <a:gd name="T13" fmla="*/ 66 h 66"/>
                <a:gd name="T14" fmla="*/ 64 w 64"/>
                <a:gd name="T15" fmla="*/ 49 h 66"/>
                <a:gd name="T16" fmla="*/ 62 w 64"/>
                <a:gd name="T17" fmla="*/ 45 h 66"/>
                <a:gd name="T18" fmla="*/ 51 w 64"/>
                <a:gd name="T19" fmla="*/ 49 h 66"/>
                <a:gd name="T20" fmla="*/ 49 w 64"/>
                <a:gd name="T21" fmla="*/ 49 h 66"/>
                <a:gd name="T22" fmla="*/ 46 w 64"/>
                <a:gd name="T23" fmla="*/ 48 h 66"/>
                <a:gd name="T24" fmla="*/ 46 w 64"/>
                <a:gd name="T25" fmla="*/ 48 h 66"/>
                <a:gd name="T26" fmla="*/ 33 w 64"/>
                <a:gd name="T27" fmla="*/ 21 h 66"/>
                <a:gd name="T28" fmla="*/ 39 w 64"/>
                <a:gd name="T29" fmla="*/ 18 h 66"/>
                <a:gd name="T30" fmla="*/ 51 w 64"/>
                <a:gd name="T31" fmla="*/ 25 h 66"/>
                <a:gd name="T32" fmla="*/ 50 w 64"/>
                <a:gd name="T33" fmla="*/ 23 h 66"/>
                <a:gd name="T34" fmla="*/ 38 w 64"/>
                <a:gd name="T3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66">
                  <a:moveTo>
                    <a:pt x="38" y="0"/>
                  </a:moveTo>
                  <a:cubicBezTo>
                    <a:pt x="37" y="1"/>
                    <a:pt x="36" y="1"/>
                    <a:pt x="35" y="2"/>
                  </a:cubicBezTo>
                  <a:cubicBezTo>
                    <a:pt x="24" y="8"/>
                    <a:pt x="0" y="24"/>
                    <a:pt x="0" y="52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0" y="46"/>
                    <a:pt x="57" y="49"/>
                    <a:pt x="51" y="49"/>
                  </a:cubicBezTo>
                  <a:cubicBezTo>
                    <a:pt x="50" y="49"/>
                    <a:pt x="49" y="49"/>
                    <a:pt x="49" y="49"/>
                  </a:cubicBezTo>
                  <a:cubicBezTo>
                    <a:pt x="48" y="49"/>
                    <a:pt x="47" y="49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35" y="45"/>
                    <a:pt x="27" y="28"/>
                    <a:pt x="33" y="21"/>
                  </a:cubicBezTo>
                  <a:cubicBezTo>
                    <a:pt x="35" y="19"/>
                    <a:pt x="37" y="18"/>
                    <a:pt x="39" y="18"/>
                  </a:cubicBezTo>
                  <a:cubicBezTo>
                    <a:pt x="45" y="18"/>
                    <a:pt x="50" y="23"/>
                    <a:pt x="51" y="25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57C93E25-A6AD-4721-B69C-FF6DAEA3DC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22725" y="2532063"/>
              <a:ext cx="1563688" cy="2938463"/>
            </a:xfrm>
            <a:custGeom>
              <a:avLst/>
              <a:gdLst>
                <a:gd name="T0" fmla="*/ 390 w 526"/>
                <a:gd name="T1" fmla="*/ 981 h 990"/>
                <a:gd name="T2" fmla="*/ 168 w 526"/>
                <a:gd name="T3" fmla="*/ 447 h 990"/>
                <a:gd name="T4" fmla="*/ 112 w 526"/>
                <a:gd name="T5" fmla="*/ 468 h 990"/>
                <a:gd name="T6" fmla="*/ 0 w 526"/>
                <a:gd name="T7" fmla="*/ 880 h 990"/>
                <a:gd name="T8" fmla="*/ 0 w 526"/>
                <a:gd name="T9" fmla="*/ 880 h 990"/>
                <a:gd name="T10" fmla="*/ 135 w 526"/>
                <a:gd name="T11" fmla="*/ 960 h 990"/>
                <a:gd name="T12" fmla="*/ 135 w 526"/>
                <a:gd name="T13" fmla="*/ 960 h 990"/>
                <a:gd name="T14" fmla="*/ 179 w 526"/>
                <a:gd name="T15" fmla="*/ 974 h 990"/>
                <a:gd name="T16" fmla="*/ 290 w 526"/>
                <a:gd name="T17" fmla="*/ 990 h 990"/>
                <a:gd name="T18" fmla="*/ 327 w 526"/>
                <a:gd name="T19" fmla="*/ 988 h 990"/>
                <a:gd name="T20" fmla="*/ 347 w 526"/>
                <a:gd name="T21" fmla="*/ 986 h 990"/>
                <a:gd name="T22" fmla="*/ 390 w 526"/>
                <a:gd name="T23" fmla="*/ 981 h 990"/>
                <a:gd name="T24" fmla="*/ 526 w 526"/>
                <a:gd name="T25" fmla="*/ 936 h 990"/>
                <a:gd name="T26" fmla="*/ 477 w 526"/>
                <a:gd name="T27" fmla="*/ 897 h 990"/>
                <a:gd name="T28" fmla="*/ 477 w 526"/>
                <a:gd name="T29" fmla="*/ 896 h 990"/>
                <a:gd name="T30" fmla="*/ 477 w 526"/>
                <a:gd name="T31" fmla="*/ 896 h 990"/>
                <a:gd name="T32" fmla="*/ 477 w 526"/>
                <a:gd name="T33" fmla="*/ 896 h 990"/>
                <a:gd name="T34" fmla="*/ 477 w 526"/>
                <a:gd name="T35" fmla="*/ 896 h 990"/>
                <a:gd name="T36" fmla="*/ 477 w 526"/>
                <a:gd name="T37" fmla="*/ 896 h 990"/>
                <a:gd name="T38" fmla="*/ 477 w 526"/>
                <a:gd name="T39" fmla="*/ 896 h 990"/>
                <a:gd name="T40" fmla="*/ 476 w 526"/>
                <a:gd name="T41" fmla="*/ 896 h 990"/>
                <a:gd name="T42" fmla="*/ 476 w 526"/>
                <a:gd name="T43" fmla="*/ 895 h 990"/>
                <a:gd name="T44" fmla="*/ 479 w 526"/>
                <a:gd name="T45" fmla="*/ 828 h 990"/>
                <a:gd name="T46" fmla="*/ 227 w 526"/>
                <a:gd name="T47" fmla="*/ 252 h 990"/>
                <a:gd name="T48" fmla="*/ 227 w 526"/>
                <a:gd name="T49" fmla="*/ 352 h 990"/>
                <a:gd name="T50" fmla="*/ 201 w 526"/>
                <a:gd name="T51" fmla="*/ 260 h 990"/>
                <a:gd name="T52" fmla="*/ 182 w 526"/>
                <a:gd name="T53" fmla="*/ 234 h 990"/>
                <a:gd name="T54" fmla="*/ 201 w 526"/>
                <a:gd name="T55" fmla="*/ 194 h 990"/>
                <a:gd name="T56" fmla="*/ 222 w 526"/>
                <a:gd name="T57" fmla="*/ 189 h 990"/>
                <a:gd name="T58" fmla="*/ 8 w 526"/>
                <a:gd name="T59" fmla="*/ 80 h 990"/>
                <a:gd name="T60" fmla="*/ 185 w 526"/>
                <a:gd name="T61" fmla="*/ 0 h 990"/>
                <a:gd name="T62" fmla="*/ 87 w 526"/>
                <a:gd name="T63" fmla="*/ 32 h 990"/>
                <a:gd name="T64" fmla="*/ 44 w 526"/>
                <a:gd name="T65" fmla="*/ 201 h 990"/>
                <a:gd name="T66" fmla="*/ 186 w 526"/>
                <a:gd name="T67" fmla="*/ 179 h 990"/>
                <a:gd name="T68" fmla="*/ 202 w 526"/>
                <a:gd name="T69" fmla="*/ 179 h 990"/>
                <a:gd name="T70" fmla="*/ 217 w 526"/>
                <a:gd name="T71" fmla="*/ 101 h 990"/>
                <a:gd name="T72" fmla="*/ 185 w 526"/>
                <a:gd name="T73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6" h="990">
                  <a:moveTo>
                    <a:pt x="390" y="981"/>
                  </a:moveTo>
                  <a:cubicBezTo>
                    <a:pt x="390" y="981"/>
                    <a:pt x="390" y="981"/>
                    <a:pt x="390" y="981"/>
                  </a:cubicBezTo>
                  <a:moveTo>
                    <a:pt x="182" y="234"/>
                  </a:moveTo>
                  <a:cubicBezTo>
                    <a:pt x="168" y="447"/>
                    <a:pt x="168" y="447"/>
                    <a:pt x="168" y="447"/>
                  </a:cubicBezTo>
                  <a:cubicBezTo>
                    <a:pt x="168" y="447"/>
                    <a:pt x="145" y="458"/>
                    <a:pt x="112" y="468"/>
                  </a:cubicBezTo>
                  <a:cubicBezTo>
                    <a:pt x="112" y="468"/>
                    <a:pt x="112" y="468"/>
                    <a:pt x="112" y="468"/>
                  </a:cubicBezTo>
                  <a:cubicBezTo>
                    <a:pt x="107" y="469"/>
                    <a:pt x="103" y="470"/>
                    <a:pt x="98" y="471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0" y="880"/>
                    <a:pt x="0" y="880"/>
                  </a:cubicBezTo>
                  <a:cubicBezTo>
                    <a:pt x="0" y="880"/>
                    <a:pt x="52" y="927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35" y="960"/>
                    <a:pt x="135" y="960"/>
                    <a:pt x="135" y="960"/>
                  </a:cubicBezTo>
                  <a:cubicBezTo>
                    <a:pt x="149" y="965"/>
                    <a:pt x="163" y="970"/>
                    <a:pt x="179" y="974"/>
                  </a:cubicBezTo>
                  <a:cubicBezTo>
                    <a:pt x="179" y="974"/>
                    <a:pt x="179" y="974"/>
                    <a:pt x="179" y="974"/>
                  </a:cubicBezTo>
                  <a:cubicBezTo>
                    <a:pt x="178" y="974"/>
                    <a:pt x="178" y="974"/>
                    <a:pt x="178" y="974"/>
                  </a:cubicBezTo>
                  <a:cubicBezTo>
                    <a:pt x="212" y="984"/>
                    <a:pt x="250" y="990"/>
                    <a:pt x="290" y="990"/>
                  </a:cubicBezTo>
                  <a:cubicBezTo>
                    <a:pt x="301" y="990"/>
                    <a:pt x="312" y="990"/>
                    <a:pt x="324" y="989"/>
                  </a:cubicBezTo>
                  <a:cubicBezTo>
                    <a:pt x="325" y="989"/>
                    <a:pt x="326" y="988"/>
                    <a:pt x="327" y="988"/>
                  </a:cubicBezTo>
                  <a:cubicBezTo>
                    <a:pt x="327" y="988"/>
                    <a:pt x="327" y="988"/>
                    <a:pt x="327" y="988"/>
                  </a:cubicBezTo>
                  <a:cubicBezTo>
                    <a:pt x="334" y="988"/>
                    <a:pt x="341" y="987"/>
                    <a:pt x="347" y="986"/>
                  </a:cubicBezTo>
                  <a:cubicBezTo>
                    <a:pt x="347" y="986"/>
                    <a:pt x="347" y="986"/>
                    <a:pt x="347" y="986"/>
                  </a:cubicBezTo>
                  <a:cubicBezTo>
                    <a:pt x="363" y="984"/>
                    <a:pt x="377" y="983"/>
                    <a:pt x="390" y="981"/>
                  </a:cubicBezTo>
                  <a:cubicBezTo>
                    <a:pt x="390" y="981"/>
                    <a:pt x="390" y="981"/>
                    <a:pt x="390" y="981"/>
                  </a:cubicBezTo>
                  <a:cubicBezTo>
                    <a:pt x="481" y="966"/>
                    <a:pt x="514" y="947"/>
                    <a:pt x="526" y="936"/>
                  </a:cubicBezTo>
                  <a:cubicBezTo>
                    <a:pt x="508" y="927"/>
                    <a:pt x="491" y="914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7"/>
                  </a:cubicBezTo>
                  <a:cubicBezTo>
                    <a:pt x="477" y="897"/>
                    <a:pt x="477" y="897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7" y="896"/>
                    <a:pt x="477" y="896"/>
                    <a:pt x="477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6"/>
                    <a:pt x="476" y="896"/>
                  </a:cubicBezTo>
                  <a:cubicBezTo>
                    <a:pt x="476" y="896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6" y="895"/>
                    <a:pt x="476" y="895"/>
                    <a:pt x="476" y="895"/>
                  </a:cubicBezTo>
                  <a:cubicBezTo>
                    <a:pt x="479" y="828"/>
                    <a:pt x="479" y="828"/>
                    <a:pt x="479" y="828"/>
                  </a:cubicBezTo>
                  <a:cubicBezTo>
                    <a:pt x="459" y="810"/>
                    <a:pt x="440" y="790"/>
                    <a:pt x="422" y="768"/>
                  </a:cubicBezTo>
                  <a:cubicBezTo>
                    <a:pt x="288" y="615"/>
                    <a:pt x="245" y="437"/>
                    <a:pt x="227" y="252"/>
                  </a:cubicBezTo>
                  <a:cubicBezTo>
                    <a:pt x="227" y="252"/>
                    <a:pt x="227" y="252"/>
                    <a:pt x="227" y="252"/>
                  </a:cubicBezTo>
                  <a:cubicBezTo>
                    <a:pt x="227" y="352"/>
                    <a:pt x="227" y="352"/>
                    <a:pt x="227" y="352"/>
                  </a:cubicBezTo>
                  <a:cubicBezTo>
                    <a:pt x="191" y="374"/>
                    <a:pt x="191" y="374"/>
                    <a:pt x="191" y="374"/>
                  </a:cubicBezTo>
                  <a:cubicBezTo>
                    <a:pt x="201" y="260"/>
                    <a:pt x="201" y="260"/>
                    <a:pt x="201" y="260"/>
                  </a:cubicBezTo>
                  <a:cubicBezTo>
                    <a:pt x="190" y="264"/>
                    <a:pt x="180" y="267"/>
                    <a:pt x="180" y="267"/>
                  </a:cubicBezTo>
                  <a:cubicBezTo>
                    <a:pt x="182" y="234"/>
                    <a:pt x="182" y="234"/>
                    <a:pt x="182" y="234"/>
                  </a:cubicBezTo>
                  <a:moveTo>
                    <a:pt x="222" y="189"/>
                  </a:moveTo>
                  <a:cubicBezTo>
                    <a:pt x="201" y="194"/>
                    <a:pt x="201" y="194"/>
                    <a:pt x="201" y="194"/>
                  </a:cubicBezTo>
                  <a:cubicBezTo>
                    <a:pt x="222" y="189"/>
                    <a:pt x="222" y="189"/>
                    <a:pt x="222" y="189"/>
                  </a:cubicBezTo>
                  <a:cubicBezTo>
                    <a:pt x="222" y="189"/>
                    <a:pt x="222" y="189"/>
                    <a:pt x="222" y="189"/>
                  </a:cubicBezTo>
                  <a:moveTo>
                    <a:pt x="85" y="34"/>
                  </a:moveTo>
                  <a:cubicBezTo>
                    <a:pt x="56" y="47"/>
                    <a:pt x="30" y="62"/>
                    <a:pt x="8" y="80"/>
                  </a:cubicBezTo>
                  <a:cubicBezTo>
                    <a:pt x="30" y="63"/>
                    <a:pt x="55" y="47"/>
                    <a:pt x="85" y="34"/>
                  </a:cubicBezTo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50" y="7"/>
                    <a:pt x="117" y="19"/>
                    <a:pt x="87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44" y="201"/>
                    <a:pt x="44" y="201"/>
                    <a:pt x="44" y="201"/>
                  </a:cubicBezTo>
                  <a:cubicBezTo>
                    <a:pt x="155" y="184"/>
                    <a:pt x="155" y="184"/>
                    <a:pt x="155" y="184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85" y="194"/>
                    <a:pt x="185" y="194"/>
                    <a:pt x="185" y="194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17" y="101"/>
                    <a:pt x="217" y="101"/>
                    <a:pt x="217" y="101"/>
                  </a:cubicBezTo>
                  <a:cubicBezTo>
                    <a:pt x="216" y="73"/>
                    <a:pt x="215" y="44"/>
                    <a:pt x="213" y="16"/>
                  </a:cubicBezTo>
                  <a:cubicBezTo>
                    <a:pt x="197" y="7"/>
                    <a:pt x="185" y="0"/>
                    <a:pt x="185" y="0"/>
                  </a:cubicBezTo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3E127B10-326A-4C88-8A2F-200DA295CB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0450" y="2627313"/>
              <a:ext cx="882650" cy="1323975"/>
            </a:xfrm>
            <a:custGeom>
              <a:avLst/>
              <a:gdLst>
                <a:gd name="T0" fmla="*/ 229 w 297"/>
                <a:gd name="T1" fmla="*/ 0 h 446"/>
                <a:gd name="T2" fmla="*/ 229 w 297"/>
                <a:gd name="T3" fmla="*/ 0 h 446"/>
                <a:gd name="T4" fmla="*/ 228 w 297"/>
                <a:gd name="T5" fmla="*/ 1 h 446"/>
                <a:gd name="T6" fmla="*/ 227 w 297"/>
                <a:gd name="T7" fmla="*/ 2 h 446"/>
                <a:gd name="T8" fmla="*/ 150 w 297"/>
                <a:gd name="T9" fmla="*/ 48 h 446"/>
                <a:gd name="T10" fmla="*/ 147 w 297"/>
                <a:gd name="T11" fmla="*/ 50 h 446"/>
                <a:gd name="T12" fmla="*/ 79 w 297"/>
                <a:gd name="T13" fmla="*/ 402 h 446"/>
                <a:gd name="T14" fmla="*/ 79 w 297"/>
                <a:gd name="T15" fmla="*/ 402 h 446"/>
                <a:gd name="T16" fmla="*/ 79 w 297"/>
                <a:gd name="T17" fmla="*/ 403 h 446"/>
                <a:gd name="T18" fmla="*/ 79 w 297"/>
                <a:gd name="T19" fmla="*/ 403 h 446"/>
                <a:gd name="T20" fmla="*/ 79 w 297"/>
                <a:gd name="T21" fmla="*/ 403 h 446"/>
                <a:gd name="T22" fmla="*/ 79 w 297"/>
                <a:gd name="T23" fmla="*/ 403 h 446"/>
                <a:gd name="T24" fmla="*/ 79 w 297"/>
                <a:gd name="T25" fmla="*/ 403 h 446"/>
                <a:gd name="T26" fmla="*/ 79 w 297"/>
                <a:gd name="T27" fmla="*/ 403 h 446"/>
                <a:gd name="T28" fmla="*/ 80 w 297"/>
                <a:gd name="T29" fmla="*/ 403 h 446"/>
                <a:gd name="T30" fmla="*/ 80 w 297"/>
                <a:gd name="T31" fmla="*/ 403 h 446"/>
                <a:gd name="T32" fmla="*/ 80 w 297"/>
                <a:gd name="T33" fmla="*/ 403 h 446"/>
                <a:gd name="T34" fmla="*/ 80 w 297"/>
                <a:gd name="T35" fmla="*/ 404 h 446"/>
                <a:gd name="T36" fmla="*/ 80 w 297"/>
                <a:gd name="T37" fmla="*/ 404 h 446"/>
                <a:gd name="T38" fmla="*/ 80 w 297"/>
                <a:gd name="T39" fmla="*/ 404 h 446"/>
                <a:gd name="T40" fmla="*/ 80 w 297"/>
                <a:gd name="T41" fmla="*/ 404 h 446"/>
                <a:gd name="T42" fmla="*/ 80 w 297"/>
                <a:gd name="T43" fmla="*/ 404 h 446"/>
                <a:gd name="T44" fmla="*/ 80 w 297"/>
                <a:gd name="T45" fmla="*/ 404 h 446"/>
                <a:gd name="T46" fmla="*/ 80 w 297"/>
                <a:gd name="T47" fmla="*/ 404 h 446"/>
                <a:gd name="T48" fmla="*/ 80 w 297"/>
                <a:gd name="T49" fmla="*/ 404 h 446"/>
                <a:gd name="T50" fmla="*/ 80 w 297"/>
                <a:gd name="T51" fmla="*/ 404 h 446"/>
                <a:gd name="T52" fmla="*/ 80 w 297"/>
                <a:gd name="T53" fmla="*/ 404 h 446"/>
                <a:gd name="T54" fmla="*/ 80 w 297"/>
                <a:gd name="T55" fmla="*/ 404 h 446"/>
                <a:gd name="T56" fmla="*/ 80 w 297"/>
                <a:gd name="T57" fmla="*/ 404 h 446"/>
                <a:gd name="T58" fmla="*/ 81 w 297"/>
                <a:gd name="T59" fmla="*/ 404 h 446"/>
                <a:gd name="T60" fmla="*/ 81 w 297"/>
                <a:gd name="T61" fmla="*/ 404 h 446"/>
                <a:gd name="T62" fmla="*/ 81 w 297"/>
                <a:gd name="T63" fmla="*/ 404 h 446"/>
                <a:gd name="T64" fmla="*/ 158 w 297"/>
                <a:gd name="T65" fmla="*/ 444 h 446"/>
                <a:gd name="T66" fmla="*/ 185 w 297"/>
                <a:gd name="T67" fmla="*/ 446 h 446"/>
                <a:gd name="T68" fmla="*/ 240 w 297"/>
                <a:gd name="T69" fmla="*/ 439 h 446"/>
                <a:gd name="T70" fmla="*/ 240 w 297"/>
                <a:gd name="T71" fmla="*/ 439 h 446"/>
                <a:gd name="T72" fmla="*/ 254 w 297"/>
                <a:gd name="T73" fmla="*/ 436 h 446"/>
                <a:gd name="T74" fmla="*/ 254 w 297"/>
                <a:gd name="T75" fmla="*/ 436 h 446"/>
                <a:gd name="T76" fmla="*/ 254 w 297"/>
                <a:gd name="T77" fmla="*/ 436 h 446"/>
                <a:gd name="T78" fmla="*/ 297 w 297"/>
                <a:gd name="T79" fmla="*/ 152 h 446"/>
                <a:gd name="T80" fmla="*/ 186 w 297"/>
                <a:gd name="T81" fmla="*/ 169 h 446"/>
                <a:gd name="T82" fmla="*/ 229 w 297"/>
                <a:gd name="T83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7" h="446">
                  <a:moveTo>
                    <a:pt x="229" y="0"/>
                  </a:moveTo>
                  <a:cubicBezTo>
                    <a:pt x="229" y="0"/>
                    <a:pt x="229" y="0"/>
                    <a:pt x="229" y="0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8" y="1"/>
                    <a:pt x="227" y="1"/>
                    <a:pt x="227" y="2"/>
                  </a:cubicBezTo>
                  <a:cubicBezTo>
                    <a:pt x="197" y="15"/>
                    <a:pt x="172" y="31"/>
                    <a:pt x="150" y="48"/>
                  </a:cubicBezTo>
                  <a:cubicBezTo>
                    <a:pt x="149" y="48"/>
                    <a:pt x="148" y="49"/>
                    <a:pt x="147" y="50"/>
                  </a:cubicBezTo>
                  <a:cubicBezTo>
                    <a:pt x="0" y="162"/>
                    <a:pt x="10" y="327"/>
                    <a:pt x="79" y="402"/>
                  </a:cubicBezTo>
                  <a:cubicBezTo>
                    <a:pt x="79" y="402"/>
                    <a:pt x="79" y="402"/>
                    <a:pt x="79" y="402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79" y="403"/>
                  </a:cubicBezTo>
                  <a:cubicBezTo>
                    <a:pt x="79" y="403"/>
                    <a:pt x="79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3"/>
                    <a:pt x="80" y="403"/>
                    <a:pt x="80" y="403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0" y="404"/>
                    <a:pt x="80" y="404"/>
                  </a:cubicBezTo>
                  <a:cubicBezTo>
                    <a:pt x="80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103" y="428"/>
                    <a:pt x="130" y="440"/>
                    <a:pt x="158" y="444"/>
                  </a:cubicBezTo>
                  <a:cubicBezTo>
                    <a:pt x="167" y="445"/>
                    <a:pt x="176" y="446"/>
                    <a:pt x="185" y="446"/>
                  </a:cubicBezTo>
                  <a:cubicBezTo>
                    <a:pt x="204" y="446"/>
                    <a:pt x="223" y="443"/>
                    <a:pt x="240" y="439"/>
                  </a:cubicBezTo>
                  <a:cubicBezTo>
                    <a:pt x="240" y="439"/>
                    <a:pt x="240" y="439"/>
                    <a:pt x="240" y="439"/>
                  </a:cubicBezTo>
                  <a:cubicBezTo>
                    <a:pt x="245" y="438"/>
                    <a:pt x="249" y="437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97" y="152"/>
                    <a:pt x="297" y="152"/>
                    <a:pt x="297" y="152"/>
                  </a:cubicBezTo>
                  <a:cubicBezTo>
                    <a:pt x="186" y="169"/>
                    <a:pt x="186" y="169"/>
                    <a:pt x="186" y="169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711E46FF-EAF6-478C-91BE-69A1DD6981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56100" y="3063875"/>
              <a:ext cx="219075" cy="857250"/>
            </a:xfrm>
            <a:custGeom>
              <a:avLst/>
              <a:gdLst>
                <a:gd name="T0" fmla="*/ 74 w 74"/>
                <a:gd name="T1" fmla="*/ 0 h 289"/>
                <a:gd name="T2" fmla="*/ 43 w 74"/>
                <a:gd name="T3" fmla="*/ 5 h 289"/>
                <a:gd name="T4" fmla="*/ 0 w 74"/>
                <a:gd name="T5" fmla="*/ 289 h 289"/>
                <a:gd name="T6" fmla="*/ 0 w 74"/>
                <a:gd name="T7" fmla="*/ 289 h 289"/>
                <a:gd name="T8" fmla="*/ 56 w 74"/>
                <a:gd name="T9" fmla="*/ 268 h 289"/>
                <a:gd name="T10" fmla="*/ 70 w 74"/>
                <a:gd name="T11" fmla="*/ 55 h 289"/>
                <a:gd name="T12" fmla="*/ 73 w 74"/>
                <a:gd name="T13" fmla="*/ 15 h 289"/>
                <a:gd name="T14" fmla="*/ 73 w 74"/>
                <a:gd name="T15" fmla="*/ 15 h 289"/>
                <a:gd name="T16" fmla="*/ 74 w 74"/>
                <a:gd name="T17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289">
                  <a:moveTo>
                    <a:pt x="74" y="0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33" y="279"/>
                    <a:pt x="56" y="268"/>
                    <a:pt x="56" y="268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1E21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DC0096D9-8FEA-4215-ACC0-1B7D32E3A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7713" y="3063875"/>
              <a:ext cx="139700" cy="260350"/>
            </a:xfrm>
            <a:custGeom>
              <a:avLst/>
              <a:gdLst>
                <a:gd name="T0" fmla="*/ 22 w 47"/>
                <a:gd name="T1" fmla="*/ 0 h 88"/>
                <a:gd name="T2" fmla="*/ 5 w 47"/>
                <a:gd name="T3" fmla="*/ 15 h 88"/>
                <a:gd name="T4" fmla="*/ 5 w 47"/>
                <a:gd name="T5" fmla="*/ 15 h 88"/>
                <a:gd name="T6" fmla="*/ 2 w 47"/>
                <a:gd name="T7" fmla="*/ 55 h 88"/>
                <a:gd name="T8" fmla="*/ 0 w 47"/>
                <a:gd name="T9" fmla="*/ 88 h 88"/>
                <a:gd name="T10" fmla="*/ 21 w 47"/>
                <a:gd name="T11" fmla="*/ 81 h 88"/>
                <a:gd name="T12" fmla="*/ 21 w 47"/>
                <a:gd name="T13" fmla="*/ 81 h 88"/>
                <a:gd name="T14" fmla="*/ 47 w 47"/>
                <a:gd name="T15" fmla="*/ 73 h 88"/>
                <a:gd name="T16" fmla="*/ 47 w 47"/>
                <a:gd name="T17" fmla="*/ 73 h 88"/>
                <a:gd name="T18" fmla="*/ 42 w 47"/>
                <a:gd name="T19" fmla="*/ 10 h 88"/>
                <a:gd name="T20" fmla="*/ 21 w 47"/>
                <a:gd name="T21" fmla="*/ 15 h 88"/>
                <a:gd name="T22" fmla="*/ 21 w 47"/>
                <a:gd name="T23" fmla="*/ 10 h 88"/>
                <a:gd name="T24" fmla="*/ 20 w 47"/>
                <a:gd name="T25" fmla="*/ 7 h 88"/>
                <a:gd name="T26" fmla="*/ 21 w 47"/>
                <a:gd name="T27" fmla="*/ 7 h 88"/>
                <a:gd name="T28" fmla="*/ 22 w 47"/>
                <a:gd name="T2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88">
                  <a:moveTo>
                    <a:pt x="22" y="0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8"/>
                    <a:pt x="10" y="85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5" y="52"/>
                    <a:pt x="44" y="31"/>
                    <a:pt x="42" y="1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5358B980-00EF-4074-A70F-EEEF0DD69F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72000" y="2139950"/>
              <a:ext cx="84138" cy="439738"/>
            </a:xfrm>
            <a:custGeom>
              <a:avLst/>
              <a:gdLst>
                <a:gd name="T0" fmla="*/ 0 w 28"/>
                <a:gd name="T1" fmla="*/ 2 h 148"/>
                <a:gd name="T2" fmla="*/ 0 w 28"/>
                <a:gd name="T3" fmla="*/ 2 h 148"/>
                <a:gd name="T4" fmla="*/ 0 w 28"/>
                <a:gd name="T5" fmla="*/ 0 h 148"/>
                <a:gd name="T6" fmla="*/ 0 w 28"/>
                <a:gd name="T7" fmla="*/ 2 h 148"/>
                <a:gd name="T8" fmla="*/ 0 w 28"/>
                <a:gd name="T9" fmla="*/ 132 h 148"/>
                <a:gd name="T10" fmla="*/ 28 w 28"/>
                <a:gd name="T11" fmla="*/ 148 h 148"/>
                <a:gd name="T12" fmla="*/ 22 w 28"/>
                <a:gd name="T13" fmla="*/ 31 h 148"/>
                <a:gd name="T14" fmla="*/ 14 w 28"/>
                <a:gd name="T15" fmla="*/ 26 h 148"/>
                <a:gd name="T16" fmla="*/ 0 w 28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48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12" y="139"/>
                    <a:pt x="28" y="148"/>
                  </a:cubicBezTo>
                  <a:cubicBezTo>
                    <a:pt x="27" y="109"/>
                    <a:pt x="25" y="70"/>
                    <a:pt x="22" y="31"/>
                  </a:cubicBezTo>
                  <a:cubicBezTo>
                    <a:pt x="17" y="29"/>
                    <a:pt x="14" y="26"/>
                    <a:pt x="14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CFC9B614-F4FA-4556-91DB-9DCC2AD1A7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19613" y="1979613"/>
              <a:ext cx="119063" cy="252413"/>
            </a:xfrm>
            <a:custGeom>
              <a:avLst/>
              <a:gdLst>
                <a:gd name="T0" fmla="*/ 0 w 40"/>
                <a:gd name="T1" fmla="*/ 55 h 85"/>
                <a:gd name="T2" fmla="*/ 3 w 40"/>
                <a:gd name="T3" fmla="*/ 56 h 85"/>
                <a:gd name="T4" fmla="*/ 0 w 40"/>
                <a:gd name="T5" fmla="*/ 55 h 85"/>
                <a:gd name="T6" fmla="*/ 33 w 40"/>
                <a:gd name="T7" fmla="*/ 0 h 85"/>
                <a:gd name="T8" fmla="*/ 4 w 40"/>
                <a:gd name="T9" fmla="*/ 30 h 85"/>
                <a:gd name="T10" fmla="*/ 4 w 40"/>
                <a:gd name="T11" fmla="*/ 30 h 85"/>
                <a:gd name="T12" fmla="*/ 5 w 40"/>
                <a:gd name="T13" fmla="*/ 32 h 85"/>
                <a:gd name="T14" fmla="*/ 5 w 40"/>
                <a:gd name="T15" fmla="*/ 32 h 85"/>
                <a:gd name="T16" fmla="*/ 16 w 40"/>
                <a:gd name="T17" fmla="*/ 51 h 85"/>
                <a:gd name="T18" fmla="*/ 18 w 40"/>
                <a:gd name="T19" fmla="*/ 54 h 85"/>
                <a:gd name="T20" fmla="*/ 18 w 40"/>
                <a:gd name="T21" fmla="*/ 54 h 85"/>
                <a:gd name="T22" fmla="*/ 32 w 40"/>
                <a:gd name="T23" fmla="*/ 80 h 85"/>
                <a:gd name="T24" fmla="*/ 40 w 40"/>
                <a:gd name="T25" fmla="*/ 85 h 85"/>
                <a:gd name="T26" fmla="*/ 37 w 40"/>
                <a:gd name="T27" fmla="*/ 39 h 85"/>
                <a:gd name="T28" fmla="*/ 28 w 40"/>
                <a:gd name="T29" fmla="*/ 27 h 85"/>
                <a:gd name="T30" fmla="*/ 26 w 40"/>
                <a:gd name="T31" fmla="*/ 30 h 85"/>
                <a:gd name="T32" fmla="*/ 25 w 40"/>
                <a:gd name="T33" fmla="*/ 31 h 85"/>
                <a:gd name="T34" fmla="*/ 24 w 40"/>
                <a:gd name="T35" fmla="*/ 30 h 85"/>
                <a:gd name="T36" fmla="*/ 24 w 40"/>
                <a:gd name="T37" fmla="*/ 29 h 85"/>
                <a:gd name="T38" fmla="*/ 30 w 40"/>
                <a:gd name="T39" fmla="*/ 23 h 85"/>
                <a:gd name="T40" fmla="*/ 31 w 40"/>
                <a:gd name="T41" fmla="*/ 23 h 85"/>
                <a:gd name="T42" fmla="*/ 31 w 40"/>
                <a:gd name="T43" fmla="*/ 23 h 85"/>
                <a:gd name="T44" fmla="*/ 31 w 40"/>
                <a:gd name="T45" fmla="*/ 24 h 85"/>
                <a:gd name="T46" fmla="*/ 29 w 40"/>
                <a:gd name="T47" fmla="*/ 26 h 85"/>
                <a:gd name="T48" fmla="*/ 32 w 40"/>
                <a:gd name="T49" fmla="*/ 27 h 85"/>
                <a:gd name="T50" fmla="*/ 32 w 40"/>
                <a:gd name="T51" fmla="*/ 27 h 85"/>
                <a:gd name="T52" fmla="*/ 36 w 40"/>
                <a:gd name="T53" fmla="*/ 27 h 85"/>
                <a:gd name="T54" fmla="*/ 33 w 40"/>
                <a:gd name="T5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" h="85">
                  <a:moveTo>
                    <a:pt x="0" y="55"/>
                  </a:moveTo>
                  <a:cubicBezTo>
                    <a:pt x="1" y="56"/>
                    <a:pt x="2" y="56"/>
                    <a:pt x="3" y="56"/>
                  </a:cubicBezTo>
                  <a:cubicBezTo>
                    <a:pt x="2" y="56"/>
                    <a:pt x="1" y="56"/>
                    <a:pt x="0" y="55"/>
                  </a:cubicBezTo>
                  <a:moveTo>
                    <a:pt x="33" y="0"/>
                  </a:moveTo>
                  <a:cubicBezTo>
                    <a:pt x="26" y="13"/>
                    <a:pt x="14" y="27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5" y="83"/>
                    <a:pt x="40" y="85"/>
                  </a:cubicBezTo>
                  <a:cubicBezTo>
                    <a:pt x="39" y="69"/>
                    <a:pt x="38" y="54"/>
                    <a:pt x="37" y="39"/>
                  </a:cubicBezTo>
                  <a:cubicBezTo>
                    <a:pt x="31" y="34"/>
                    <a:pt x="29" y="29"/>
                    <a:pt x="28" y="27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5" y="31"/>
                    <a:pt x="25" y="31"/>
                  </a:cubicBezTo>
                  <a:cubicBezTo>
                    <a:pt x="25" y="31"/>
                    <a:pt x="24" y="30"/>
                    <a:pt x="24" y="30"/>
                  </a:cubicBezTo>
                  <a:cubicBezTo>
                    <a:pt x="24" y="30"/>
                    <a:pt x="24" y="29"/>
                    <a:pt x="24" y="29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2" y="23"/>
                    <a:pt x="32" y="24"/>
                    <a:pt x="31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18"/>
                    <a:pt x="34" y="9"/>
                    <a:pt x="33" y="0"/>
                  </a:cubicBezTo>
                </a:path>
              </a:pathLst>
            </a:custGeom>
            <a:solidFill>
              <a:srgbClr val="C5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2" name="Freeform 148">
              <a:extLst>
                <a:ext uri="{FF2B5EF4-FFF2-40B4-BE49-F238E27FC236}">
                  <a16:creationId xmlns:a16="http://schemas.microsoft.com/office/drawing/2014/main" id="{CEF55D32-F00D-4ADF-B0CA-D139304332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19625" y="2832100"/>
              <a:ext cx="63500" cy="276225"/>
            </a:xfrm>
            <a:custGeom>
              <a:avLst/>
              <a:gdLst>
                <a:gd name="T0" fmla="*/ 21 w 21"/>
                <a:gd name="T1" fmla="*/ 88 h 93"/>
                <a:gd name="T2" fmla="*/ 2 w 21"/>
                <a:gd name="T3" fmla="*/ 93 h 93"/>
                <a:gd name="T4" fmla="*/ 0 w 21"/>
                <a:gd name="T5" fmla="*/ 88 h 93"/>
                <a:gd name="T6" fmla="*/ 0 w 21"/>
                <a:gd name="T7" fmla="*/ 93 h 93"/>
                <a:gd name="T8" fmla="*/ 21 w 21"/>
                <a:gd name="T9" fmla="*/ 88 h 93"/>
                <a:gd name="T10" fmla="*/ 21 w 21"/>
                <a:gd name="T11" fmla="*/ 88 h 93"/>
                <a:gd name="T12" fmla="*/ 16 w 21"/>
                <a:gd name="T13" fmla="*/ 0 h 93"/>
                <a:gd name="T14" fmla="*/ 3 w 21"/>
                <a:gd name="T15" fmla="*/ 4 h 93"/>
                <a:gd name="T16" fmla="*/ 1 w 21"/>
                <a:gd name="T17" fmla="*/ 78 h 93"/>
                <a:gd name="T18" fmla="*/ 0 w 21"/>
                <a:gd name="T19" fmla="*/ 85 h 93"/>
                <a:gd name="T20" fmla="*/ 21 w 21"/>
                <a:gd name="T21" fmla="*/ 79 h 93"/>
                <a:gd name="T22" fmla="*/ 16 w 21"/>
                <a:gd name="T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93">
                  <a:moveTo>
                    <a:pt x="21" y="88"/>
                  </a:moveTo>
                  <a:cubicBezTo>
                    <a:pt x="2" y="93"/>
                    <a:pt x="2" y="93"/>
                    <a:pt x="2" y="93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moveTo>
                    <a:pt x="16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19" y="53"/>
                    <a:pt x="17" y="26"/>
                    <a:pt x="16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B17ADAA-55FA-44C0-AB4D-96089A8B3B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3279775"/>
              <a:ext cx="106363" cy="361950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E69520FA-CC0B-40ED-B680-573844EAD9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3279775"/>
              <a:ext cx="106363" cy="361950"/>
            </a:xfrm>
            <a:custGeom>
              <a:avLst/>
              <a:gdLst>
                <a:gd name="T0" fmla="*/ 67 w 67"/>
                <a:gd name="T1" fmla="*/ 0 h 228"/>
                <a:gd name="T2" fmla="*/ 18 w 67"/>
                <a:gd name="T3" fmla="*/ 15 h 228"/>
                <a:gd name="T4" fmla="*/ 0 w 67"/>
                <a:gd name="T5" fmla="*/ 228 h 228"/>
                <a:gd name="T6" fmla="*/ 67 w 67"/>
                <a:gd name="T7" fmla="*/ 187 h 228"/>
                <a:gd name="T8" fmla="*/ 67 w 6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28">
                  <a:moveTo>
                    <a:pt x="67" y="0"/>
                  </a:moveTo>
                  <a:lnTo>
                    <a:pt x="18" y="15"/>
                  </a:lnTo>
                  <a:lnTo>
                    <a:pt x="0" y="228"/>
                  </a:lnTo>
                  <a:lnTo>
                    <a:pt x="67" y="187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5" name="Freeform 151">
              <a:extLst>
                <a:ext uri="{FF2B5EF4-FFF2-40B4-BE49-F238E27FC236}">
                  <a16:creationId xmlns:a16="http://schemas.microsoft.com/office/drawing/2014/main" id="{2808C360-A9E6-47D1-A673-1513F7E6F3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038" y="3067050"/>
              <a:ext cx="65088" cy="41275"/>
            </a:xfrm>
            <a:custGeom>
              <a:avLst/>
              <a:gdLst>
                <a:gd name="T0" fmla="*/ 22 w 22"/>
                <a:gd name="T1" fmla="*/ 0 h 14"/>
                <a:gd name="T2" fmla="*/ 1 w 22"/>
                <a:gd name="T3" fmla="*/ 6 h 14"/>
                <a:gd name="T4" fmla="*/ 0 w 22"/>
                <a:gd name="T5" fmla="*/ 6 h 14"/>
                <a:gd name="T6" fmla="*/ 1 w 22"/>
                <a:gd name="T7" fmla="*/ 9 h 14"/>
                <a:gd name="T8" fmla="*/ 3 w 22"/>
                <a:gd name="T9" fmla="*/ 14 h 14"/>
                <a:gd name="T10" fmla="*/ 22 w 22"/>
                <a:gd name="T11" fmla="*/ 9 h 14"/>
                <a:gd name="T12" fmla="*/ 22 w 22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4">
                  <a:moveTo>
                    <a:pt x="22" y="0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2" y="3"/>
                    <a:pt x="22" y="0"/>
                  </a:cubicBezTo>
                </a:path>
              </a:pathLst>
            </a:custGeom>
            <a:solidFill>
              <a:srgbClr val="A10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4FAAD5C1-DE88-472C-AABF-7B91378D67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60575"/>
              <a:ext cx="26988" cy="34925"/>
            </a:xfrm>
            <a:custGeom>
              <a:avLst/>
              <a:gdLst>
                <a:gd name="T0" fmla="*/ 1 w 9"/>
                <a:gd name="T1" fmla="*/ 0 h 12"/>
                <a:gd name="T2" fmla="*/ 0 w 9"/>
                <a:gd name="T3" fmla="*/ 0 h 12"/>
                <a:gd name="T4" fmla="*/ 9 w 9"/>
                <a:gd name="T5" fmla="*/ 12 h 12"/>
                <a:gd name="T6" fmla="*/ 9 w 9"/>
                <a:gd name="T7" fmla="*/ 11 h 12"/>
                <a:gd name="T8" fmla="*/ 1 w 9"/>
                <a:gd name="T9" fmla="*/ 2 h 12"/>
                <a:gd name="T10" fmla="*/ 1 w 9"/>
                <a:gd name="T11" fmla="*/ 3 h 12"/>
                <a:gd name="T12" fmla="*/ 1 w 9"/>
                <a:gd name="T13" fmla="*/ 2 h 12"/>
                <a:gd name="T14" fmla="*/ 1 w 9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7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5" y="8"/>
                    <a:pt x="3" y="5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42B6EE1D-1863-4E4D-9422-5F606EAD08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1050" y="2047875"/>
              <a:ext cx="23813" cy="23813"/>
            </a:xfrm>
            <a:custGeom>
              <a:avLst/>
              <a:gdLst>
                <a:gd name="T0" fmla="*/ 7 w 8"/>
                <a:gd name="T1" fmla="*/ 0 h 8"/>
                <a:gd name="T2" fmla="*/ 6 w 8"/>
                <a:gd name="T3" fmla="*/ 0 h 8"/>
                <a:gd name="T4" fmla="*/ 0 w 8"/>
                <a:gd name="T5" fmla="*/ 6 h 8"/>
                <a:gd name="T6" fmla="*/ 0 w 8"/>
                <a:gd name="T7" fmla="*/ 7 h 8"/>
                <a:gd name="T8" fmla="*/ 1 w 8"/>
                <a:gd name="T9" fmla="*/ 8 h 8"/>
                <a:gd name="T10" fmla="*/ 2 w 8"/>
                <a:gd name="T11" fmla="*/ 7 h 8"/>
                <a:gd name="T12" fmla="*/ 4 w 8"/>
                <a:gd name="T13" fmla="*/ 4 h 8"/>
                <a:gd name="T14" fmla="*/ 5 w 8"/>
                <a:gd name="T15" fmla="*/ 4 h 8"/>
                <a:gd name="T16" fmla="*/ 4 w 8"/>
                <a:gd name="T17" fmla="*/ 3 h 8"/>
                <a:gd name="T18" fmla="*/ 4 w 8"/>
                <a:gd name="T19" fmla="*/ 3 h 8"/>
                <a:gd name="T20" fmla="*/ 5 w 8"/>
                <a:gd name="T21" fmla="*/ 3 h 8"/>
                <a:gd name="T22" fmla="*/ 7 w 8"/>
                <a:gd name="T23" fmla="*/ 1 h 8"/>
                <a:gd name="T24" fmla="*/ 7 w 8"/>
                <a:gd name="T25" fmla="*/ 0 h 8"/>
                <a:gd name="T26" fmla="*/ 7 w 8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8"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D0AAA516-7E98-4823-9020-B624D91231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02163" y="2057400"/>
              <a:ext cx="26988" cy="34925"/>
            </a:xfrm>
            <a:custGeom>
              <a:avLst/>
              <a:gdLst>
                <a:gd name="T0" fmla="*/ 4 w 9"/>
                <a:gd name="T1" fmla="*/ 1 h 12"/>
                <a:gd name="T2" fmla="*/ 1 w 9"/>
                <a:gd name="T3" fmla="*/ 3 h 12"/>
                <a:gd name="T4" fmla="*/ 9 w 9"/>
                <a:gd name="T5" fmla="*/ 12 h 12"/>
                <a:gd name="T6" fmla="*/ 8 w 9"/>
                <a:gd name="T7" fmla="*/ 1 h 12"/>
                <a:gd name="T8" fmla="*/ 4 w 9"/>
                <a:gd name="T9" fmla="*/ 1 h 12"/>
                <a:gd name="T10" fmla="*/ 0 w 9"/>
                <a:gd name="T11" fmla="*/ 0 h 12"/>
                <a:gd name="T12" fmla="*/ 1 w 9"/>
                <a:gd name="T13" fmla="*/ 1 h 12"/>
                <a:gd name="T14" fmla="*/ 1 w 9"/>
                <a:gd name="T15" fmla="*/ 3 h 12"/>
                <a:gd name="T16" fmla="*/ 0 w 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4" y="1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3" y="6"/>
                    <a:pt x="5" y="9"/>
                    <a:pt x="9" y="12"/>
                  </a:cubicBezTo>
                  <a:cubicBezTo>
                    <a:pt x="9" y="8"/>
                    <a:pt x="8" y="5"/>
                    <a:pt x="8" y="1"/>
                  </a:cubicBezTo>
                  <a:cubicBezTo>
                    <a:pt x="4" y="1"/>
                    <a:pt x="4" y="1"/>
                    <a:pt x="4" y="1"/>
                  </a:cubicBezTo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BD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59" name="Freeform 155">
              <a:extLst>
                <a:ext uri="{FF2B5EF4-FFF2-40B4-BE49-F238E27FC236}">
                  <a16:creationId xmlns:a16="http://schemas.microsoft.com/office/drawing/2014/main" id="{BFC3D4DE-AB24-4EA1-B5DC-BC5EA18A7B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92625" y="199707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62D0EC21-CBF1-4E8A-8D1E-7F1BA0BBE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92625" y="199707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BD3093A2-79C2-4B7B-8BC1-DD03F2FCD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12700" cy="11113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6DB17388-F6C0-4C8F-92C3-02E4A7ACFF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163" y="2057400"/>
              <a:ext cx="12700" cy="11113"/>
            </a:xfrm>
            <a:custGeom>
              <a:avLst/>
              <a:gdLst>
                <a:gd name="T0" fmla="*/ 0 w 8"/>
                <a:gd name="T1" fmla="*/ 0 h 7"/>
                <a:gd name="T2" fmla="*/ 0 w 8"/>
                <a:gd name="T3" fmla="*/ 0 h 7"/>
                <a:gd name="T4" fmla="*/ 2 w 8"/>
                <a:gd name="T5" fmla="*/ 5 h 7"/>
                <a:gd name="T6" fmla="*/ 2 w 8"/>
                <a:gd name="T7" fmla="*/ 7 h 7"/>
                <a:gd name="T8" fmla="*/ 2 w 8"/>
                <a:gd name="T9" fmla="*/ 5 h 7"/>
                <a:gd name="T10" fmla="*/ 8 w 8"/>
                <a:gd name="T11" fmla="*/ 2 h 7"/>
                <a:gd name="T12" fmla="*/ 8 w 8"/>
                <a:gd name="T13" fmla="*/ 2 h 7"/>
                <a:gd name="T14" fmla="*/ 2 w 8"/>
                <a:gd name="T15" fmla="*/ 0 h 7"/>
                <a:gd name="T16" fmla="*/ 0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99DD39BB-CD08-4E0C-A6D4-00F0EC5FAE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2463" y="2054225"/>
              <a:ext cx="104775" cy="92075"/>
            </a:xfrm>
            <a:custGeom>
              <a:avLst/>
              <a:gdLst>
                <a:gd name="T0" fmla="*/ 12 w 35"/>
                <a:gd name="T1" fmla="*/ 0 h 31"/>
                <a:gd name="T2" fmla="*/ 6 w 35"/>
                <a:gd name="T3" fmla="*/ 3 h 31"/>
                <a:gd name="T4" fmla="*/ 19 w 35"/>
                <a:gd name="T5" fmla="*/ 30 h 31"/>
                <a:gd name="T6" fmla="*/ 19 w 35"/>
                <a:gd name="T7" fmla="*/ 30 h 31"/>
                <a:gd name="T8" fmla="*/ 22 w 35"/>
                <a:gd name="T9" fmla="*/ 31 h 31"/>
                <a:gd name="T10" fmla="*/ 24 w 35"/>
                <a:gd name="T11" fmla="*/ 31 h 31"/>
                <a:gd name="T12" fmla="*/ 35 w 35"/>
                <a:gd name="T13" fmla="*/ 27 h 31"/>
                <a:gd name="T14" fmla="*/ 35 w 35"/>
                <a:gd name="T15" fmla="*/ 27 h 31"/>
                <a:gd name="T16" fmla="*/ 35 w 35"/>
                <a:gd name="T17" fmla="*/ 27 h 31"/>
                <a:gd name="T18" fmla="*/ 35 w 35"/>
                <a:gd name="T19" fmla="*/ 26 h 31"/>
                <a:gd name="T20" fmla="*/ 24 w 35"/>
                <a:gd name="T21" fmla="*/ 7 h 31"/>
                <a:gd name="T22" fmla="*/ 24 w 35"/>
                <a:gd name="T23" fmla="*/ 7 h 31"/>
                <a:gd name="T24" fmla="*/ 12 w 3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31">
                  <a:moveTo>
                    <a:pt x="12" y="0"/>
                  </a:moveTo>
                  <a:cubicBezTo>
                    <a:pt x="10" y="0"/>
                    <a:pt x="8" y="1"/>
                    <a:pt x="6" y="3"/>
                  </a:cubicBezTo>
                  <a:cubicBezTo>
                    <a:pt x="0" y="10"/>
                    <a:pt x="8" y="27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1" y="31"/>
                    <a:pt x="22" y="31"/>
                  </a:cubicBezTo>
                  <a:cubicBezTo>
                    <a:pt x="22" y="31"/>
                    <a:pt x="23" y="31"/>
                    <a:pt x="24" y="31"/>
                  </a:cubicBezTo>
                  <a:cubicBezTo>
                    <a:pt x="30" y="31"/>
                    <a:pt x="33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5"/>
                    <a:pt x="18" y="0"/>
                    <a:pt x="12" y="0"/>
                  </a:cubicBezTo>
                </a:path>
              </a:pathLst>
            </a:custGeom>
            <a:solidFill>
              <a:srgbClr val="C56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BF4FE3F5-A4FA-4B19-BBFE-4E581F5EB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92625" y="1952625"/>
              <a:ext cx="125413" cy="115888"/>
            </a:xfrm>
            <a:custGeom>
              <a:avLst/>
              <a:gdLst>
                <a:gd name="T0" fmla="*/ 41 w 42"/>
                <a:gd name="T1" fmla="*/ 0 h 39"/>
                <a:gd name="T2" fmla="*/ 2 w 42"/>
                <a:gd name="T3" fmla="*/ 16 h 39"/>
                <a:gd name="T4" fmla="*/ 2 w 42"/>
                <a:gd name="T5" fmla="*/ 15 h 39"/>
                <a:gd name="T6" fmla="*/ 0 w 42"/>
                <a:gd name="T7" fmla="*/ 16 h 39"/>
                <a:gd name="T8" fmla="*/ 1 w 42"/>
                <a:gd name="T9" fmla="*/ 16 h 39"/>
                <a:gd name="T10" fmla="*/ 1 w 42"/>
                <a:gd name="T11" fmla="*/ 16 h 39"/>
                <a:gd name="T12" fmla="*/ 13 w 42"/>
                <a:gd name="T13" fmla="*/ 39 h 39"/>
                <a:gd name="T14" fmla="*/ 13 w 42"/>
                <a:gd name="T15" fmla="*/ 39 h 39"/>
                <a:gd name="T16" fmla="*/ 42 w 42"/>
                <a:gd name="T17" fmla="*/ 9 h 39"/>
                <a:gd name="T18" fmla="*/ 41 w 42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9">
                  <a:moveTo>
                    <a:pt x="41" y="0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23" y="36"/>
                    <a:pt x="35" y="22"/>
                    <a:pt x="42" y="9"/>
                  </a:cubicBezTo>
                  <a:cubicBezTo>
                    <a:pt x="42" y="6"/>
                    <a:pt x="42" y="3"/>
                    <a:pt x="41" y="0"/>
                  </a:cubicBezTo>
                </a:path>
              </a:pathLst>
            </a:custGeom>
            <a:solidFill>
              <a:srgbClr val="3624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E7D84653-7972-400A-A785-1CD6E86C3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5300" y="1816100"/>
              <a:ext cx="309563" cy="184150"/>
            </a:xfrm>
            <a:custGeom>
              <a:avLst/>
              <a:gdLst>
                <a:gd name="T0" fmla="*/ 98 w 104"/>
                <a:gd name="T1" fmla="*/ 0 h 62"/>
                <a:gd name="T2" fmla="*/ 0 w 104"/>
                <a:gd name="T3" fmla="*/ 49 h 62"/>
                <a:gd name="T4" fmla="*/ 1 w 104"/>
                <a:gd name="T5" fmla="*/ 57 h 62"/>
                <a:gd name="T6" fmla="*/ 44 w 104"/>
                <a:gd name="T7" fmla="*/ 31 h 62"/>
                <a:gd name="T8" fmla="*/ 65 w 104"/>
                <a:gd name="T9" fmla="*/ 61 h 62"/>
                <a:gd name="T10" fmla="*/ 65 w 104"/>
                <a:gd name="T11" fmla="*/ 61 h 62"/>
                <a:gd name="T12" fmla="*/ 65 w 104"/>
                <a:gd name="T13" fmla="*/ 61 h 62"/>
                <a:gd name="T14" fmla="*/ 65 w 104"/>
                <a:gd name="T15" fmla="*/ 62 h 62"/>
                <a:gd name="T16" fmla="*/ 104 w 104"/>
                <a:gd name="T17" fmla="*/ 46 h 62"/>
                <a:gd name="T18" fmla="*/ 101 w 104"/>
                <a:gd name="T19" fmla="*/ 18 h 62"/>
                <a:gd name="T20" fmla="*/ 98 w 104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62">
                  <a:moveTo>
                    <a:pt x="98" y="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3" y="37"/>
                    <a:pt x="102" y="27"/>
                    <a:pt x="101" y="18"/>
                  </a:cubicBezTo>
                  <a:cubicBezTo>
                    <a:pt x="101" y="12"/>
                    <a:pt x="100" y="6"/>
                    <a:pt x="98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BBFC7394-5C1C-42B4-BE26-38783F53A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1150" y="5718175"/>
              <a:ext cx="436563" cy="358775"/>
            </a:xfrm>
            <a:custGeom>
              <a:avLst/>
              <a:gdLst>
                <a:gd name="T0" fmla="*/ 143 w 147"/>
                <a:gd name="T1" fmla="*/ 7 h 121"/>
                <a:gd name="T2" fmla="*/ 147 w 147"/>
                <a:gd name="T3" fmla="*/ 42 h 121"/>
                <a:gd name="T4" fmla="*/ 17 w 147"/>
                <a:gd name="T5" fmla="*/ 117 h 121"/>
                <a:gd name="T6" fmla="*/ 46 w 147"/>
                <a:gd name="T7" fmla="*/ 47 h 121"/>
                <a:gd name="T8" fmla="*/ 109 w 147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21">
                  <a:moveTo>
                    <a:pt x="143" y="7"/>
                  </a:move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33" y="121"/>
                    <a:pt x="17" y="117"/>
                  </a:cubicBezTo>
                  <a:cubicBezTo>
                    <a:pt x="0" y="113"/>
                    <a:pt x="2" y="69"/>
                    <a:pt x="46" y="47"/>
                  </a:cubicBezTo>
                  <a:cubicBezTo>
                    <a:pt x="91" y="26"/>
                    <a:pt x="109" y="0"/>
                    <a:pt x="109" y="0"/>
                  </a:cubicBezTo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CBDD32D1-4036-4914-93E2-6E5E9E1AB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7538" y="5337175"/>
              <a:ext cx="136525" cy="430213"/>
            </a:xfrm>
            <a:custGeom>
              <a:avLst/>
              <a:gdLst>
                <a:gd name="T0" fmla="*/ 46 w 46"/>
                <a:gd name="T1" fmla="*/ 10 h 145"/>
                <a:gd name="T2" fmla="*/ 38 w 46"/>
                <a:gd name="T3" fmla="*/ 136 h 145"/>
                <a:gd name="T4" fmla="*/ 6 w 46"/>
                <a:gd name="T5" fmla="*/ 126 h 145"/>
                <a:gd name="T6" fmla="*/ 0 w 46"/>
                <a:gd name="T7" fmla="*/ 0 h 145"/>
                <a:gd name="T8" fmla="*/ 46 w 46"/>
                <a:gd name="T9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45">
                  <a:moveTo>
                    <a:pt x="46" y="10"/>
                  </a:moveTo>
                  <a:cubicBezTo>
                    <a:pt x="38" y="136"/>
                    <a:pt x="38" y="136"/>
                    <a:pt x="38" y="136"/>
                  </a:cubicBezTo>
                  <a:cubicBezTo>
                    <a:pt x="38" y="136"/>
                    <a:pt x="16" y="145"/>
                    <a:pt x="6" y="1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7" y="10"/>
                    <a:pt x="46" y="10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A17F0B09-2571-412E-B7BE-87B7957D47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0013" y="2686050"/>
              <a:ext cx="481013" cy="1401763"/>
            </a:xfrm>
            <a:custGeom>
              <a:avLst/>
              <a:gdLst>
                <a:gd name="T0" fmla="*/ 148 w 162"/>
                <a:gd name="T1" fmla="*/ 0 h 472"/>
                <a:gd name="T2" fmla="*/ 77 w 162"/>
                <a:gd name="T3" fmla="*/ 73 h 472"/>
                <a:gd name="T4" fmla="*/ 0 w 162"/>
                <a:gd name="T5" fmla="*/ 442 h 472"/>
                <a:gd name="T6" fmla="*/ 96 w 162"/>
                <a:gd name="T7" fmla="*/ 467 h 472"/>
                <a:gd name="T8" fmla="*/ 100 w 162"/>
                <a:gd name="T9" fmla="*/ 466 h 472"/>
                <a:gd name="T10" fmla="*/ 148 w 162"/>
                <a:gd name="T11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472">
                  <a:moveTo>
                    <a:pt x="148" y="0"/>
                  </a:moveTo>
                  <a:cubicBezTo>
                    <a:pt x="148" y="0"/>
                    <a:pt x="93" y="10"/>
                    <a:pt x="77" y="73"/>
                  </a:cubicBezTo>
                  <a:cubicBezTo>
                    <a:pt x="60" y="136"/>
                    <a:pt x="0" y="442"/>
                    <a:pt x="0" y="442"/>
                  </a:cubicBezTo>
                  <a:cubicBezTo>
                    <a:pt x="0" y="442"/>
                    <a:pt x="37" y="472"/>
                    <a:pt x="96" y="467"/>
                  </a:cubicBezTo>
                  <a:cubicBezTo>
                    <a:pt x="98" y="467"/>
                    <a:pt x="99" y="466"/>
                    <a:pt x="100" y="466"/>
                  </a:cubicBezTo>
                  <a:cubicBezTo>
                    <a:pt x="162" y="459"/>
                    <a:pt x="148" y="0"/>
                    <a:pt x="148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08F54922-0973-449D-987C-A2A32F38F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8775" y="2633663"/>
              <a:ext cx="1131888" cy="2986088"/>
            </a:xfrm>
            <a:custGeom>
              <a:avLst/>
              <a:gdLst>
                <a:gd name="T0" fmla="*/ 197 w 381"/>
                <a:gd name="T1" fmla="*/ 0 h 1006"/>
                <a:gd name="T2" fmla="*/ 270 w 381"/>
                <a:gd name="T3" fmla="*/ 60 h 1006"/>
                <a:gd name="T4" fmla="*/ 381 w 381"/>
                <a:gd name="T5" fmla="*/ 840 h 1006"/>
                <a:gd name="T6" fmla="*/ 0 w 381"/>
                <a:gd name="T7" fmla="*/ 861 h 1006"/>
                <a:gd name="T8" fmla="*/ 28 w 381"/>
                <a:gd name="T9" fmla="*/ 57 h 1006"/>
                <a:gd name="T10" fmla="*/ 61 w 381"/>
                <a:gd name="T11" fmla="*/ 18 h 1006"/>
                <a:gd name="T12" fmla="*/ 100 w 381"/>
                <a:gd name="T13" fmla="*/ 4 h 1006"/>
                <a:gd name="T14" fmla="*/ 197 w 381"/>
                <a:gd name="T1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" h="1006">
                  <a:moveTo>
                    <a:pt x="197" y="0"/>
                  </a:moveTo>
                  <a:cubicBezTo>
                    <a:pt x="197" y="0"/>
                    <a:pt x="257" y="1"/>
                    <a:pt x="270" y="60"/>
                  </a:cubicBezTo>
                  <a:cubicBezTo>
                    <a:pt x="282" y="119"/>
                    <a:pt x="381" y="840"/>
                    <a:pt x="381" y="840"/>
                  </a:cubicBezTo>
                  <a:cubicBezTo>
                    <a:pt x="381" y="840"/>
                    <a:pt x="114" y="1006"/>
                    <a:pt x="0" y="861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36" y="29"/>
                    <a:pt x="61" y="18"/>
                  </a:cubicBezTo>
                  <a:cubicBezTo>
                    <a:pt x="86" y="7"/>
                    <a:pt x="100" y="4"/>
                    <a:pt x="100" y="4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2564402F-0B9A-4B70-BD15-850516BCA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7050" y="2012950"/>
              <a:ext cx="350838" cy="441325"/>
            </a:xfrm>
            <a:custGeom>
              <a:avLst/>
              <a:gdLst>
                <a:gd name="T0" fmla="*/ 16 w 118"/>
                <a:gd name="T1" fmla="*/ 13 h 149"/>
                <a:gd name="T2" fmla="*/ 4 w 118"/>
                <a:gd name="T3" fmla="*/ 113 h 149"/>
                <a:gd name="T4" fmla="*/ 36 w 118"/>
                <a:gd name="T5" fmla="*/ 148 h 149"/>
                <a:gd name="T6" fmla="*/ 94 w 118"/>
                <a:gd name="T7" fmla="*/ 96 h 149"/>
                <a:gd name="T8" fmla="*/ 100 w 118"/>
                <a:gd name="T9" fmla="*/ 75 h 149"/>
                <a:gd name="T10" fmla="*/ 118 w 118"/>
                <a:gd name="T11" fmla="*/ 57 h 149"/>
                <a:gd name="T12" fmla="*/ 99 w 118"/>
                <a:gd name="T13" fmla="*/ 35 h 149"/>
                <a:gd name="T14" fmla="*/ 102 w 118"/>
                <a:gd name="T15" fmla="*/ 0 h 149"/>
                <a:gd name="T16" fmla="*/ 16 w 118"/>
                <a:gd name="T17" fmla="*/ 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49">
                  <a:moveTo>
                    <a:pt x="16" y="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0" y="147"/>
                    <a:pt x="36" y="148"/>
                  </a:cubicBezTo>
                  <a:cubicBezTo>
                    <a:pt x="73" y="149"/>
                    <a:pt x="90" y="112"/>
                    <a:pt x="94" y="96"/>
                  </a:cubicBezTo>
                  <a:cubicBezTo>
                    <a:pt x="99" y="80"/>
                    <a:pt x="100" y="75"/>
                    <a:pt x="100" y="75"/>
                  </a:cubicBezTo>
                  <a:cubicBezTo>
                    <a:pt x="100" y="75"/>
                    <a:pt x="118" y="76"/>
                    <a:pt x="118" y="57"/>
                  </a:cubicBezTo>
                  <a:cubicBezTo>
                    <a:pt x="117" y="37"/>
                    <a:pt x="107" y="30"/>
                    <a:pt x="99" y="3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6" y="13"/>
                    <a:pt x="16" y="13"/>
                    <a:pt x="16" y="13"/>
                  </a:cubicBezTo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C550BD69-D002-497D-9710-6A6CA1818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4363" y="2235200"/>
              <a:ext cx="330200" cy="668338"/>
            </a:xfrm>
            <a:custGeom>
              <a:avLst/>
              <a:gdLst>
                <a:gd name="T0" fmla="*/ 71 w 111"/>
                <a:gd name="T1" fmla="*/ 0 h 225"/>
                <a:gd name="T2" fmla="*/ 75 w 111"/>
                <a:gd name="T3" fmla="*/ 116 h 225"/>
                <a:gd name="T4" fmla="*/ 111 w 111"/>
                <a:gd name="T5" fmla="*/ 134 h 225"/>
                <a:gd name="T6" fmla="*/ 17 w 111"/>
                <a:gd name="T7" fmla="*/ 225 h 225"/>
                <a:gd name="T8" fmla="*/ 0 w 111"/>
                <a:gd name="T9" fmla="*/ 141 h 225"/>
                <a:gd name="T10" fmla="*/ 34 w 111"/>
                <a:gd name="T11" fmla="*/ 122 h 225"/>
                <a:gd name="T12" fmla="*/ 42 w 111"/>
                <a:gd name="T13" fmla="*/ 58 h 225"/>
                <a:gd name="T14" fmla="*/ 71 w 111"/>
                <a:gd name="T1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225">
                  <a:moveTo>
                    <a:pt x="71" y="0"/>
                  </a:moveTo>
                  <a:cubicBezTo>
                    <a:pt x="71" y="0"/>
                    <a:pt x="65" y="106"/>
                    <a:pt x="75" y="116"/>
                  </a:cubicBezTo>
                  <a:cubicBezTo>
                    <a:pt x="86" y="126"/>
                    <a:pt x="111" y="134"/>
                    <a:pt x="111" y="134"/>
                  </a:cubicBezTo>
                  <a:cubicBezTo>
                    <a:pt x="17" y="225"/>
                    <a:pt x="17" y="225"/>
                    <a:pt x="17" y="225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41"/>
                    <a:pt x="30" y="139"/>
                    <a:pt x="34" y="122"/>
                  </a:cubicBezTo>
                  <a:cubicBezTo>
                    <a:pt x="39" y="105"/>
                    <a:pt x="42" y="58"/>
                    <a:pt x="42" y="58"/>
                  </a:cubicBezTo>
                  <a:cubicBezTo>
                    <a:pt x="42" y="58"/>
                    <a:pt x="61" y="39"/>
                    <a:pt x="71" y="0"/>
                  </a:cubicBezTo>
                </a:path>
              </a:pathLst>
            </a:custGeom>
            <a:solidFill>
              <a:srgbClr val="FFB3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F9FD832D-682D-496A-8D93-6E4A42CA4C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61025" y="2262188"/>
              <a:ext cx="109538" cy="52388"/>
            </a:xfrm>
            <a:custGeom>
              <a:avLst/>
              <a:gdLst>
                <a:gd name="T0" fmla="*/ 0 w 37"/>
                <a:gd name="T1" fmla="*/ 11 h 18"/>
                <a:gd name="T2" fmla="*/ 14 w 37"/>
                <a:gd name="T3" fmla="*/ 18 h 18"/>
                <a:gd name="T4" fmla="*/ 21 w 37"/>
                <a:gd name="T5" fmla="*/ 17 h 18"/>
                <a:gd name="T6" fmla="*/ 37 w 37"/>
                <a:gd name="T7" fmla="*/ 1 h 18"/>
                <a:gd name="T8" fmla="*/ 36 w 37"/>
                <a:gd name="T9" fmla="*/ 0 h 18"/>
                <a:gd name="T10" fmla="*/ 35 w 37"/>
                <a:gd name="T11" fmla="*/ 1 h 18"/>
                <a:gd name="T12" fmla="*/ 35 w 37"/>
                <a:gd name="T13" fmla="*/ 1 h 18"/>
                <a:gd name="T14" fmla="*/ 20 w 37"/>
                <a:gd name="T15" fmla="*/ 15 h 18"/>
                <a:gd name="T16" fmla="*/ 14 w 37"/>
                <a:gd name="T17" fmla="*/ 16 h 18"/>
                <a:gd name="T18" fmla="*/ 5 w 37"/>
                <a:gd name="T19" fmla="*/ 13 h 18"/>
                <a:gd name="T20" fmla="*/ 3 w 37"/>
                <a:gd name="T21" fmla="*/ 11 h 18"/>
                <a:gd name="T22" fmla="*/ 2 w 37"/>
                <a:gd name="T23" fmla="*/ 10 h 18"/>
                <a:gd name="T24" fmla="*/ 2 w 37"/>
                <a:gd name="T25" fmla="*/ 10 h 18"/>
                <a:gd name="T26" fmla="*/ 0 w 37"/>
                <a:gd name="T27" fmla="*/ 10 h 18"/>
                <a:gd name="T28" fmla="*/ 0 w 37"/>
                <a:gd name="T2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18">
                  <a:moveTo>
                    <a:pt x="0" y="11"/>
                  </a:moveTo>
                  <a:cubicBezTo>
                    <a:pt x="0" y="11"/>
                    <a:pt x="6" y="18"/>
                    <a:pt x="14" y="18"/>
                  </a:cubicBezTo>
                  <a:cubicBezTo>
                    <a:pt x="16" y="18"/>
                    <a:pt x="19" y="18"/>
                    <a:pt x="21" y="17"/>
                  </a:cubicBezTo>
                  <a:cubicBezTo>
                    <a:pt x="33" y="13"/>
                    <a:pt x="37" y="1"/>
                    <a:pt x="37" y="1"/>
                  </a:cubicBezTo>
                  <a:cubicBezTo>
                    <a:pt x="37" y="1"/>
                    <a:pt x="36" y="0"/>
                    <a:pt x="36" y="0"/>
                  </a:cubicBezTo>
                  <a:cubicBezTo>
                    <a:pt x="35" y="0"/>
                    <a:pt x="35" y="0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3"/>
                    <a:pt x="30" y="12"/>
                    <a:pt x="20" y="15"/>
                  </a:cubicBezTo>
                  <a:cubicBezTo>
                    <a:pt x="18" y="16"/>
                    <a:pt x="16" y="16"/>
                    <a:pt x="14" y="16"/>
                  </a:cubicBezTo>
                  <a:cubicBezTo>
                    <a:pt x="11" y="16"/>
                    <a:pt x="7" y="15"/>
                    <a:pt x="5" y="13"/>
                  </a:cubicBezTo>
                  <a:cubicBezTo>
                    <a:pt x="4" y="12"/>
                    <a:pt x="3" y="12"/>
                    <a:pt x="3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89DDA20E-7BE0-4E86-8564-9CC582C04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4838" y="2146300"/>
              <a:ext cx="36513" cy="123825"/>
            </a:xfrm>
            <a:custGeom>
              <a:avLst/>
              <a:gdLst>
                <a:gd name="T0" fmla="*/ 6 w 23"/>
                <a:gd name="T1" fmla="*/ 0 h 78"/>
                <a:gd name="T2" fmla="*/ 23 w 23"/>
                <a:gd name="T3" fmla="*/ 56 h 78"/>
                <a:gd name="T4" fmla="*/ 0 w 23"/>
                <a:gd name="T5" fmla="*/ 78 h 78"/>
                <a:gd name="T6" fmla="*/ 6 w 2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78">
                  <a:moveTo>
                    <a:pt x="6" y="0"/>
                  </a:moveTo>
                  <a:lnTo>
                    <a:pt x="23" y="56"/>
                  </a:lnTo>
                  <a:lnTo>
                    <a:pt x="0" y="7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41BD67F4-A915-4CC6-8073-33E03D7E07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1663" y="2105025"/>
              <a:ext cx="57150" cy="168275"/>
            </a:xfrm>
            <a:custGeom>
              <a:avLst/>
              <a:gdLst>
                <a:gd name="T0" fmla="*/ 4 w 19"/>
                <a:gd name="T1" fmla="*/ 1 h 57"/>
                <a:gd name="T2" fmla="*/ 0 w 19"/>
                <a:gd name="T3" fmla="*/ 56 h 57"/>
                <a:gd name="T4" fmla="*/ 0 w 19"/>
                <a:gd name="T5" fmla="*/ 57 h 57"/>
                <a:gd name="T6" fmla="*/ 1 w 19"/>
                <a:gd name="T7" fmla="*/ 57 h 57"/>
                <a:gd name="T8" fmla="*/ 18 w 19"/>
                <a:gd name="T9" fmla="*/ 45 h 57"/>
                <a:gd name="T10" fmla="*/ 18 w 19"/>
                <a:gd name="T11" fmla="*/ 43 h 57"/>
                <a:gd name="T12" fmla="*/ 17 w 19"/>
                <a:gd name="T13" fmla="*/ 43 h 57"/>
                <a:gd name="T14" fmla="*/ 2 w 19"/>
                <a:gd name="T15" fmla="*/ 54 h 57"/>
                <a:gd name="T16" fmla="*/ 6 w 19"/>
                <a:gd name="T17" fmla="*/ 1 h 57"/>
                <a:gd name="T18" fmla="*/ 5 w 19"/>
                <a:gd name="T19" fmla="*/ 0 h 57"/>
                <a:gd name="T20" fmla="*/ 4 w 19"/>
                <a:gd name="T21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7">
                  <a:moveTo>
                    <a:pt x="4" y="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9" y="44"/>
                    <a:pt x="19" y="44"/>
                    <a:pt x="18" y="43"/>
                  </a:cubicBezTo>
                  <a:cubicBezTo>
                    <a:pt x="18" y="43"/>
                    <a:pt x="17" y="43"/>
                    <a:pt x="17" y="4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6BE36B5D-0138-4306-8404-20CED3E99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8988" y="2106613"/>
              <a:ext cx="115888" cy="131763"/>
            </a:xfrm>
            <a:custGeom>
              <a:avLst/>
              <a:gdLst>
                <a:gd name="T0" fmla="*/ 7 w 39"/>
                <a:gd name="T1" fmla="*/ 7 h 44"/>
                <a:gd name="T2" fmla="*/ 21 w 39"/>
                <a:gd name="T3" fmla="*/ 3 h 44"/>
                <a:gd name="T4" fmla="*/ 20 w 39"/>
                <a:gd name="T5" fmla="*/ 42 h 44"/>
                <a:gd name="T6" fmla="*/ 7 w 39"/>
                <a:gd name="T7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44">
                  <a:moveTo>
                    <a:pt x="7" y="7"/>
                  </a:moveTo>
                  <a:cubicBezTo>
                    <a:pt x="7" y="7"/>
                    <a:pt x="9" y="0"/>
                    <a:pt x="21" y="3"/>
                  </a:cubicBezTo>
                  <a:cubicBezTo>
                    <a:pt x="32" y="5"/>
                    <a:pt x="39" y="39"/>
                    <a:pt x="20" y="42"/>
                  </a:cubicBezTo>
                  <a:cubicBezTo>
                    <a:pt x="1" y="44"/>
                    <a:pt x="0" y="19"/>
                    <a:pt x="7" y="7"/>
                  </a:cubicBezTo>
                </a:path>
              </a:pathLst>
            </a:custGeom>
            <a:solidFill>
              <a:srgbClr val="FF8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A79BC2D5-C980-4B8E-8D2B-1AE31577D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9150" y="2136775"/>
              <a:ext cx="23813" cy="74613"/>
            </a:xfrm>
            <a:custGeom>
              <a:avLst/>
              <a:gdLst>
                <a:gd name="T0" fmla="*/ 6 w 8"/>
                <a:gd name="T1" fmla="*/ 1 h 25"/>
                <a:gd name="T2" fmla="*/ 0 w 8"/>
                <a:gd name="T3" fmla="*/ 24 h 25"/>
                <a:gd name="T4" fmla="*/ 0 w 8"/>
                <a:gd name="T5" fmla="*/ 25 h 25"/>
                <a:gd name="T6" fmla="*/ 1 w 8"/>
                <a:gd name="T7" fmla="*/ 25 h 25"/>
                <a:gd name="T8" fmla="*/ 8 w 8"/>
                <a:gd name="T9" fmla="*/ 20 h 25"/>
                <a:gd name="T10" fmla="*/ 8 w 8"/>
                <a:gd name="T11" fmla="*/ 18 h 25"/>
                <a:gd name="T12" fmla="*/ 7 w 8"/>
                <a:gd name="T13" fmla="*/ 18 h 25"/>
                <a:gd name="T14" fmla="*/ 3 w 8"/>
                <a:gd name="T15" fmla="*/ 21 h 25"/>
                <a:gd name="T16" fmla="*/ 8 w 8"/>
                <a:gd name="T17" fmla="*/ 2 h 25"/>
                <a:gd name="T18" fmla="*/ 8 w 8"/>
                <a:gd name="T19" fmla="*/ 0 h 25"/>
                <a:gd name="T20" fmla="*/ 6 w 8"/>
                <a:gd name="T21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25">
                  <a:moveTo>
                    <a:pt x="6" y="1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7" y="0"/>
                    <a:pt x="7" y="1"/>
                    <a:pt x="6" y="1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BF7EFF8D-67BB-424E-98C0-44258B5347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5938" y="2109788"/>
              <a:ext cx="79375" cy="95250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1 w 27"/>
                <a:gd name="T5" fmla="*/ 26 h 32"/>
                <a:gd name="T6" fmla="*/ 13 w 27"/>
                <a:gd name="T7" fmla="*/ 30 h 32"/>
                <a:gd name="T8" fmla="*/ 5 w 27"/>
                <a:gd name="T9" fmla="*/ 26 h 32"/>
                <a:gd name="T10" fmla="*/ 2 w 27"/>
                <a:gd name="T11" fmla="*/ 16 h 32"/>
                <a:gd name="T12" fmla="*/ 5 w 27"/>
                <a:gd name="T13" fmla="*/ 6 h 32"/>
                <a:gd name="T14" fmla="*/ 13 w 27"/>
                <a:gd name="T15" fmla="*/ 2 h 32"/>
                <a:gd name="T16" fmla="*/ 21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3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3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3" y="24"/>
                    <a:pt x="21" y="26"/>
                  </a:cubicBezTo>
                  <a:cubicBezTo>
                    <a:pt x="19" y="29"/>
                    <a:pt x="16" y="30"/>
                    <a:pt x="13" y="30"/>
                  </a:cubicBezTo>
                  <a:cubicBezTo>
                    <a:pt x="10" y="30"/>
                    <a:pt x="8" y="29"/>
                    <a:pt x="5" y="26"/>
                  </a:cubicBezTo>
                  <a:cubicBezTo>
                    <a:pt x="3" y="24"/>
                    <a:pt x="2" y="20"/>
                    <a:pt x="2" y="16"/>
                  </a:cubicBezTo>
                  <a:cubicBezTo>
                    <a:pt x="2" y="12"/>
                    <a:pt x="3" y="9"/>
                    <a:pt x="5" y="6"/>
                  </a:cubicBezTo>
                  <a:cubicBezTo>
                    <a:pt x="8" y="4"/>
                    <a:pt x="10" y="2"/>
                    <a:pt x="13" y="2"/>
                  </a:cubicBezTo>
                  <a:cubicBezTo>
                    <a:pt x="16" y="2"/>
                    <a:pt x="19" y="4"/>
                    <a:pt x="21" y="6"/>
                  </a:cubicBezTo>
                  <a:cubicBezTo>
                    <a:pt x="23" y="9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2"/>
                    <a:pt x="25" y="8"/>
                    <a:pt x="23" y="5"/>
                  </a:cubicBezTo>
                  <a:cubicBezTo>
                    <a:pt x="20" y="2"/>
                    <a:pt x="17" y="0"/>
                    <a:pt x="13" y="0"/>
                  </a:cubicBezTo>
                  <a:cubicBezTo>
                    <a:pt x="10" y="0"/>
                    <a:pt x="6" y="2"/>
                    <a:pt x="4" y="5"/>
                  </a:cubicBezTo>
                  <a:cubicBezTo>
                    <a:pt x="2" y="8"/>
                    <a:pt x="0" y="12"/>
                    <a:pt x="0" y="16"/>
                  </a:cubicBezTo>
                  <a:cubicBezTo>
                    <a:pt x="0" y="21"/>
                    <a:pt x="2" y="25"/>
                    <a:pt x="4" y="27"/>
                  </a:cubicBezTo>
                  <a:cubicBezTo>
                    <a:pt x="6" y="30"/>
                    <a:pt x="10" y="32"/>
                    <a:pt x="13" y="32"/>
                  </a:cubicBezTo>
                  <a:cubicBezTo>
                    <a:pt x="17" y="32"/>
                    <a:pt x="20" y="30"/>
                    <a:pt x="23" y="27"/>
                  </a:cubicBezTo>
                  <a:cubicBezTo>
                    <a:pt x="25" y="25"/>
                    <a:pt x="27" y="21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F1DCFA4B-CEB1-4F43-92A8-1550C8359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18175" y="2098675"/>
              <a:ext cx="79375" cy="95250"/>
            </a:xfrm>
            <a:custGeom>
              <a:avLst/>
              <a:gdLst>
                <a:gd name="T0" fmla="*/ 26 w 27"/>
                <a:gd name="T1" fmla="*/ 16 h 32"/>
                <a:gd name="T2" fmla="*/ 25 w 27"/>
                <a:gd name="T3" fmla="*/ 16 h 32"/>
                <a:gd name="T4" fmla="*/ 22 w 27"/>
                <a:gd name="T5" fmla="*/ 26 h 32"/>
                <a:gd name="T6" fmla="*/ 14 w 27"/>
                <a:gd name="T7" fmla="*/ 30 h 32"/>
                <a:gd name="T8" fmla="*/ 6 w 27"/>
                <a:gd name="T9" fmla="*/ 26 h 32"/>
                <a:gd name="T10" fmla="*/ 2 w 27"/>
                <a:gd name="T11" fmla="*/ 16 h 32"/>
                <a:gd name="T12" fmla="*/ 6 w 27"/>
                <a:gd name="T13" fmla="*/ 6 h 32"/>
                <a:gd name="T14" fmla="*/ 14 w 27"/>
                <a:gd name="T15" fmla="*/ 2 h 32"/>
                <a:gd name="T16" fmla="*/ 22 w 27"/>
                <a:gd name="T17" fmla="*/ 6 h 32"/>
                <a:gd name="T18" fmla="*/ 25 w 27"/>
                <a:gd name="T19" fmla="*/ 16 h 32"/>
                <a:gd name="T20" fmla="*/ 26 w 27"/>
                <a:gd name="T21" fmla="*/ 16 h 32"/>
                <a:gd name="T22" fmla="*/ 27 w 27"/>
                <a:gd name="T23" fmla="*/ 16 h 32"/>
                <a:gd name="T24" fmla="*/ 23 w 27"/>
                <a:gd name="T25" fmla="*/ 5 h 32"/>
                <a:gd name="T26" fmla="*/ 14 w 27"/>
                <a:gd name="T27" fmla="*/ 0 h 32"/>
                <a:gd name="T28" fmla="*/ 4 w 27"/>
                <a:gd name="T29" fmla="*/ 5 h 32"/>
                <a:gd name="T30" fmla="*/ 0 w 27"/>
                <a:gd name="T31" fmla="*/ 16 h 32"/>
                <a:gd name="T32" fmla="*/ 4 w 27"/>
                <a:gd name="T33" fmla="*/ 27 h 32"/>
                <a:gd name="T34" fmla="*/ 14 w 27"/>
                <a:gd name="T35" fmla="*/ 32 h 32"/>
                <a:gd name="T36" fmla="*/ 23 w 27"/>
                <a:gd name="T37" fmla="*/ 27 h 32"/>
                <a:gd name="T38" fmla="*/ 27 w 27"/>
                <a:gd name="T39" fmla="*/ 16 h 32"/>
                <a:gd name="T40" fmla="*/ 26 w 27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32">
                  <a:moveTo>
                    <a:pt x="26" y="16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20"/>
                    <a:pt x="24" y="23"/>
                    <a:pt x="22" y="26"/>
                  </a:cubicBezTo>
                  <a:cubicBezTo>
                    <a:pt x="20" y="28"/>
                    <a:pt x="17" y="30"/>
                    <a:pt x="14" y="30"/>
                  </a:cubicBezTo>
                  <a:cubicBezTo>
                    <a:pt x="11" y="30"/>
                    <a:pt x="8" y="28"/>
                    <a:pt x="6" y="26"/>
                  </a:cubicBezTo>
                  <a:cubicBezTo>
                    <a:pt x="4" y="23"/>
                    <a:pt x="2" y="20"/>
                    <a:pt x="2" y="16"/>
                  </a:cubicBezTo>
                  <a:cubicBezTo>
                    <a:pt x="2" y="12"/>
                    <a:pt x="4" y="8"/>
                    <a:pt x="6" y="6"/>
                  </a:cubicBezTo>
                  <a:cubicBezTo>
                    <a:pt x="8" y="3"/>
                    <a:pt x="11" y="2"/>
                    <a:pt x="14" y="2"/>
                  </a:cubicBezTo>
                  <a:cubicBezTo>
                    <a:pt x="17" y="2"/>
                    <a:pt x="20" y="3"/>
                    <a:pt x="22" y="6"/>
                  </a:cubicBezTo>
                  <a:cubicBezTo>
                    <a:pt x="24" y="8"/>
                    <a:pt x="25" y="12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1"/>
                    <a:pt x="26" y="7"/>
                    <a:pt x="23" y="5"/>
                  </a:cubicBezTo>
                  <a:cubicBezTo>
                    <a:pt x="21" y="2"/>
                    <a:pt x="17" y="0"/>
                    <a:pt x="14" y="0"/>
                  </a:cubicBezTo>
                  <a:cubicBezTo>
                    <a:pt x="10" y="0"/>
                    <a:pt x="7" y="2"/>
                    <a:pt x="4" y="5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0"/>
                    <a:pt x="2" y="24"/>
                    <a:pt x="4" y="27"/>
                  </a:cubicBezTo>
                  <a:cubicBezTo>
                    <a:pt x="7" y="30"/>
                    <a:pt x="10" y="32"/>
                    <a:pt x="14" y="32"/>
                  </a:cubicBezTo>
                  <a:cubicBezTo>
                    <a:pt x="17" y="32"/>
                    <a:pt x="21" y="30"/>
                    <a:pt x="23" y="27"/>
                  </a:cubicBezTo>
                  <a:cubicBezTo>
                    <a:pt x="26" y="24"/>
                    <a:pt x="27" y="20"/>
                    <a:pt x="27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C601646E-E3CE-44F6-8124-81C895A0A5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0550" y="2149475"/>
              <a:ext cx="55563" cy="17463"/>
            </a:xfrm>
            <a:custGeom>
              <a:avLst/>
              <a:gdLst>
                <a:gd name="T0" fmla="*/ 1 w 19"/>
                <a:gd name="T1" fmla="*/ 6 h 6"/>
                <a:gd name="T2" fmla="*/ 18 w 19"/>
                <a:gd name="T3" fmla="*/ 2 h 6"/>
                <a:gd name="T4" fmla="*/ 18 w 19"/>
                <a:gd name="T5" fmla="*/ 1 h 6"/>
                <a:gd name="T6" fmla="*/ 17 w 19"/>
                <a:gd name="T7" fmla="*/ 0 h 6"/>
                <a:gd name="T8" fmla="*/ 0 w 19"/>
                <a:gd name="T9" fmla="*/ 4 h 6"/>
                <a:gd name="T10" fmla="*/ 0 w 19"/>
                <a:gd name="T11" fmla="*/ 5 h 6"/>
                <a:gd name="T12" fmla="*/ 1 w 19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">
                  <a:moveTo>
                    <a:pt x="1" y="6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9" y="2"/>
                    <a:pt x="18" y="1"/>
                  </a:cubicBezTo>
                  <a:cubicBezTo>
                    <a:pt x="18" y="1"/>
                    <a:pt x="18" y="0"/>
                    <a:pt x="17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1" y="6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98202471-12B6-41A4-8DEA-6E207DF8CC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91200" y="2109788"/>
              <a:ext cx="119063" cy="39688"/>
            </a:xfrm>
            <a:custGeom>
              <a:avLst/>
              <a:gdLst>
                <a:gd name="T0" fmla="*/ 1 w 40"/>
                <a:gd name="T1" fmla="*/ 13 h 13"/>
                <a:gd name="T2" fmla="*/ 39 w 40"/>
                <a:gd name="T3" fmla="*/ 2 h 13"/>
                <a:gd name="T4" fmla="*/ 40 w 40"/>
                <a:gd name="T5" fmla="*/ 1 h 13"/>
                <a:gd name="T6" fmla="*/ 39 w 40"/>
                <a:gd name="T7" fmla="*/ 0 h 13"/>
                <a:gd name="T8" fmla="*/ 1 w 40"/>
                <a:gd name="T9" fmla="*/ 11 h 13"/>
                <a:gd name="T10" fmla="*/ 0 w 40"/>
                <a:gd name="T11" fmla="*/ 12 h 13"/>
                <a:gd name="T12" fmla="*/ 1 w 4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3">
                  <a:moveTo>
                    <a:pt x="1" y="13"/>
                  </a:move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0" y="1"/>
                  </a:cubicBezTo>
                  <a:cubicBezTo>
                    <a:pt x="40" y="1"/>
                    <a:pt x="39" y="0"/>
                    <a:pt x="39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3"/>
                    <a:pt x="1" y="13"/>
                    <a:pt x="1" y="13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1CE70319-15A1-4F4B-8054-512A97AE1D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4675" y="1884363"/>
              <a:ext cx="265113" cy="169863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9E399F0B-E252-410D-BF29-FE5EFF3961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4675" y="1884363"/>
              <a:ext cx="265113" cy="169863"/>
            </a:xfrm>
            <a:custGeom>
              <a:avLst/>
              <a:gdLst>
                <a:gd name="T0" fmla="*/ 0 w 167"/>
                <a:gd name="T1" fmla="*/ 107 h 107"/>
                <a:gd name="T2" fmla="*/ 161 w 167"/>
                <a:gd name="T3" fmla="*/ 81 h 107"/>
                <a:gd name="T4" fmla="*/ 167 w 167"/>
                <a:gd name="T5" fmla="*/ 0 h 107"/>
                <a:gd name="T6" fmla="*/ 15 w 167"/>
                <a:gd name="T7" fmla="*/ 10 h 107"/>
                <a:gd name="T8" fmla="*/ 0 w 167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07">
                  <a:moveTo>
                    <a:pt x="0" y="107"/>
                  </a:moveTo>
                  <a:lnTo>
                    <a:pt x="161" y="81"/>
                  </a:lnTo>
                  <a:lnTo>
                    <a:pt x="167" y="0"/>
                  </a:lnTo>
                  <a:lnTo>
                    <a:pt x="15" y="10"/>
                  </a:lnTo>
                  <a:lnTo>
                    <a:pt x="0" y="1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4505421E-041B-4E54-BF20-D81BDB7E55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08613" y="1857375"/>
              <a:ext cx="766763" cy="6667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4" name="Freeform 180">
              <a:extLst>
                <a:ext uri="{FF2B5EF4-FFF2-40B4-BE49-F238E27FC236}">
                  <a16:creationId xmlns:a16="http://schemas.microsoft.com/office/drawing/2014/main" id="{D1B91330-7D19-4E85-A420-2C72A0F4A2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08613" y="1857375"/>
              <a:ext cx="766763" cy="66675"/>
            </a:xfrm>
            <a:custGeom>
              <a:avLst/>
              <a:gdLst>
                <a:gd name="T0" fmla="*/ 0 w 483"/>
                <a:gd name="T1" fmla="*/ 42 h 42"/>
                <a:gd name="T2" fmla="*/ 322 w 483"/>
                <a:gd name="T3" fmla="*/ 17 h 42"/>
                <a:gd name="T4" fmla="*/ 483 w 483"/>
                <a:gd name="T5" fmla="*/ 8 h 42"/>
                <a:gd name="T6" fmla="*/ 478 w 483"/>
                <a:gd name="T7" fmla="*/ 0 h 42"/>
                <a:gd name="T8" fmla="*/ 43 w 483"/>
                <a:gd name="T9" fmla="*/ 34 h 42"/>
                <a:gd name="T10" fmla="*/ 5 w 483"/>
                <a:gd name="T11" fmla="*/ 36 h 42"/>
                <a:gd name="T12" fmla="*/ 0 w 48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42">
                  <a:moveTo>
                    <a:pt x="0" y="42"/>
                  </a:moveTo>
                  <a:lnTo>
                    <a:pt x="322" y="17"/>
                  </a:lnTo>
                  <a:lnTo>
                    <a:pt x="483" y="8"/>
                  </a:lnTo>
                  <a:lnTo>
                    <a:pt x="478" y="0"/>
                  </a:lnTo>
                  <a:lnTo>
                    <a:pt x="43" y="34"/>
                  </a:lnTo>
                  <a:lnTo>
                    <a:pt x="5" y="36"/>
                  </a:lnTo>
                  <a:lnTo>
                    <a:pt x="0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8B0B7600-2090-43D2-A23F-53CFA3F5E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2300" y="2012950"/>
              <a:ext cx="207963" cy="177800"/>
            </a:xfrm>
            <a:custGeom>
              <a:avLst/>
              <a:gdLst>
                <a:gd name="T0" fmla="*/ 0 w 70"/>
                <a:gd name="T1" fmla="*/ 12 h 60"/>
                <a:gd name="T2" fmla="*/ 47 w 70"/>
                <a:gd name="T3" fmla="*/ 32 h 60"/>
                <a:gd name="T4" fmla="*/ 56 w 70"/>
                <a:gd name="T5" fmla="*/ 45 h 60"/>
                <a:gd name="T6" fmla="*/ 59 w 70"/>
                <a:gd name="T7" fmla="*/ 59 h 60"/>
                <a:gd name="T8" fmla="*/ 63 w 70"/>
                <a:gd name="T9" fmla="*/ 39 h 60"/>
                <a:gd name="T10" fmla="*/ 65 w 70"/>
                <a:gd name="T11" fmla="*/ 37 h 60"/>
                <a:gd name="T12" fmla="*/ 70 w 70"/>
                <a:gd name="T13" fmla="*/ 0 h 60"/>
                <a:gd name="T14" fmla="*/ 0 w 70"/>
                <a:gd name="T15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0">
                  <a:moveTo>
                    <a:pt x="0" y="12"/>
                  </a:moveTo>
                  <a:cubicBezTo>
                    <a:pt x="0" y="12"/>
                    <a:pt x="17" y="29"/>
                    <a:pt x="47" y="32"/>
                  </a:cubicBezTo>
                  <a:cubicBezTo>
                    <a:pt x="47" y="32"/>
                    <a:pt x="56" y="29"/>
                    <a:pt x="56" y="45"/>
                  </a:cubicBezTo>
                  <a:cubicBezTo>
                    <a:pt x="56" y="60"/>
                    <a:pt x="59" y="59"/>
                    <a:pt x="59" y="59"/>
                  </a:cubicBezTo>
                  <a:cubicBezTo>
                    <a:pt x="59" y="59"/>
                    <a:pt x="59" y="43"/>
                    <a:pt x="63" y="39"/>
                  </a:cubicBezTo>
                  <a:cubicBezTo>
                    <a:pt x="67" y="35"/>
                    <a:pt x="65" y="37"/>
                    <a:pt x="65" y="37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98E5C6EA-CA26-4D95-B5E1-80C555D33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2012950"/>
              <a:ext cx="65088" cy="127000"/>
            </a:xfrm>
            <a:custGeom>
              <a:avLst/>
              <a:gdLst>
                <a:gd name="T0" fmla="*/ 9 w 22"/>
                <a:gd name="T1" fmla="*/ 0 h 43"/>
                <a:gd name="T2" fmla="*/ 16 w 22"/>
                <a:gd name="T3" fmla="*/ 35 h 43"/>
                <a:gd name="T4" fmla="*/ 0 w 22"/>
                <a:gd name="T5" fmla="*/ 43 h 43"/>
                <a:gd name="T6" fmla="*/ 9 w 22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3">
                  <a:moveTo>
                    <a:pt x="9" y="0"/>
                  </a:moveTo>
                  <a:cubicBezTo>
                    <a:pt x="9" y="0"/>
                    <a:pt x="22" y="21"/>
                    <a:pt x="16" y="35"/>
                  </a:cubicBezTo>
                  <a:cubicBezTo>
                    <a:pt x="16" y="35"/>
                    <a:pt x="3" y="33"/>
                    <a:pt x="0" y="4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453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7" name="Freeform 183">
              <a:extLst>
                <a:ext uri="{FF2B5EF4-FFF2-40B4-BE49-F238E27FC236}">
                  <a16:creationId xmlns:a16="http://schemas.microsoft.com/office/drawing/2014/main" id="{FCAF28EE-BF07-4D2A-AF63-0E563CE946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2825" y="1870075"/>
              <a:ext cx="147638" cy="334963"/>
            </a:xfrm>
            <a:custGeom>
              <a:avLst/>
              <a:gdLst>
                <a:gd name="T0" fmla="*/ 16 w 50"/>
                <a:gd name="T1" fmla="*/ 0 h 113"/>
                <a:gd name="T2" fmla="*/ 20 w 50"/>
                <a:gd name="T3" fmla="*/ 75 h 113"/>
                <a:gd name="T4" fmla="*/ 6 w 50"/>
                <a:gd name="T5" fmla="*/ 97 h 113"/>
                <a:gd name="T6" fmla="*/ 39 w 50"/>
                <a:gd name="T7" fmla="*/ 93 h 113"/>
                <a:gd name="T8" fmla="*/ 16 w 50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13">
                  <a:moveTo>
                    <a:pt x="16" y="0"/>
                  </a:moveTo>
                  <a:cubicBezTo>
                    <a:pt x="16" y="0"/>
                    <a:pt x="39" y="36"/>
                    <a:pt x="20" y="75"/>
                  </a:cubicBezTo>
                  <a:cubicBezTo>
                    <a:pt x="0" y="113"/>
                    <a:pt x="6" y="97"/>
                    <a:pt x="6" y="97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50" y="28"/>
                    <a:pt x="16" y="0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33426E5A-EF20-4705-B624-9E2DF688E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9113" y="2662238"/>
              <a:ext cx="855663" cy="979488"/>
            </a:xfrm>
            <a:custGeom>
              <a:avLst/>
              <a:gdLst>
                <a:gd name="T0" fmla="*/ 178 w 288"/>
                <a:gd name="T1" fmla="*/ 0 h 330"/>
                <a:gd name="T2" fmla="*/ 260 w 288"/>
                <a:gd name="T3" fmla="*/ 78 h 330"/>
                <a:gd name="T4" fmla="*/ 288 w 288"/>
                <a:gd name="T5" fmla="*/ 254 h 330"/>
                <a:gd name="T6" fmla="*/ 25 w 288"/>
                <a:gd name="T7" fmla="*/ 330 h 330"/>
                <a:gd name="T8" fmla="*/ 0 w 288"/>
                <a:gd name="T9" fmla="*/ 152 h 330"/>
                <a:gd name="T10" fmla="*/ 162 w 288"/>
                <a:gd name="T11" fmla="*/ 148 h 330"/>
                <a:gd name="T12" fmla="*/ 178 w 288"/>
                <a:gd name="T1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330">
                  <a:moveTo>
                    <a:pt x="178" y="0"/>
                  </a:moveTo>
                  <a:cubicBezTo>
                    <a:pt x="178" y="0"/>
                    <a:pt x="242" y="23"/>
                    <a:pt x="260" y="78"/>
                  </a:cubicBezTo>
                  <a:cubicBezTo>
                    <a:pt x="282" y="145"/>
                    <a:pt x="288" y="254"/>
                    <a:pt x="288" y="254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78" y="0"/>
                    <a:pt x="178" y="0"/>
                    <a:pt x="178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AE010155-DA80-40FB-951A-2CCF700647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4575" y="5726113"/>
              <a:ext cx="387350" cy="320675"/>
            </a:xfrm>
            <a:custGeom>
              <a:avLst/>
              <a:gdLst>
                <a:gd name="T0" fmla="*/ 29 w 130"/>
                <a:gd name="T1" fmla="*/ 0 h 108"/>
                <a:gd name="T2" fmla="*/ 128 w 130"/>
                <a:gd name="T3" fmla="*/ 71 h 108"/>
                <a:gd name="T4" fmla="*/ 114 w 130"/>
                <a:gd name="T5" fmla="*/ 108 h 108"/>
                <a:gd name="T6" fmla="*/ 35 w 130"/>
                <a:gd name="T7" fmla="*/ 61 h 108"/>
                <a:gd name="T8" fmla="*/ 3 w 130"/>
                <a:gd name="T9" fmla="*/ 24 h 108"/>
                <a:gd name="T10" fmla="*/ 0 w 130"/>
                <a:gd name="T11" fmla="*/ 5 h 108"/>
                <a:gd name="T12" fmla="*/ 29 w 130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08">
                  <a:moveTo>
                    <a:pt x="29" y="0"/>
                  </a:moveTo>
                  <a:cubicBezTo>
                    <a:pt x="29" y="0"/>
                    <a:pt x="125" y="40"/>
                    <a:pt x="128" y="71"/>
                  </a:cubicBezTo>
                  <a:cubicBezTo>
                    <a:pt x="130" y="101"/>
                    <a:pt x="114" y="108"/>
                    <a:pt x="114" y="108"/>
                  </a:cubicBezTo>
                  <a:cubicBezTo>
                    <a:pt x="114" y="108"/>
                    <a:pt x="60" y="84"/>
                    <a:pt x="35" y="61"/>
                  </a:cubicBezTo>
                  <a:cubicBezTo>
                    <a:pt x="11" y="38"/>
                    <a:pt x="3" y="24"/>
                    <a:pt x="3" y="24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7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72B199D9-A8F9-4259-873D-A530CCD13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8375" y="5289550"/>
              <a:ext cx="171450" cy="484188"/>
            </a:xfrm>
            <a:custGeom>
              <a:avLst/>
              <a:gdLst>
                <a:gd name="T0" fmla="*/ 0 w 58"/>
                <a:gd name="T1" fmla="*/ 17 h 163"/>
                <a:gd name="T2" fmla="*/ 26 w 58"/>
                <a:gd name="T3" fmla="*/ 152 h 163"/>
                <a:gd name="T4" fmla="*/ 55 w 58"/>
                <a:gd name="T5" fmla="*/ 152 h 163"/>
                <a:gd name="T6" fmla="*/ 58 w 58"/>
                <a:gd name="T7" fmla="*/ 0 h 163"/>
                <a:gd name="T8" fmla="*/ 0 w 58"/>
                <a:gd name="T9" fmla="*/ 1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63">
                  <a:moveTo>
                    <a:pt x="0" y="17"/>
                  </a:moveTo>
                  <a:cubicBezTo>
                    <a:pt x="26" y="152"/>
                    <a:pt x="26" y="152"/>
                    <a:pt x="26" y="152"/>
                  </a:cubicBezTo>
                  <a:cubicBezTo>
                    <a:pt x="26" y="152"/>
                    <a:pt x="36" y="163"/>
                    <a:pt x="55" y="15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0" y="17"/>
                    <a:pt x="0" y="17"/>
                    <a:pt x="0" y="17"/>
                  </a:cubicBezTo>
                </a:path>
              </a:pathLst>
            </a:custGeom>
            <a:solidFill>
              <a:srgbClr val="54B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F8CD3EE1-0133-4677-AC97-9AFC76077E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34100" y="5803900"/>
              <a:ext cx="330200" cy="252413"/>
            </a:xfrm>
            <a:custGeom>
              <a:avLst/>
              <a:gdLst>
                <a:gd name="T0" fmla="*/ 0 w 111"/>
                <a:gd name="T1" fmla="*/ 0 h 85"/>
                <a:gd name="T2" fmla="*/ 2 w 111"/>
                <a:gd name="T3" fmla="*/ 12 h 85"/>
                <a:gd name="T4" fmla="*/ 95 w 111"/>
                <a:gd name="T5" fmla="*/ 85 h 85"/>
                <a:gd name="T6" fmla="*/ 111 w 111"/>
                <a:gd name="T7" fmla="*/ 82 h 85"/>
                <a:gd name="T8" fmla="*/ 37 w 111"/>
                <a:gd name="T9" fmla="*/ 36 h 85"/>
                <a:gd name="T10" fmla="*/ 0 w 111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5">
                  <a:moveTo>
                    <a:pt x="0" y="0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44" y="72"/>
                    <a:pt x="95" y="85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67" y="63"/>
                    <a:pt x="37" y="36"/>
                  </a:cubicBezTo>
                  <a:cubicBezTo>
                    <a:pt x="8" y="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2" name="Freeform 188">
              <a:extLst>
                <a:ext uri="{FF2B5EF4-FFF2-40B4-BE49-F238E27FC236}">
                  <a16:creationId xmlns:a16="http://schemas.microsoft.com/office/drawing/2014/main" id="{A04D2083-E8D6-47F3-B45D-506982ADD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0363" y="5842000"/>
              <a:ext cx="387350" cy="238125"/>
            </a:xfrm>
            <a:custGeom>
              <a:avLst/>
              <a:gdLst>
                <a:gd name="T0" fmla="*/ 130 w 130"/>
                <a:gd name="T1" fmla="*/ 0 h 80"/>
                <a:gd name="T2" fmla="*/ 130 w 130"/>
                <a:gd name="T3" fmla="*/ 17 h 80"/>
                <a:gd name="T4" fmla="*/ 8 w 130"/>
                <a:gd name="T5" fmla="*/ 80 h 80"/>
                <a:gd name="T6" fmla="*/ 0 w 130"/>
                <a:gd name="T7" fmla="*/ 75 h 80"/>
                <a:gd name="T8" fmla="*/ 79 w 130"/>
                <a:gd name="T9" fmla="*/ 33 h 80"/>
                <a:gd name="T10" fmla="*/ 130 w 130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0">
                  <a:moveTo>
                    <a:pt x="130" y="0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130" y="17"/>
                    <a:pt x="55" y="74"/>
                    <a:pt x="8" y="8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34" y="61"/>
                    <a:pt x="79" y="33"/>
                  </a:cubicBezTo>
                  <a:cubicBezTo>
                    <a:pt x="123" y="6"/>
                    <a:pt x="130" y="0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3" name="Freeform 189">
              <a:extLst>
                <a:ext uri="{FF2B5EF4-FFF2-40B4-BE49-F238E27FC236}">
                  <a16:creationId xmlns:a16="http://schemas.microsoft.com/office/drawing/2014/main" id="{BAF50D0D-8EA2-49E6-9F28-B493C8AA0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7213" y="5780088"/>
              <a:ext cx="101600" cy="47625"/>
            </a:xfrm>
            <a:custGeom>
              <a:avLst/>
              <a:gdLst>
                <a:gd name="T0" fmla="*/ 2 w 34"/>
                <a:gd name="T1" fmla="*/ 5 h 16"/>
                <a:gd name="T2" fmla="*/ 2 w 34"/>
                <a:gd name="T3" fmla="*/ 5 h 16"/>
                <a:gd name="T4" fmla="*/ 8 w 34"/>
                <a:gd name="T5" fmla="*/ 4 h 16"/>
                <a:gd name="T6" fmla="*/ 19 w 34"/>
                <a:gd name="T7" fmla="*/ 6 h 16"/>
                <a:gd name="T8" fmla="*/ 30 w 34"/>
                <a:gd name="T9" fmla="*/ 15 h 16"/>
                <a:gd name="T10" fmla="*/ 33 w 34"/>
                <a:gd name="T11" fmla="*/ 15 h 16"/>
                <a:gd name="T12" fmla="*/ 34 w 34"/>
                <a:gd name="T13" fmla="*/ 12 h 16"/>
                <a:gd name="T14" fmla="*/ 20 w 34"/>
                <a:gd name="T15" fmla="*/ 2 h 16"/>
                <a:gd name="T16" fmla="*/ 8 w 34"/>
                <a:gd name="T17" fmla="*/ 0 h 16"/>
                <a:gd name="T18" fmla="*/ 1 w 34"/>
                <a:gd name="T19" fmla="*/ 1 h 16"/>
                <a:gd name="T20" fmla="*/ 0 w 34"/>
                <a:gd name="T21" fmla="*/ 3 h 16"/>
                <a:gd name="T22" fmla="*/ 2 w 34"/>
                <a:gd name="T23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16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5" y="4"/>
                    <a:pt x="8" y="4"/>
                  </a:cubicBezTo>
                  <a:cubicBezTo>
                    <a:pt x="11" y="4"/>
                    <a:pt x="15" y="5"/>
                    <a:pt x="19" y="6"/>
                  </a:cubicBezTo>
                  <a:cubicBezTo>
                    <a:pt x="23" y="8"/>
                    <a:pt x="27" y="10"/>
                    <a:pt x="30" y="15"/>
                  </a:cubicBezTo>
                  <a:cubicBezTo>
                    <a:pt x="31" y="16"/>
                    <a:pt x="32" y="16"/>
                    <a:pt x="33" y="15"/>
                  </a:cubicBezTo>
                  <a:cubicBezTo>
                    <a:pt x="34" y="14"/>
                    <a:pt x="34" y="13"/>
                    <a:pt x="34" y="12"/>
                  </a:cubicBezTo>
                  <a:cubicBezTo>
                    <a:pt x="30" y="7"/>
                    <a:pt x="25" y="4"/>
                    <a:pt x="20" y="2"/>
                  </a:cubicBezTo>
                  <a:cubicBezTo>
                    <a:pt x="16" y="1"/>
                    <a:pt x="11" y="0"/>
                    <a:pt x="8" y="0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11AF044E-E3AE-4DD7-BB61-0E092C57D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9113" y="5810250"/>
              <a:ext cx="88900" cy="52388"/>
            </a:xfrm>
            <a:custGeom>
              <a:avLst/>
              <a:gdLst>
                <a:gd name="T0" fmla="*/ 1 w 30"/>
                <a:gd name="T1" fmla="*/ 4 h 18"/>
                <a:gd name="T2" fmla="*/ 2 w 30"/>
                <a:gd name="T3" fmla="*/ 4 h 18"/>
                <a:gd name="T4" fmla="*/ 14 w 30"/>
                <a:gd name="T5" fmla="*/ 8 h 18"/>
                <a:gd name="T6" fmla="*/ 26 w 30"/>
                <a:gd name="T7" fmla="*/ 17 h 18"/>
                <a:gd name="T8" fmla="*/ 29 w 30"/>
                <a:gd name="T9" fmla="*/ 18 h 18"/>
                <a:gd name="T10" fmla="*/ 29 w 30"/>
                <a:gd name="T11" fmla="*/ 15 h 18"/>
                <a:gd name="T12" fmla="*/ 22 w 30"/>
                <a:gd name="T13" fmla="*/ 8 h 18"/>
                <a:gd name="T14" fmla="*/ 2 w 30"/>
                <a:gd name="T15" fmla="*/ 0 h 18"/>
                <a:gd name="T16" fmla="*/ 0 w 30"/>
                <a:gd name="T17" fmla="*/ 2 h 18"/>
                <a:gd name="T18" fmla="*/ 1 w 30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1" y="4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4" y="5"/>
                    <a:pt x="9" y="6"/>
                    <a:pt x="14" y="8"/>
                  </a:cubicBezTo>
                  <a:cubicBezTo>
                    <a:pt x="19" y="10"/>
                    <a:pt x="24" y="13"/>
                    <a:pt x="26" y="17"/>
                  </a:cubicBezTo>
                  <a:cubicBezTo>
                    <a:pt x="26" y="18"/>
                    <a:pt x="28" y="18"/>
                    <a:pt x="29" y="18"/>
                  </a:cubicBezTo>
                  <a:cubicBezTo>
                    <a:pt x="30" y="17"/>
                    <a:pt x="30" y="16"/>
                    <a:pt x="29" y="15"/>
                  </a:cubicBezTo>
                  <a:cubicBezTo>
                    <a:pt x="28" y="12"/>
                    <a:pt x="25" y="10"/>
                    <a:pt x="22" y="8"/>
                  </a:cubicBezTo>
                  <a:cubicBezTo>
                    <a:pt x="14" y="2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F847A0CF-B2EE-4410-A435-80F1446596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8313" y="5838825"/>
              <a:ext cx="77788" cy="53975"/>
            </a:xfrm>
            <a:custGeom>
              <a:avLst/>
              <a:gdLst>
                <a:gd name="T0" fmla="*/ 2 w 26"/>
                <a:gd name="T1" fmla="*/ 4 h 18"/>
                <a:gd name="T2" fmla="*/ 2 w 26"/>
                <a:gd name="T3" fmla="*/ 4 h 18"/>
                <a:gd name="T4" fmla="*/ 11 w 26"/>
                <a:gd name="T5" fmla="*/ 7 h 18"/>
                <a:gd name="T6" fmla="*/ 22 w 26"/>
                <a:gd name="T7" fmla="*/ 17 h 18"/>
                <a:gd name="T8" fmla="*/ 25 w 26"/>
                <a:gd name="T9" fmla="*/ 18 h 18"/>
                <a:gd name="T10" fmla="*/ 26 w 26"/>
                <a:gd name="T11" fmla="*/ 15 h 18"/>
                <a:gd name="T12" fmla="*/ 20 w 26"/>
                <a:gd name="T13" fmla="*/ 7 h 18"/>
                <a:gd name="T14" fmla="*/ 2 w 26"/>
                <a:gd name="T15" fmla="*/ 0 h 18"/>
                <a:gd name="T16" fmla="*/ 0 w 26"/>
                <a:gd name="T17" fmla="*/ 2 h 18"/>
                <a:gd name="T18" fmla="*/ 2 w 26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8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7" y="5"/>
                    <a:pt x="11" y="7"/>
                  </a:cubicBezTo>
                  <a:cubicBezTo>
                    <a:pt x="16" y="9"/>
                    <a:pt x="21" y="12"/>
                    <a:pt x="22" y="17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26" y="17"/>
                    <a:pt x="26" y="16"/>
                    <a:pt x="26" y="15"/>
                  </a:cubicBezTo>
                  <a:cubicBezTo>
                    <a:pt x="25" y="12"/>
                    <a:pt x="23" y="9"/>
                    <a:pt x="20" y="7"/>
                  </a:cubicBezTo>
                  <a:cubicBezTo>
                    <a:pt x="13" y="1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6" name="Freeform 192">
              <a:extLst>
                <a:ext uri="{FF2B5EF4-FFF2-40B4-BE49-F238E27FC236}">
                  <a16:creationId xmlns:a16="http://schemas.microsoft.com/office/drawing/2014/main" id="{068986C7-90B0-4B3B-9CAD-3EE4BD8DA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5713" y="5851525"/>
              <a:ext cx="125413" cy="68263"/>
            </a:xfrm>
            <a:custGeom>
              <a:avLst/>
              <a:gdLst>
                <a:gd name="T0" fmla="*/ 4 w 42"/>
                <a:gd name="T1" fmla="*/ 22 h 23"/>
                <a:gd name="T2" fmla="*/ 4 w 42"/>
                <a:gd name="T3" fmla="*/ 22 h 23"/>
                <a:gd name="T4" fmla="*/ 40 w 42"/>
                <a:gd name="T5" fmla="*/ 4 h 23"/>
                <a:gd name="T6" fmla="*/ 41 w 42"/>
                <a:gd name="T7" fmla="*/ 2 h 23"/>
                <a:gd name="T8" fmla="*/ 39 w 42"/>
                <a:gd name="T9" fmla="*/ 0 h 23"/>
                <a:gd name="T10" fmla="*/ 0 w 42"/>
                <a:gd name="T11" fmla="*/ 20 h 23"/>
                <a:gd name="T12" fmla="*/ 1 w 42"/>
                <a:gd name="T13" fmla="*/ 23 h 23"/>
                <a:gd name="T14" fmla="*/ 4 w 4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3">
                  <a:moveTo>
                    <a:pt x="4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14" y="7"/>
                    <a:pt x="40" y="4"/>
                  </a:cubicBezTo>
                  <a:cubicBezTo>
                    <a:pt x="41" y="4"/>
                    <a:pt x="42" y="3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11" y="4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3"/>
                    <a:pt x="3" y="23"/>
                    <a:pt x="4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7553FFA2-B173-43CA-BC82-722F6E6B20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263" y="5810250"/>
              <a:ext cx="101600" cy="61913"/>
            </a:xfrm>
            <a:custGeom>
              <a:avLst/>
              <a:gdLst>
                <a:gd name="T0" fmla="*/ 4 w 34"/>
                <a:gd name="T1" fmla="*/ 20 h 21"/>
                <a:gd name="T2" fmla="*/ 4 w 34"/>
                <a:gd name="T3" fmla="*/ 20 h 21"/>
                <a:gd name="T4" fmla="*/ 12 w 34"/>
                <a:gd name="T5" fmla="*/ 12 h 21"/>
                <a:gd name="T6" fmla="*/ 32 w 34"/>
                <a:gd name="T7" fmla="*/ 4 h 21"/>
                <a:gd name="T8" fmla="*/ 34 w 34"/>
                <a:gd name="T9" fmla="*/ 2 h 21"/>
                <a:gd name="T10" fmla="*/ 31 w 34"/>
                <a:gd name="T11" fmla="*/ 0 h 21"/>
                <a:gd name="T12" fmla="*/ 9 w 34"/>
                <a:gd name="T13" fmla="*/ 10 h 21"/>
                <a:gd name="T14" fmla="*/ 1 w 34"/>
                <a:gd name="T15" fmla="*/ 18 h 21"/>
                <a:gd name="T16" fmla="*/ 2 w 34"/>
                <a:gd name="T17" fmla="*/ 21 h 21"/>
                <a:gd name="T18" fmla="*/ 4 w 34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1">
                  <a:moveTo>
                    <a:pt x="4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5" y="19"/>
                    <a:pt x="8" y="16"/>
                    <a:pt x="12" y="12"/>
                  </a:cubicBezTo>
                  <a:cubicBezTo>
                    <a:pt x="17" y="9"/>
                    <a:pt x="24" y="5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3" y="1"/>
                    <a:pt x="33" y="0"/>
                    <a:pt x="31" y="0"/>
                  </a:cubicBezTo>
                  <a:cubicBezTo>
                    <a:pt x="22" y="1"/>
                    <a:pt x="14" y="6"/>
                    <a:pt x="9" y="10"/>
                  </a:cubicBezTo>
                  <a:cubicBezTo>
                    <a:pt x="4" y="14"/>
                    <a:pt x="1" y="18"/>
                    <a:pt x="1" y="18"/>
                  </a:cubicBezTo>
                  <a:cubicBezTo>
                    <a:pt x="0" y="19"/>
                    <a:pt x="1" y="20"/>
                    <a:pt x="2" y="21"/>
                  </a:cubicBezTo>
                  <a:cubicBezTo>
                    <a:pt x="3" y="21"/>
                    <a:pt x="4" y="21"/>
                    <a:pt x="4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A0BE2208-DCDA-41B3-8757-3FBA96B26E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7288" y="5770563"/>
              <a:ext cx="84138" cy="50800"/>
            </a:xfrm>
            <a:custGeom>
              <a:avLst/>
              <a:gdLst>
                <a:gd name="T0" fmla="*/ 4 w 28"/>
                <a:gd name="T1" fmla="*/ 16 h 17"/>
                <a:gd name="T2" fmla="*/ 4 w 28"/>
                <a:gd name="T3" fmla="*/ 16 h 17"/>
                <a:gd name="T4" fmla="*/ 4 w 28"/>
                <a:gd name="T5" fmla="*/ 16 h 17"/>
                <a:gd name="T6" fmla="*/ 4 w 28"/>
                <a:gd name="T7" fmla="*/ 16 h 17"/>
                <a:gd name="T8" fmla="*/ 4 w 28"/>
                <a:gd name="T9" fmla="*/ 16 h 17"/>
                <a:gd name="T10" fmla="*/ 4 w 28"/>
                <a:gd name="T11" fmla="*/ 16 h 17"/>
                <a:gd name="T12" fmla="*/ 9 w 28"/>
                <a:gd name="T13" fmla="*/ 10 h 17"/>
                <a:gd name="T14" fmla="*/ 26 w 28"/>
                <a:gd name="T15" fmla="*/ 4 h 17"/>
                <a:gd name="T16" fmla="*/ 28 w 28"/>
                <a:gd name="T17" fmla="*/ 2 h 17"/>
                <a:gd name="T18" fmla="*/ 26 w 28"/>
                <a:gd name="T19" fmla="*/ 0 h 17"/>
                <a:gd name="T20" fmla="*/ 6 w 28"/>
                <a:gd name="T21" fmla="*/ 8 h 17"/>
                <a:gd name="T22" fmla="*/ 0 w 28"/>
                <a:gd name="T23" fmla="*/ 14 h 17"/>
                <a:gd name="T24" fmla="*/ 1 w 28"/>
                <a:gd name="T25" fmla="*/ 17 h 17"/>
                <a:gd name="T26" fmla="*/ 4 w 28"/>
                <a:gd name="T2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5" y="13"/>
                    <a:pt x="9" y="10"/>
                  </a:cubicBezTo>
                  <a:cubicBezTo>
                    <a:pt x="12" y="8"/>
                    <a:pt x="18" y="5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16" y="1"/>
                    <a:pt x="10" y="4"/>
                    <a:pt x="6" y="8"/>
                  </a:cubicBezTo>
                  <a:cubicBezTo>
                    <a:pt x="2" y="11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7"/>
                    <a:pt x="3" y="17"/>
                    <a:pt x="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406334D7-7127-40C2-97CA-7E23DEC8F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1163" y="3173413"/>
              <a:ext cx="139700" cy="192088"/>
            </a:xfrm>
            <a:custGeom>
              <a:avLst/>
              <a:gdLst>
                <a:gd name="T0" fmla="*/ 40 w 47"/>
                <a:gd name="T1" fmla="*/ 11 h 65"/>
                <a:gd name="T2" fmla="*/ 21 w 47"/>
                <a:gd name="T3" fmla="*/ 0 h 65"/>
                <a:gd name="T4" fmla="*/ 24 w 47"/>
                <a:gd name="T5" fmla="*/ 8 h 65"/>
                <a:gd name="T6" fmla="*/ 2 w 47"/>
                <a:gd name="T7" fmla="*/ 12 h 65"/>
                <a:gd name="T8" fmla="*/ 10 w 47"/>
                <a:gd name="T9" fmla="*/ 50 h 65"/>
                <a:gd name="T10" fmla="*/ 47 w 47"/>
                <a:gd name="T11" fmla="*/ 50 h 65"/>
                <a:gd name="T12" fmla="*/ 40 w 47"/>
                <a:gd name="T13" fmla="*/ 1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65">
                  <a:moveTo>
                    <a:pt x="40" y="11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0" y="35"/>
                    <a:pt x="10" y="50"/>
                  </a:cubicBezTo>
                  <a:cubicBezTo>
                    <a:pt x="21" y="65"/>
                    <a:pt x="47" y="50"/>
                    <a:pt x="47" y="50"/>
                  </a:cubicBezTo>
                  <a:lnTo>
                    <a:pt x="40" y="11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0" name="Freeform 196">
              <a:extLst>
                <a:ext uri="{FF2B5EF4-FFF2-40B4-BE49-F238E27FC236}">
                  <a16:creationId xmlns:a16="http://schemas.microsoft.com/office/drawing/2014/main" id="{B9CEAF1D-0D99-40CE-A737-77CA8FACBF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3038" y="4040188"/>
              <a:ext cx="92075" cy="263525"/>
            </a:xfrm>
            <a:custGeom>
              <a:avLst/>
              <a:gdLst>
                <a:gd name="T0" fmla="*/ 0 w 31"/>
                <a:gd name="T1" fmla="*/ 0 h 89"/>
                <a:gd name="T2" fmla="*/ 11 w 31"/>
                <a:gd name="T3" fmla="*/ 68 h 89"/>
                <a:gd name="T4" fmla="*/ 28 w 31"/>
                <a:gd name="T5" fmla="*/ 87 h 89"/>
                <a:gd name="T6" fmla="*/ 22 w 31"/>
                <a:gd name="T7" fmla="*/ 36 h 89"/>
                <a:gd name="T8" fmla="*/ 31 w 31"/>
                <a:gd name="T9" fmla="*/ 48 h 89"/>
                <a:gd name="T10" fmla="*/ 31 w 31"/>
                <a:gd name="T11" fmla="*/ 8 h 89"/>
                <a:gd name="T12" fmla="*/ 0 w 31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89">
                  <a:moveTo>
                    <a:pt x="0" y="0"/>
                  </a:moveTo>
                  <a:cubicBezTo>
                    <a:pt x="0" y="0"/>
                    <a:pt x="0" y="46"/>
                    <a:pt x="11" y="68"/>
                  </a:cubicBezTo>
                  <a:cubicBezTo>
                    <a:pt x="22" y="89"/>
                    <a:pt x="28" y="87"/>
                    <a:pt x="28" y="87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30" y="53"/>
                    <a:pt x="31" y="48"/>
                  </a:cubicBezTo>
                  <a:cubicBezTo>
                    <a:pt x="31" y="43"/>
                    <a:pt x="31" y="8"/>
                    <a:pt x="31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C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1" name="Freeform 197">
              <a:extLst>
                <a:ext uri="{FF2B5EF4-FFF2-40B4-BE49-F238E27FC236}">
                  <a16:creationId xmlns:a16="http://schemas.microsoft.com/office/drawing/2014/main" id="{61D3143D-ACE9-419A-B566-5BAE610FE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9888" y="3019425"/>
              <a:ext cx="112713" cy="188913"/>
            </a:xfrm>
            <a:custGeom>
              <a:avLst/>
              <a:gdLst>
                <a:gd name="T0" fmla="*/ 30 w 71"/>
                <a:gd name="T1" fmla="*/ 119 h 119"/>
                <a:gd name="T2" fmla="*/ 0 w 71"/>
                <a:gd name="T3" fmla="*/ 7 h 119"/>
                <a:gd name="T4" fmla="*/ 49 w 71"/>
                <a:gd name="T5" fmla="*/ 0 h 119"/>
                <a:gd name="T6" fmla="*/ 71 w 71"/>
                <a:gd name="T7" fmla="*/ 112 h 119"/>
                <a:gd name="T8" fmla="*/ 30 w 71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9">
                  <a:moveTo>
                    <a:pt x="30" y="119"/>
                  </a:moveTo>
                  <a:lnTo>
                    <a:pt x="0" y="7"/>
                  </a:lnTo>
                  <a:lnTo>
                    <a:pt x="49" y="0"/>
                  </a:lnTo>
                  <a:lnTo>
                    <a:pt x="71" y="112"/>
                  </a:lnTo>
                  <a:lnTo>
                    <a:pt x="30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2" name="Freeform 198">
              <a:extLst>
                <a:ext uri="{FF2B5EF4-FFF2-40B4-BE49-F238E27FC236}">
                  <a16:creationId xmlns:a16="http://schemas.microsoft.com/office/drawing/2014/main" id="{54EF79FF-A908-4B87-96B3-79D6D5B5D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35613" y="3333750"/>
              <a:ext cx="111125" cy="219075"/>
            </a:xfrm>
            <a:custGeom>
              <a:avLst/>
              <a:gdLst>
                <a:gd name="T0" fmla="*/ 0 w 37"/>
                <a:gd name="T1" fmla="*/ 0 h 74"/>
                <a:gd name="T2" fmla="*/ 9 w 37"/>
                <a:gd name="T3" fmla="*/ 67 h 74"/>
                <a:gd name="T4" fmla="*/ 37 w 37"/>
                <a:gd name="T5" fmla="*/ 64 h 74"/>
                <a:gd name="T6" fmla="*/ 22 w 37"/>
                <a:gd name="T7" fmla="*/ 0 h 74"/>
                <a:gd name="T8" fmla="*/ 0 w 37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4">
                  <a:moveTo>
                    <a:pt x="0" y="0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24" y="74"/>
                    <a:pt x="37" y="6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11" y="5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9F9D53E2-270A-48AF-A7A3-5467E24C5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6238" y="3024188"/>
              <a:ext cx="68263" cy="15875"/>
            </a:xfrm>
            <a:custGeom>
              <a:avLst/>
              <a:gdLst>
                <a:gd name="T0" fmla="*/ 0 w 23"/>
                <a:gd name="T1" fmla="*/ 3 h 5"/>
                <a:gd name="T2" fmla="*/ 11 w 23"/>
                <a:gd name="T3" fmla="*/ 5 h 5"/>
                <a:gd name="T4" fmla="*/ 12 w 23"/>
                <a:gd name="T5" fmla="*/ 5 h 5"/>
                <a:gd name="T6" fmla="*/ 18 w 23"/>
                <a:gd name="T7" fmla="*/ 5 h 5"/>
                <a:gd name="T8" fmla="*/ 13 w 23"/>
                <a:gd name="T9" fmla="*/ 4 h 5"/>
                <a:gd name="T10" fmla="*/ 23 w 23"/>
                <a:gd name="T11" fmla="*/ 0 h 5"/>
                <a:gd name="T12" fmla="*/ 11 w 23"/>
                <a:gd name="T13" fmla="*/ 3 h 5"/>
                <a:gd name="T14" fmla="*/ 0 w 2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5">
                  <a:moveTo>
                    <a:pt x="0" y="3"/>
                  </a:moveTo>
                  <a:cubicBezTo>
                    <a:pt x="0" y="3"/>
                    <a:pt x="4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20" y="3"/>
                    <a:pt x="23" y="0"/>
                  </a:cubicBezTo>
                  <a:cubicBezTo>
                    <a:pt x="23" y="0"/>
                    <a:pt x="17" y="2"/>
                    <a:pt x="11" y="3"/>
                  </a:cubicBezTo>
                  <a:cubicBezTo>
                    <a:pt x="5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92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5A8A72F1-4619-4301-B932-6B810A540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4338" y="3187700"/>
              <a:ext cx="68263" cy="20638"/>
            </a:xfrm>
            <a:custGeom>
              <a:avLst/>
              <a:gdLst>
                <a:gd name="T0" fmla="*/ 43 w 43"/>
                <a:gd name="T1" fmla="*/ 6 h 13"/>
                <a:gd name="T2" fmla="*/ 2 w 43"/>
                <a:gd name="T3" fmla="*/ 13 h 13"/>
                <a:gd name="T4" fmla="*/ 0 w 43"/>
                <a:gd name="T5" fmla="*/ 6 h 13"/>
                <a:gd name="T6" fmla="*/ 43 w 43"/>
                <a:gd name="T7" fmla="*/ 0 h 13"/>
                <a:gd name="T8" fmla="*/ 43 w 43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3">
                  <a:moveTo>
                    <a:pt x="43" y="6"/>
                  </a:moveTo>
                  <a:lnTo>
                    <a:pt x="2" y="13"/>
                  </a:lnTo>
                  <a:lnTo>
                    <a:pt x="0" y="6"/>
                  </a:lnTo>
                  <a:lnTo>
                    <a:pt x="43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5" name="Freeform 201">
              <a:extLst>
                <a:ext uri="{FF2B5EF4-FFF2-40B4-BE49-F238E27FC236}">
                  <a16:creationId xmlns:a16="http://schemas.microsoft.com/office/drawing/2014/main" id="{CA43C599-EA2D-4C69-84FB-69F6392CED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4338" y="3203575"/>
              <a:ext cx="12700" cy="246063"/>
            </a:xfrm>
            <a:custGeom>
              <a:avLst/>
              <a:gdLst>
                <a:gd name="T0" fmla="*/ 0 w 8"/>
                <a:gd name="T1" fmla="*/ 0 h 155"/>
                <a:gd name="T2" fmla="*/ 0 w 8"/>
                <a:gd name="T3" fmla="*/ 155 h 155"/>
                <a:gd name="T4" fmla="*/ 8 w 8"/>
                <a:gd name="T5" fmla="*/ 155 h 155"/>
                <a:gd name="T6" fmla="*/ 0 w 8"/>
                <a:gd name="T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5">
                  <a:moveTo>
                    <a:pt x="0" y="0"/>
                  </a:moveTo>
                  <a:lnTo>
                    <a:pt x="0" y="155"/>
                  </a:lnTo>
                  <a:lnTo>
                    <a:pt x="8" y="1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43E25740-CF63-4B11-99BF-78CD1FB64E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0125" y="3101975"/>
              <a:ext cx="187325" cy="153988"/>
            </a:xfrm>
            <a:custGeom>
              <a:avLst/>
              <a:gdLst>
                <a:gd name="T0" fmla="*/ 0 w 63"/>
                <a:gd name="T1" fmla="*/ 0 h 52"/>
                <a:gd name="T2" fmla="*/ 63 w 63"/>
                <a:gd name="T3" fmla="*/ 52 h 52"/>
                <a:gd name="T4" fmla="*/ 0 w 6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52">
                  <a:moveTo>
                    <a:pt x="0" y="0"/>
                  </a:moveTo>
                  <a:cubicBezTo>
                    <a:pt x="0" y="0"/>
                    <a:pt x="50" y="15"/>
                    <a:pt x="63" y="52"/>
                  </a:cubicBezTo>
                  <a:cubicBezTo>
                    <a:pt x="63" y="52"/>
                    <a:pt x="33" y="9"/>
                    <a:pt x="0" y="0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24EF3FB7-D5C4-4B63-B428-80A8E5AD3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0125" y="3051175"/>
              <a:ext cx="166688" cy="50800"/>
            </a:xfrm>
            <a:custGeom>
              <a:avLst/>
              <a:gdLst>
                <a:gd name="T0" fmla="*/ 0 w 56"/>
                <a:gd name="T1" fmla="*/ 17 h 17"/>
                <a:gd name="T2" fmla="*/ 56 w 56"/>
                <a:gd name="T3" fmla="*/ 17 h 17"/>
                <a:gd name="T4" fmla="*/ 0 w 56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7">
                  <a:moveTo>
                    <a:pt x="0" y="17"/>
                  </a:moveTo>
                  <a:cubicBezTo>
                    <a:pt x="0" y="17"/>
                    <a:pt x="27" y="0"/>
                    <a:pt x="56" y="17"/>
                  </a:cubicBezTo>
                  <a:cubicBezTo>
                    <a:pt x="56" y="17"/>
                    <a:pt x="17" y="10"/>
                    <a:pt x="0" y="17"/>
                  </a:cubicBezTo>
                </a:path>
              </a:pathLst>
            </a:custGeom>
            <a:solidFill>
              <a:srgbClr val="2429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B44BBD55-FCCD-40CA-8126-5F886E91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64200" y="2627313"/>
              <a:ext cx="381000" cy="323850"/>
            </a:xfrm>
            <a:custGeom>
              <a:avLst/>
              <a:gdLst>
                <a:gd name="T0" fmla="*/ 10 w 128"/>
                <a:gd name="T1" fmla="*/ 9 h 109"/>
                <a:gd name="T2" fmla="*/ 0 w 128"/>
                <a:gd name="T3" fmla="*/ 14 h 109"/>
                <a:gd name="T4" fmla="*/ 24 w 128"/>
                <a:gd name="T5" fmla="*/ 109 h 109"/>
                <a:gd name="T6" fmla="*/ 128 w 128"/>
                <a:gd name="T7" fmla="*/ 3 h 109"/>
                <a:gd name="T8" fmla="*/ 121 w 128"/>
                <a:gd name="T9" fmla="*/ 0 h 109"/>
                <a:gd name="T10" fmla="*/ 25 w 128"/>
                <a:gd name="T11" fmla="*/ 99 h 109"/>
                <a:gd name="T12" fmla="*/ 10 w 128"/>
                <a:gd name="T13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09">
                  <a:moveTo>
                    <a:pt x="10" y="9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23" y="108"/>
                    <a:pt x="24" y="109"/>
                  </a:cubicBezTo>
                  <a:cubicBezTo>
                    <a:pt x="25" y="109"/>
                    <a:pt x="128" y="3"/>
                    <a:pt x="128" y="3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10" y="9"/>
                    <a:pt x="10" y="9"/>
                    <a:pt x="10" y="9"/>
                  </a:cubicBezTo>
                </a:path>
              </a:pathLst>
            </a:custGeom>
            <a:solidFill>
              <a:srgbClr val="E6E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09" name="Freeform 206">
              <a:extLst>
                <a:ext uri="{FF2B5EF4-FFF2-40B4-BE49-F238E27FC236}">
                  <a16:creationId xmlns:a16="http://schemas.microsoft.com/office/drawing/2014/main" id="{4E85279C-013C-44AE-B686-3FC9DDEBA1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0375" y="4079875"/>
              <a:ext cx="661988" cy="652463"/>
            </a:xfrm>
            <a:custGeom>
              <a:avLst/>
              <a:gdLst>
                <a:gd name="T0" fmla="*/ 0 w 223"/>
                <a:gd name="T1" fmla="*/ 0 h 220"/>
                <a:gd name="T2" fmla="*/ 161 w 223"/>
                <a:gd name="T3" fmla="*/ 181 h 220"/>
                <a:gd name="T4" fmla="*/ 0 w 223"/>
                <a:gd name="T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3" h="220">
                  <a:moveTo>
                    <a:pt x="0" y="0"/>
                  </a:moveTo>
                  <a:cubicBezTo>
                    <a:pt x="0" y="0"/>
                    <a:pt x="99" y="141"/>
                    <a:pt x="161" y="181"/>
                  </a:cubicBezTo>
                  <a:cubicBezTo>
                    <a:pt x="223" y="220"/>
                    <a:pt x="26" y="58"/>
                    <a:pt x="0" y="0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0" name="Freeform 207">
              <a:extLst>
                <a:ext uri="{FF2B5EF4-FFF2-40B4-BE49-F238E27FC236}">
                  <a16:creationId xmlns:a16="http://schemas.microsoft.com/office/drawing/2014/main" id="{2313182F-7738-44C5-9177-10116CD10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9613" y="1154113"/>
              <a:ext cx="630238" cy="368300"/>
            </a:xfrm>
            <a:custGeom>
              <a:avLst/>
              <a:gdLst>
                <a:gd name="T0" fmla="*/ 210 w 212"/>
                <a:gd name="T1" fmla="*/ 124 h 124"/>
                <a:gd name="T2" fmla="*/ 212 w 212"/>
                <a:gd name="T3" fmla="*/ 105 h 124"/>
                <a:gd name="T4" fmla="*/ 106 w 212"/>
                <a:gd name="T5" fmla="*/ 0 h 124"/>
                <a:gd name="T6" fmla="*/ 0 w 212"/>
                <a:gd name="T7" fmla="*/ 105 h 124"/>
                <a:gd name="T8" fmla="*/ 2 w 212"/>
                <a:gd name="T9" fmla="*/ 124 h 124"/>
                <a:gd name="T10" fmla="*/ 210 w 212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24">
                  <a:moveTo>
                    <a:pt x="210" y="124"/>
                  </a:moveTo>
                  <a:cubicBezTo>
                    <a:pt x="211" y="118"/>
                    <a:pt x="212" y="112"/>
                    <a:pt x="212" y="105"/>
                  </a:cubicBezTo>
                  <a:cubicBezTo>
                    <a:pt x="212" y="47"/>
                    <a:pt x="164" y="0"/>
                    <a:pt x="106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12"/>
                    <a:pt x="1" y="118"/>
                    <a:pt x="2" y="124"/>
                  </a:cubicBezTo>
                  <a:lnTo>
                    <a:pt x="210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1" name="Freeform 208">
              <a:extLst>
                <a:ext uri="{FF2B5EF4-FFF2-40B4-BE49-F238E27FC236}">
                  <a16:creationId xmlns:a16="http://schemas.microsoft.com/office/drawing/2014/main" id="{4C3BAAF6-0CC9-4919-A79B-4D97B9AC0D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9650" y="1338263"/>
              <a:ext cx="509588" cy="184150"/>
            </a:xfrm>
            <a:custGeom>
              <a:avLst/>
              <a:gdLst>
                <a:gd name="T0" fmla="*/ 171 w 171"/>
                <a:gd name="T1" fmla="*/ 62 h 62"/>
                <a:gd name="T2" fmla="*/ 86 w 171"/>
                <a:gd name="T3" fmla="*/ 0 h 62"/>
                <a:gd name="T4" fmla="*/ 0 w 171"/>
                <a:gd name="T5" fmla="*/ 62 h 62"/>
                <a:gd name="T6" fmla="*/ 171 w 171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" h="62">
                  <a:moveTo>
                    <a:pt x="171" y="62"/>
                  </a:moveTo>
                  <a:cubicBezTo>
                    <a:pt x="159" y="26"/>
                    <a:pt x="126" y="0"/>
                    <a:pt x="86" y="0"/>
                  </a:cubicBezTo>
                  <a:cubicBezTo>
                    <a:pt x="46" y="0"/>
                    <a:pt x="12" y="26"/>
                    <a:pt x="0" y="62"/>
                  </a:cubicBezTo>
                  <a:lnTo>
                    <a:pt x="171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2" name="Freeform 209">
              <a:extLst>
                <a:ext uri="{FF2B5EF4-FFF2-40B4-BE49-F238E27FC236}">
                  <a16:creationId xmlns:a16="http://schemas.microsoft.com/office/drawing/2014/main" id="{62975DC7-742F-4E4E-9FB6-BDDCB799D7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2750" y="1389063"/>
              <a:ext cx="498475" cy="133350"/>
            </a:xfrm>
            <a:custGeom>
              <a:avLst/>
              <a:gdLst>
                <a:gd name="T0" fmla="*/ 168 w 168"/>
                <a:gd name="T1" fmla="*/ 45 h 45"/>
                <a:gd name="T2" fmla="*/ 84 w 168"/>
                <a:gd name="T3" fmla="*/ 0 h 45"/>
                <a:gd name="T4" fmla="*/ 0 w 168"/>
                <a:gd name="T5" fmla="*/ 45 h 45"/>
                <a:gd name="T6" fmla="*/ 168 w 168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" h="45">
                  <a:moveTo>
                    <a:pt x="168" y="45"/>
                  </a:moveTo>
                  <a:cubicBezTo>
                    <a:pt x="150" y="18"/>
                    <a:pt x="119" y="0"/>
                    <a:pt x="84" y="0"/>
                  </a:cubicBezTo>
                  <a:cubicBezTo>
                    <a:pt x="49" y="0"/>
                    <a:pt x="18" y="18"/>
                    <a:pt x="0" y="45"/>
                  </a:cubicBezTo>
                  <a:lnTo>
                    <a:pt x="168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3" name="Freeform 210">
              <a:extLst>
                <a:ext uri="{FF2B5EF4-FFF2-40B4-BE49-F238E27FC236}">
                  <a16:creationId xmlns:a16="http://schemas.microsoft.com/office/drawing/2014/main" id="{22D62CE5-F277-462B-80A4-097317BE85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0065" y="3218245"/>
              <a:ext cx="273050" cy="430213"/>
            </a:xfrm>
            <a:custGeom>
              <a:avLst/>
              <a:gdLst>
                <a:gd name="T0" fmla="*/ 92 w 92"/>
                <a:gd name="T1" fmla="*/ 0 h 145"/>
                <a:gd name="T2" fmla="*/ 0 w 92"/>
                <a:gd name="T3" fmla="*/ 123 h 145"/>
                <a:gd name="T4" fmla="*/ 2 w 92"/>
                <a:gd name="T5" fmla="*/ 145 h 145"/>
                <a:gd name="T6" fmla="*/ 92 w 92"/>
                <a:gd name="T7" fmla="*/ 145 h 145"/>
                <a:gd name="T8" fmla="*/ 92 w 92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45">
                  <a:moveTo>
                    <a:pt x="92" y="0"/>
                  </a:moveTo>
                  <a:cubicBezTo>
                    <a:pt x="39" y="15"/>
                    <a:pt x="0" y="65"/>
                    <a:pt x="0" y="123"/>
                  </a:cubicBezTo>
                  <a:cubicBezTo>
                    <a:pt x="0" y="131"/>
                    <a:pt x="0" y="138"/>
                    <a:pt x="2" y="145"/>
                  </a:cubicBezTo>
                  <a:cubicBezTo>
                    <a:pt x="92" y="145"/>
                    <a:pt x="92" y="145"/>
                    <a:pt x="92" y="145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4" name="Freeform 211">
              <a:extLst>
                <a:ext uri="{FF2B5EF4-FFF2-40B4-BE49-F238E27FC236}">
                  <a16:creationId xmlns:a16="http://schemas.microsoft.com/office/drawing/2014/main" id="{8FA243F5-5540-4A6A-84D1-FF5801974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5415" y="3487738"/>
              <a:ext cx="609600" cy="160338"/>
            </a:xfrm>
            <a:custGeom>
              <a:avLst/>
              <a:gdLst>
                <a:gd name="T0" fmla="*/ 205 w 205"/>
                <a:gd name="T1" fmla="*/ 54 h 54"/>
                <a:gd name="T2" fmla="*/ 102 w 205"/>
                <a:gd name="T3" fmla="*/ 0 h 54"/>
                <a:gd name="T4" fmla="*/ 0 w 205"/>
                <a:gd name="T5" fmla="*/ 54 h 54"/>
                <a:gd name="T6" fmla="*/ 205 w 205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54">
                  <a:moveTo>
                    <a:pt x="205" y="54"/>
                  </a:moveTo>
                  <a:cubicBezTo>
                    <a:pt x="182" y="21"/>
                    <a:pt x="145" y="0"/>
                    <a:pt x="102" y="0"/>
                  </a:cubicBezTo>
                  <a:cubicBezTo>
                    <a:pt x="60" y="0"/>
                    <a:pt x="22" y="21"/>
                    <a:pt x="0" y="54"/>
                  </a:cubicBezTo>
                  <a:lnTo>
                    <a:pt x="205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5" name="Freeform 212">
              <a:extLst>
                <a:ext uri="{FF2B5EF4-FFF2-40B4-BE49-F238E27FC236}">
                  <a16:creationId xmlns:a16="http://schemas.microsoft.com/office/drawing/2014/main" id="{D9BF0276-6F3A-4931-9586-2C625AFD8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9338" y="1876425"/>
              <a:ext cx="123825" cy="287338"/>
            </a:xfrm>
            <a:custGeom>
              <a:avLst/>
              <a:gdLst>
                <a:gd name="T0" fmla="*/ 0 w 42"/>
                <a:gd name="T1" fmla="*/ 97 h 97"/>
                <a:gd name="T2" fmla="*/ 31 w 42"/>
                <a:gd name="T3" fmla="*/ 93 h 97"/>
                <a:gd name="T4" fmla="*/ 8 w 42"/>
                <a:gd name="T5" fmla="*/ 0 h 97"/>
                <a:gd name="T6" fmla="*/ 12 w 42"/>
                <a:gd name="T7" fmla="*/ 75 h 97"/>
                <a:gd name="T8" fmla="*/ 0 w 42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97">
                  <a:moveTo>
                    <a:pt x="0" y="97"/>
                  </a:moveTo>
                  <a:cubicBezTo>
                    <a:pt x="31" y="93"/>
                    <a:pt x="31" y="93"/>
                    <a:pt x="31" y="93"/>
                  </a:cubicBezTo>
                  <a:cubicBezTo>
                    <a:pt x="31" y="93"/>
                    <a:pt x="42" y="28"/>
                    <a:pt x="8" y="0"/>
                  </a:cubicBezTo>
                  <a:cubicBezTo>
                    <a:pt x="8" y="0"/>
                    <a:pt x="31" y="36"/>
                    <a:pt x="12" y="75"/>
                  </a:cubicBezTo>
                  <a:cubicBezTo>
                    <a:pt x="6" y="87"/>
                    <a:pt x="2" y="93"/>
                    <a:pt x="0" y="97"/>
                  </a:cubicBezTo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6" name="Freeform 213">
              <a:extLst>
                <a:ext uri="{FF2B5EF4-FFF2-40B4-BE49-F238E27FC236}">
                  <a16:creationId xmlns:a16="http://schemas.microsoft.com/office/drawing/2014/main" id="{69540D25-9AD9-4C57-AA74-DA42EF8F3A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3463" y="2163763"/>
              <a:ext cx="15875" cy="23813"/>
            </a:xfrm>
            <a:custGeom>
              <a:avLst/>
              <a:gdLst>
                <a:gd name="T0" fmla="*/ 5 w 5"/>
                <a:gd name="T1" fmla="*/ 0 h 8"/>
                <a:gd name="T2" fmla="*/ 3 w 5"/>
                <a:gd name="T3" fmla="*/ 0 h 8"/>
                <a:gd name="T4" fmla="*/ 5 w 5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8"/>
                    <a:pt x="5" y="0"/>
                  </a:cubicBezTo>
                  <a:close/>
                </a:path>
              </a:pathLst>
            </a:custGeom>
            <a:solidFill>
              <a:srgbClr val="3C4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7" name="Freeform 214">
              <a:extLst>
                <a:ext uri="{FF2B5EF4-FFF2-40B4-BE49-F238E27FC236}">
                  <a16:creationId xmlns:a16="http://schemas.microsoft.com/office/drawing/2014/main" id="{061C52F2-CB3D-4EC8-B94B-BBFBD0D7E1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5" y="2241550"/>
              <a:ext cx="9525" cy="228600"/>
            </a:xfrm>
            <a:custGeom>
              <a:avLst/>
              <a:gdLst>
                <a:gd name="T0" fmla="*/ 3 w 3"/>
                <a:gd name="T1" fmla="*/ 0 h 77"/>
                <a:gd name="T2" fmla="*/ 2 w 3"/>
                <a:gd name="T3" fmla="*/ 77 h 77"/>
                <a:gd name="T4" fmla="*/ 2 w 3"/>
                <a:gd name="T5" fmla="*/ 77 h 77"/>
                <a:gd name="T6" fmla="*/ 3 w 3"/>
                <a:gd name="T7" fmla="*/ 0 h 77"/>
                <a:gd name="T8" fmla="*/ 3 w 3"/>
                <a:gd name="T9" fmla="*/ 0 h 77"/>
                <a:gd name="T10" fmla="*/ 3 w 3"/>
                <a:gd name="T11" fmla="*/ 0 h 77"/>
                <a:gd name="T12" fmla="*/ 3 w 3"/>
                <a:gd name="T13" fmla="*/ 0 h 77"/>
                <a:gd name="T14" fmla="*/ 3 w 3"/>
                <a:gd name="T15" fmla="*/ 0 h 77"/>
                <a:gd name="T16" fmla="*/ 3 w 3"/>
                <a:gd name="T17" fmla="*/ 0 h 77"/>
                <a:gd name="T18" fmla="*/ 3 w 3"/>
                <a:gd name="T19" fmla="*/ 0 h 77"/>
                <a:gd name="T20" fmla="*/ 3 w 3"/>
                <a:gd name="T21" fmla="*/ 0 h 77"/>
                <a:gd name="T22" fmla="*/ 3 w 3"/>
                <a:gd name="T23" fmla="*/ 0 h 77"/>
                <a:gd name="T24" fmla="*/ 3 w 3"/>
                <a:gd name="T25" fmla="*/ 0 h 77"/>
                <a:gd name="T26" fmla="*/ 3 w 3"/>
                <a:gd name="T27" fmla="*/ 0 h 77"/>
                <a:gd name="T28" fmla="*/ 0 w 3"/>
                <a:gd name="T29" fmla="*/ 10 h 77"/>
                <a:gd name="T30" fmla="*/ 3 w 3"/>
                <a:gd name="T31" fmla="*/ 0 h 77"/>
                <a:gd name="T32" fmla="*/ 0 w 3"/>
                <a:gd name="T33" fmla="*/ 9 h 77"/>
                <a:gd name="T34" fmla="*/ 3 w 3"/>
                <a:gd name="T35" fmla="*/ 0 h 77"/>
                <a:gd name="T36" fmla="*/ 3 w 3"/>
                <a:gd name="T37" fmla="*/ 0 h 77"/>
                <a:gd name="T38" fmla="*/ 3 w 3"/>
                <a:gd name="T39" fmla="*/ 0 h 77"/>
                <a:gd name="T40" fmla="*/ 3 w 3"/>
                <a:gd name="T41" fmla="*/ 0 h 77"/>
                <a:gd name="T42" fmla="*/ 3 w 3"/>
                <a:gd name="T43" fmla="*/ 0 h 77"/>
                <a:gd name="T44" fmla="*/ 3 w 3"/>
                <a:gd name="T45" fmla="*/ 0 h 77"/>
                <a:gd name="T46" fmla="*/ 3 w 3"/>
                <a:gd name="T4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77">
                  <a:moveTo>
                    <a:pt x="3" y="0"/>
                  </a:moveTo>
                  <a:cubicBezTo>
                    <a:pt x="3" y="1"/>
                    <a:pt x="1" y="43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43"/>
                    <a:pt x="3" y="1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2" y="2"/>
                    <a:pt x="0" y="10"/>
                  </a:cubicBezTo>
                  <a:cubicBezTo>
                    <a:pt x="1" y="7"/>
                    <a:pt x="2" y="4"/>
                    <a:pt x="3" y="0"/>
                  </a:cubicBezTo>
                  <a:cubicBezTo>
                    <a:pt x="2" y="3"/>
                    <a:pt x="1" y="6"/>
                    <a:pt x="0" y="9"/>
                  </a:cubicBezTo>
                  <a:cubicBezTo>
                    <a:pt x="2" y="2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E3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8" name="Freeform 215">
              <a:extLst>
                <a:ext uri="{FF2B5EF4-FFF2-40B4-BE49-F238E27FC236}">
                  <a16:creationId xmlns:a16="http://schemas.microsoft.com/office/drawing/2014/main" id="{155A6814-6E6F-4261-AB8F-91E10BCF61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827713" y="2112963"/>
              <a:ext cx="114300" cy="244475"/>
            </a:xfrm>
            <a:custGeom>
              <a:avLst/>
              <a:gdLst>
                <a:gd name="T0" fmla="*/ 30 w 38"/>
                <a:gd name="T1" fmla="*/ 43 h 82"/>
                <a:gd name="T2" fmla="*/ 30 w 38"/>
                <a:gd name="T3" fmla="*/ 43 h 82"/>
                <a:gd name="T4" fmla="*/ 30 w 38"/>
                <a:gd name="T5" fmla="*/ 43 h 82"/>
                <a:gd name="T6" fmla="*/ 30 w 38"/>
                <a:gd name="T7" fmla="*/ 43 h 82"/>
                <a:gd name="T8" fmla="*/ 24 w 38"/>
                <a:gd name="T9" fmla="*/ 10 h 82"/>
                <a:gd name="T10" fmla="*/ 22 w 38"/>
                <a:gd name="T11" fmla="*/ 14 h 82"/>
                <a:gd name="T12" fmla="*/ 23 w 38"/>
                <a:gd name="T13" fmla="*/ 11 h 82"/>
                <a:gd name="T14" fmla="*/ 24 w 38"/>
                <a:gd name="T15" fmla="*/ 10 h 82"/>
                <a:gd name="T16" fmla="*/ 24 w 38"/>
                <a:gd name="T17" fmla="*/ 8 h 82"/>
                <a:gd name="T18" fmla="*/ 23 w 38"/>
                <a:gd name="T19" fmla="*/ 11 h 82"/>
                <a:gd name="T20" fmla="*/ 24 w 38"/>
                <a:gd name="T21" fmla="*/ 8 h 82"/>
                <a:gd name="T22" fmla="*/ 18 w 38"/>
                <a:gd name="T23" fmla="*/ 7 h 82"/>
                <a:gd name="T24" fmla="*/ 4 w 38"/>
                <a:gd name="T25" fmla="*/ 11 h 82"/>
                <a:gd name="T26" fmla="*/ 7 w 38"/>
                <a:gd name="T27" fmla="*/ 64 h 82"/>
                <a:gd name="T28" fmla="*/ 15 w 38"/>
                <a:gd name="T29" fmla="*/ 82 h 82"/>
                <a:gd name="T30" fmla="*/ 27 w 38"/>
                <a:gd name="T31" fmla="*/ 53 h 82"/>
                <a:gd name="T32" fmla="*/ 30 w 38"/>
                <a:gd name="T33" fmla="*/ 43 h 82"/>
                <a:gd name="T34" fmla="*/ 30 w 38"/>
                <a:gd name="T35" fmla="*/ 43 h 82"/>
                <a:gd name="T36" fmla="*/ 30 w 38"/>
                <a:gd name="T37" fmla="*/ 43 h 82"/>
                <a:gd name="T38" fmla="*/ 30 w 38"/>
                <a:gd name="T39" fmla="*/ 43 h 82"/>
                <a:gd name="T40" fmla="*/ 31 w 38"/>
                <a:gd name="T41" fmla="*/ 43 h 82"/>
                <a:gd name="T42" fmla="*/ 38 w 38"/>
                <a:gd name="T43" fmla="*/ 42 h 82"/>
                <a:gd name="T44" fmla="*/ 35 w 38"/>
                <a:gd name="T45" fmla="*/ 42 h 82"/>
                <a:gd name="T46" fmla="*/ 21 w 38"/>
                <a:gd name="T47" fmla="*/ 25 h 82"/>
                <a:gd name="T48" fmla="*/ 21 w 38"/>
                <a:gd name="T49" fmla="*/ 27 h 82"/>
                <a:gd name="T50" fmla="*/ 21 w 38"/>
                <a:gd name="T51" fmla="*/ 27 h 82"/>
                <a:gd name="T52" fmla="*/ 18 w 38"/>
                <a:gd name="T53" fmla="*/ 13 h 82"/>
                <a:gd name="T54" fmla="*/ 18 w 38"/>
                <a:gd name="T55" fmla="*/ 7 h 82"/>
                <a:gd name="T56" fmla="*/ 6 w 38"/>
                <a:gd name="T57" fmla="*/ 0 h 82"/>
                <a:gd name="T58" fmla="*/ 5 w 38"/>
                <a:gd name="T59" fmla="*/ 8 h 82"/>
                <a:gd name="T60" fmla="*/ 17 w 38"/>
                <a:gd name="T61" fmla="*/ 5 h 82"/>
                <a:gd name="T62" fmla="*/ 10 w 38"/>
                <a:gd name="T63" fmla="*/ 0 h 82"/>
                <a:gd name="T64" fmla="*/ 9 w 38"/>
                <a:gd name="T65" fmla="*/ 0 h 82"/>
                <a:gd name="T66" fmla="*/ 6 w 38"/>
                <a:gd name="T6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" h="82">
                  <a:moveTo>
                    <a:pt x="30" y="43"/>
                  </a:move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moveTo>
                    <a:pt x="24" y="10"/>
                  </a:moveTo>
                  <a:cubicBezTo>
                    <a:pt x="23" y="11"/>
                    <a:pt x="23" y="13"/>
                    <a:pt x="22" y="14"/>
                  </a:cubicBezTo>
                  <a:cubicBezTo>
                    <a:pt x="22" y="13"/>
                    <a:pt x="23" y="12"/>
                    <a:pt x="23" y="11"/>
                  </a:cubicBezTo>
                  <a:cubicBezTo>
                    <a:pt x="24" y="10"/>
                    <a:pt x="24" y="10"/>
                    <a:pt x="24" y="10"/>
                  </a:cubicBezTo>
                  <a:moveTo>
                    <a:pt x="24" y="8"/>
                  </a:moveTo>
                  <a:cubicBezTo>
                    <a:pt x="24" y="9"/>
                    <a:pt x="23" y="10"/>
                    <a:pt x="23" y="11"/>
                  </a:cubicBezTo>
                  <a:cubicBezTo>
                    <a:pt x="24" y="10"/>
                    <a:pt x="24" y="9"/>
                    <a:pt x="24" y="8"/>
                  </a:cubicBezTo>
                  <a:moveTo>
                    <a:pt x="18" y="7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1" y="30"/>
                    <a:pt x="0" y="48"/>
                    <a:pt x="7" y="64"/>
                  </a:cubicBezTo>
                  <a:cubicBezTo>
                    <a:pt x="10" y="70"/>
                    <a:pt x="12" y="76"/>
                    <a:pt x="15" y="82"/>
                  </a:cubicBezTo>
                  <a:cubicBezTo>
                    <a:pt x="19" y="75"/>
                    <a:pt x="23" y="65"/>
                    <a:pt x="27" y="53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1" y="43"/>
                  </a:cubicBezTo>
                  <a:cubicBezTo>
                    <a:pt x="32" y="43"/>
                    <a:pt x="35" y="43"/>
                    <a:pt x="38" y="42"/>
                  </a:cubicBezTo>
                  <a:cubicBezTo>
                    <a:pt x="37" y="42"/>
                    <a:pt x="36" y="42"/>
                    <a:pt x="35" y="42"/>
                  </a:cubicBezTo>
                  <a:cubicBezTo>
                    <a:pt x="26" y="42"/>
                    <a:pt x="22" y="34"/>
                    <a:pt x="21" y="25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18" y="27"/>
                    <a:pt x="18" y="13"/>
                  </a:cubicBezTo>
                  <a:cubicBezTo>
                    <a:pt x="18" y="10"/>
                    <a:pt x="18" y="9"/>
                    <a:pt x="18" y="7"/>
                  </a:cubicBezTo>
                  <a:moveTo>
                    <a:pt x="6" y="0"/>
                  </a:moveTo>
                  <a:cubicBezTo>
                    <a:pt x="6" y="3"/>
                    <a:pt x="5" y="6"/>
                    <a:pt x="5" y="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</a:path>
              </a:pathLst>
            </a:custGeom>
            <a:solidFill>
              <a:srgbClr val="966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19" name="Freeform 216">
              <a:extLst>
                <a:ext uri="{FF2B5EF4-FFF2-40B4-BE49-F238E27FC236}">
                  <a16:creationId xmlns:a16="http://schemas.microsoft.com/office/drawing/2014/main" id="{72C41347-7A05-444C-821F-4DC19AA01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3750" y="2241550"/>
              <a:ext cx="44450" cy="228600"/>
            </a:xfrm>
            <a:custGeom>
              <a:avLst/>
              <a:gdLst>
                <a:gd name="T0" fmla="*/ 15 w 15"/>
                <a:gd name="T1" fmla="*/ 0 h 77"/>
                <a:gd name="T2" fmla="*/ 15 w 15"/>
                <a:gd name="T3" fmla="*/ 0 h 77"/>
                <a:gd name="T4" fmla="*/ 15 w 15"/>
                <a:gd name="T5" fmla="*/ 0 h 77"/>
                <a:gd name="T6" fmla="*/ 12 w 15"/>
                <a:gd name="T7" fmla="*/ 10 h 77"/>
                <a:gd name="T8" fmla="*/ 0 w 15"/>
                <a:gd name="T9" fmla="*/ 39 h 77"/>
                <a:gd name="T10" fmla="*/ 14 w 15"/>
                <a:gd name="T11" fmla="*/ 77 h 77"/>
                <a:gd name="T12" fmla="*/ 15 w 15"/>
                <a:gd name="T13" fmla="*/ 0 h 77"/>
                <a:gd name="T14" fmla="*/ 15 w 15"/>
                <a:gd name="T15" fmla="*/ 0 h 77"/>
                <a:gd name="T16" fmla="*/ 15 w 15"/>
                <a:gd name="T17" fmla="*/ 0 h 77"/>
                <a:gd name="T18" fmla="*/ 15 w 15"/>
                <a:gd name="T19" fmla="*/ 0 h 77"/>
                <a:gd name="T20" fmla="*/ 15 w 15"/>
                <a:gd name="T21" fmla="*/ 0 h 77"/>
                <a:gd name="T22" fmla="*/ 15 w 15"/>
                <a:gd name="T23" fmla="*/ 0 h 77"/>
                <a:gd name="T24" fmla="*/ 15 w 15"/>
                <a:gd name="T25" fmla="*/ 0 h 77"/>
                <a:gd name="T26" fmla="*/ 15 w 15"/>
                <a:gd name="T27" fmla="*/ 0 h 77"/>
                <a:gd name="T28" fmla="*/ 15 w 15"/>
                <a:gd name="T29" fmla="*/ 0 h 77"/>
                <a:gd name="T30" fmla="*/ 15 w 15"/>
                <a:gd name="T3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77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3" y="7"/>
                    <a:pt x="12" y="10"/>
                  </a:cubicBezTo>
                  <a:cubicBezTo>
                    <a:pt x="8" y="22"/>
                    <a:pt x="4" y="32"/>
                    <a:pt x="0" y="39"/>
                  </a:cubicBezTo>
                  <a:cubicBezTo>
                    <a:pt x="5" y="52"/>
                    <a:pt x="9" y="64"/>
                    <a:pt x="14" y="77"/>
                  </a:cubicBezTo>
                  <a:cubicBezTo>
                    <a:pt x="13" y="43"/>
                    <a:pt x="15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965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0" name="Freeform 217">
              <a:extLst>
                <a:ext uri="{FF2B5EF4-FFF2-40B4-BE49-F238E27FC236}">
                  <a16:creationId xmlns:a16="http://schemas.microsoft.com/office/drawing/2014/main" id="{C081609F-DC0A-4374-9AC6-C1D6DE07E8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891213" y="2122488"/>
              <a:ext cx="85725" cy="115888"/>
            </a:xfrm>
            <a:custGeom>
              <a:avLst/>
              <a:gdLst>
                <a:gd name="T0" fmla="*/ 7 w 29"/>
                <a:gd name="T1" fmla="*/ 32 h 39"/>
                <a:gd name="T2" fmla="*/ 7 w 29"/>
                <a:gd name="T3" fmla="*/ 31 h 39"/>
                <a:gd name="T4" fmla="*/ 13 w 29"/>
                <a:gd name="T5" fmla="*/ 8 h 39"/>
                <a:gd name="T6" fmla="*/ 14 w 29"/>
                <a:gd name="T7" fmla="*/ 7 h 39"/>
                <a:gd name="T8" fmla="*/ 15 w 29"/>
                <a:gd name="T9" fmla="*/ 7 h 39"/>
                <a:gd name="T10" fmla="*/ 15 w 29"/>
                <a:gd name="T11" fmla="*/ 9 h 39"/>
                <a:gd name="T12" fmla="*/ 10 w 29"/>
                <a:gd name="T13" fmla="*/ 28 h 39"/>
                <a:gd name="T14" fmla="*/ 14 w 29"/>
                <a:gd name="T15" fmla="*/ 25 h 39"/>
                <a:gd name="T16" fmla="*/ 14 w 29"/>
                <a:gd name="T17" fmla="*/ 25 h 39"/>
                <a:gd name="T18" fmla="*/ 15 w 29"/>
                <a:gd name="T19" fmla="*/ 25 h 39"/>
                <a:gd name="T20" fmla="*/ 15 w 29"/>
                <a:gd name="T21" fmla="*/ 27 h 39"/>
                <a:gd name="T22" fmla="*/ 8 w 29"/>
                <a:gd name="T23" fmla="*/ 32 h 39"/>
                <a:gd name="T24" fmla="*/ 7 w 29"/>
                <a:gd name="T25" fmla="*/ 32 h 39"/>
                <a:gd name="T26" fmla="*/ 15 w 29"/>
                <a:gd name="T27" fmla="*/ 0 h 39"/>
                <a:gd name="T28" fmla="*/ 3 w 29"/>
                <a:gd name="T29" fmla="*/ 5 h 39"/>
                <a:gd name="T30" fmla="*/ 2 w 29"/>
                <a:gd name="T31" fmla="*/ 8 h 39"/>
                <a:gd name="T32" fmla="*/ 2 w 29"/>
                <a:gd name="T33" fmla="*/ 8 h 39"/>
                <a:gd name="T34" fmla="*/ 2 w 29"/>
                <a:gd name="T35" fmla="*/ 8 h 39"/>
                <a:gd name="T36" fmla="*/ 1 w 29"/>
                <a:gd name="T37" fmla="*/ 11 h 39"/>
                <a:gd name="T38" fmla="*/ 0 w 29"/>
                <a:gd name="T39" fmla="*/ 22 h 39"/>
                <a:gd name="T40" fmla="*/ 14 w 29"/>
                <a:gd name="T41" fmla="*/ 39 h 39"/>
                <a:gd name="T42" fmla="*/ 17 w 29"/>
                <a:gd name="T43" fmla="*/ 39 h 39"/>
                <a:gd name="T44" fmla="*/ 17 w 29"/>
                <a:gd name="T45" fmla="*/ 39 h 39"/>
                <a:gd name="T46" fmla="*/ 17 w 29"/>
                <a:gd name="T47" fmla="*/ 39 h 39"/>
                <a:gd name="T48" fmla="*/ 29 w 29"/>
                <a:gd name="T49" fmla="*/ 22 h 39"/>
                <a:gd name="T50" fmla="*/ 18 w 29"/>
                <a:gd name="T51" fmla="*/ 0 h 39"/>
                <a:gd name="T52" fmla="*/ 18 w 29"/>
                <a:gd name="T53" fmla="*/ 0 h 39"/>
                <a:gd name="T54" fmla="*/ 18 w 29"/>
                <a:gd name="T55" fmla="*/ 0 h 39"/>
                <a:gd name="T56" fmla="*/ 15 w 29"/>
                <a:gd name="T5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39">
                  <a:moveTo>
                    <a:pt x="7" y="32"/>
                  </a:moveTo>
                  <a:cubicBezTo>
                    <a:pt x="7" y="31"/>
                    <a:pt x="7" y="31"/>
                    <a:pt x="7" y="3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7"/>
                    <a:pt x="14" y="7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7"/>
                    <a:pt x="15" y="27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moveTo>
                    <a:pt x="15" y="0"/>
                  </a:moveTo>
                  <a:cubicBezTo>
                    <a:pt x="12" y="0"/>
                    <a:pt x="6" y="0"/>
                    <a:pt x="3" y="5"/>
                  </a:cubicBezTo>
                  <a:cubicBezTo>
                    <a:pt x="3" y="6"/>
                    <a:pt x="3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0" y="15"/>
                    <a:pt x="0" y="20"/>
                    <a:pt x="0" y="22"/>
                  </a:cubicBezTo>
                  <a:cubicBezTo>
                    <a:pt x="1" y="31"/>
                    <a:pt x="5" y="39"/>
                    <a:pt x="14" y="39"/>
                  </a:cubicBezTo>
                  <a:cubicBezTo>
                    <a:pt x="15" y="39"/>
                    <a:pt x="16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25" y="38"/>
                    <a:pt x="29" y="30"/>
                    <a:pt x="29" y="22"/>
                  </a:cubicBezTo>
                  <a:cubicBezTo>
                    <a:pt x="29" y="12"/>
                    <a:pt x="24" y="1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5" y="0"/>
                  </a:cubicBezTo>
                </a:path>
              </a:pathLst>
            </a:custGeom>
            <a:solidFill>
              <a:srgbClr val="964B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1" name="Freeform 218">
              <a:extLst>
                <a:ext uri="{FF2B5EF4-FFF2-40B4-BE49-F238E27FC236}">
                  <a16:creationId xmlns:a16="http://schemas.microsoft.com/office/drawing/2014/main" id="{DE0B31C8-97F4-4338-BEE1-574EF97C7C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1850" y="2143125"/>
              <a:ext cx="23813" cy="74613"/>
            </a:xfrm>
            <a:custGeom>
              <a:avLst/>
              <a:gdLst>
                <a:gd name="T0" fmla="*/ 7 w 8"/>
                <a:gd name="T1" fmla="*/ 0 h 25"/>
                <a:gd name="T2" fmla="*/ 6 w 8"/>
                <a:gd name="T3" fmla="*/ 1 h 25"/>
                <a:gd name="T4" fmla="*/ 0 w 8"/>
                <a:gd name="T5" fmla="*/ 24 h 25"/>
                <a:gd name="T6" fmla="*/ 0 w 8"/>
                <a:gd name="T7" fmla="*/ 25 h 25"/>
                <a:gd name="T8" fmla="*/ 1 w 8"/>
                <a:gd name="T9" fmla="*/ 25 h 25"/>
                <a:gd name="T10" fmla="*/ 8 w 8"/>
                <a:gd name="T11" fmla="*/ 20 h 25"/>
                <a:gd name="T12" fmla="*/ 8 w 8"/>
                <a:gd name="T13" fmla="*/ 18 h 25"/>
                <a:gd name="T14" fmla="*/ 7 w 8"/>
                <a:gd name="T15" fmla="*/ 18 h 25"/>
                <a:gd name="T16" fmla="*/ 7 w 8"/>
                <a:gd name="T17" fmla="*/ 18 h 25"/>
                <a:gd name="T18" fmla="*/ 3 w 8"/>
                <a:gd name="T19" fmla="*/ 21 h 25"/>
                <a:gd name="T20" fmla="*/ 8 w 8"/>
                <a:gd name="T21" fmla="*/ 2 h 25"/>
                <a:gd name="T22" fmla="*/ 8 w 8"/>
                <a:gd name="T23" fmla="*/ 0 h 25"/>
                <a:gd name="T24" fmla="*/ 7 w 8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7" y="0"/>
                    <a:pt x="7" y="1"/>
                    <a:pt x="6" y="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2" name="Freeform 219">
              <a:extLst>
                <a:ext uri="{FF2B5EF4-FFF2-40B4-BE49-F238E27FC236}">
                  <a16:creationId xmlns:a16="http://schemas.microsoft.com/office/drawing/2014/main" id="{1F899D90-8CC9-4D40-B9F2-C382F347E7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40413" y="2128838"/>
              <a:ext cx="41275" cy="17463"/>
            </a:xfrm>
            <a:custGeom>
              <a:avLst/>
              <a:gdLst>
                <a:gd name="T0" fmla="*/ 13 w 14"/>
                <a:gd name="T1" fmla="*/ 0 h 6"/>
                <a:gd name="T2" fmla="*/ 1 w 14"/>
                <a:gd name="T3" fmla="*/ 3 h 6"/>
                <a:gd name="T4" fmla="*/ 0 w 14"/>
                <a:gd name="T5" fmla="*/ 6 h 6"/>
                <a:gd name="T6" fmla="*/ 14 w 14"/>
                <a:gd name="T7" fmla="*/ 2 h 6"/>
                <a:gd name="T8" fmla="*/ 13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3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3" y="1"/>
                    <a:pt x="13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3" name="Freeform 220">
              <a:extLst>
                <a:ext uri="{FF2B5EF4-FFF2-40B4-BE49-F238E27FC236}">
                  <a16:creationId xmlns:a16="http://schemas.microsoft.com/office/drawing/2014/main" id="{21490787-6DF5-415F-A0E1-E6C79CB29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1050" y="1890713"/>
              <a:ext cx="71438" cy="136525"/>
            </a:xfrm>
            <a:custGeom>
              <a:avLst/>
              <a:gdLst>
                <a:gd name="T0" fmla="*/ 24 w 24"/>
                <a:gd name="T1" fmla="*/ 0 h 46"/>
                <a:gd name="T2" fmla="*/ 0 w 24"/>
                <a:gd name="T3" fmla="*/ 2 h 46"/>
                <a:gd name="T4" fmla="*/ 0 w 24"/>
                <a:gd name="T5" fmla="*/ 3 h 46"/>
                <a:gd name="T6" fmla="*/ 0 w 24"/>
                <a:gd name="T7" fmla="*/ 46 h 46"/>
                <a:gd name="T8" fmla="*/ 21 w 24"/>
                <a:gd name="T9" fmla="*/ 43 h 46"/>
                <a:gd name="T10" fmla="*/ 21 w 24"/>
                <a:gd name="T11" fmla="*/ 43 h 46"/>
                <a:gd name="T12" fmla="*/ 21 w 24"/>
                <a:gd name="T13" fmla="*/ 43 h 46"/>
                <a:gd name="T14" fmla="*/ 24 w 24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6">
                  <a:moveTo>
                    <a:pt x="24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3" y="18"/>
                    <a:pt x="2" y="32"/>
                    <a:pt x="0" y="46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4" y="0"/>
                    <a:pt x="24" y="0"/>
                    <a:pt x="24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4" name="Freeform 221">
              <a:extLst>
                <a:ext uri="{FF2B5EF4-FFF2-40B4-BE49-F238E27FC236}">
                  <a16:creationId xmlns:a16="http://schemas.microsoft.com/office/drawing/2014/main" id="{F79ED71A-4B24-4313-8FF3-B367A115FE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7875" y="1863725"/>
              <a:ext cx="330200" cy="33338"/>
            </a:xfrm>
            <a:custGeom>
              <a:avLst/>
              <a:gdLst>
                <a:gd name="T0" fmla="*/ 108 w 111"/>
                <a:gd name="T1" fmla="*/ 0 h 11"/>
                <a:gd name="T2" fmla="*/ 108 w 111"/>
                <a:gd name="T3" fmla="*/ 0 h 11"/>
                <a:gd name="T4" fmla="*/ 0 w 111"/>
                <a:gd name="T5" fmla="*/ 8 h 11"/>
                <a:gd name="T6" fmla="*/ 1 w 111"/>
                <a:gd name="T7" fmla="*/ 11 h 11"/>
                <a:gd name="T8" fmla="*/ 25 w 111"/>
                <a:gd name="T9" fmla="*/ 9 h 11"/>
                <a:gd name="T10" fmla="*/ 99 w 111"/>
                <a:gd name="T11" fmla="*/ 4 h 11"/>
                <a:gd name="T12" fmla="*/ 99 w 111"/>
                <a:gd name="T13" fmla="*/ 4 h 11"/>
                <a:gd name="T14" fmla="*/ 99 w 111"/>
                <a:gd name="T15" fmla="*/ 4 h 11"/>
                <a:gd name="T16" fmla="*/ 99 w 111"/>
                <a:gd name="T17" fmla="*/ 4 h 11"/>
                <a:gd name="T18" fmla="*/ 99 w 111"/>
                <a:gd name="T19" fmla="*/ 4 h 11"/>
                <a:gd name="T20" fmla="*/ 111 w 111"/>
                <a:gd name="T21" fmla="*/ 4 h 11"/>
                <a:gd name="T22" fmla="*/ 108 w 111"/>
                <a:gd name="T2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11">
                  <a:moveTo>
                    <a:pt x="108" y="0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1" y="11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181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5" name="Freeform 222">
              <a:extLst>
                <a:ext uri="{FF2B5EF4-FFF2-40B4-BE49-F238E27FC236}">
                  <a16:creationId xmlns:a16="http://schemas.microsoft.com/office/drawing/2014/main" id="{1E2692A7-CA57-4636-BF4F-318343FEE4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46763" y="2019300"/>
              <a:ext cx="76200" cy="174625"/>
            </a:xfrm>
            <a:custGeom>
              <a:avLst/>
              <a:gdLst>
                <a:gd name="T0" fmla="*/ 26 w 26"/>
                <a:gd name="T1" fmla="*/ 0 h 59"/>
                <a:gd name="T2" fmla="*/ 5 w 26"/>
                <a:gd name="T3" fmla="*/ 3 h 59"/>
                <a:gd name="T4" fmla="*/ 0 w 26"/>
                <a:gd name="T5" fmla="*/ 32 h 59"/>
                <a:gd name="T6" fmla="*/ 3 w 26"/>
                <a:gd name="T7" fmla="*/ 32 h 59"/>
                <a:gd name="T8" fmla="*/ 4 w 26"/>
                <a:gd name="T9" fmla="*/ 32 h 59"/>
                <a:gd name="T10" fmla="*/ 11 w 26"/>
                <a:gd name="T11" fmla="*/ 37 h 59"/>
                <a:gd name="T12" fmla="*/ 12 w 26"/>
                <a:gd name="T13" fmla="*/ 39 h 59"/>
                <a:gd name="T14" fmla="*/ 12 w 26"/>
                <a:gd name="T15" fmla="*/ 45 h 59"/>
                <a:gd name="T16" fmla="*/ 15 w 26"/>
                <a:gd name="T17" fmla="*/ 59 h 59"/>
                <a:gd name="T18" fmla="*/ 15 w 26"/>
                <a:gd name="T19" fmla="*/ 59 h 59"/>
                <a:gd name="T20" fmla="*/ 15 w 26"/>
                <a:gd name="T21" fmla="*/ 57 h 59"/>
                <a:gd name="T22" fmla="*/ 16 w 26"/>
                <a:gd name="T23" fmla="*/ 46 h 59"/>
                <a:gd name="T24" fmla="*/ 18 w 26"/>
                <a:gd name="T25" fmla="*/ 42 h 59"/>
                <a:gd name="T26" fmla="*/ 26 w 26"/>
                <a:gd name="T2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9">
                  <a:moveTo>
                    <a:pt x="26" y="0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4" y="13"/>
                    <a:pt x="2" y="2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6" y="32"/>
                    <a:pt x="9" y="32"/>
                    <a:pt x="11" y="37"/>
                  </a:cubicBezTo>
                  <a:cubicBezTo>
                    <a:pt x="11" y="38"/>
                    <a:pt x="11" y="38"/>
                    <a:pt x="12" y="39"/>
                  </a:cubicBezTo>
                  <a:cubicBezTo>
                    <a:pt x="12" y="41"/>
                    <a:pt x="12" y="42"/>
                    <a:pt x="12" y="45"/>
                  </a:cubicBezTo>
                  <a:cubicBezTo>
                    <a:pt x="12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7"/>
                  </a:cubicBezTo>
                  <a:cubicBezTo>
                    <a:pt x="15" y="55"/>
                    <a:pt x="15" y="50"/>
                    <a:pt x="16" y="46"/>
                  </a:cubicBezTo>
                  <a:cubicBezTo>
                    <a:pt x="17" y="45"/>
                    <a:pt x="17" y="43"/>
                    <a:pt x="18" y="42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6" name="Freeform 223">
              <a:extLst>
                <a:ext uri="{FF2B5EF4-FFF2-40B4-BE49-F238E27FC236}">
                  <a16:creationId xmlns:a16="http://schemas.microsoft.com/office/drawing/2014/main" id="{CA7E2460-E402-490B-8252-EC13107D4B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897563" y="2019300"/>
              <a:ext cx="49213" cy="127000"/>
            </a:xfrm>
            <a:custGeom>
              <a:avLst/>
              <a:gdLst>
                <a:gd name="T0" fmla="*/ 16 w 17"/>
                <a:gd name="T1" fmla="*/ 35 h 43"/>
                <a:gd name="T2" fmla="*/ 16 w 17"/>
                <a:gd name="T3" fmla="*/ 35 h 43"/>
                <a:gd name="T4" fmla="*/ 16 w 17"/>
                <a:gd name="T5" fmla="*/ 35 h 43"/>
                <a:gd name="T6" fmla="*/ 16 w 17"/>
                <a:gd name="T7" fmla="*/ 35 h 43"/>
                <a:gd name="T8" fmla="*/ 16 w 17"/>
                <a:gd name="T9" fmla="*/ 35 h 43"/>
                <a:gd name="T10" fmla="*/ 9 w 17"/>
                <a:gd name="T11" fmla="*/ 0 h 43"/>
                <a:gd name="T12" fmla="*/ 9 w 17"/>
                <a:gd name="T13" fmla="*/ 0 h 43"/>
                <a:gd name="T14" fmla="*/ 1 w 17"/>
                <a:gd name="T15" fmla="*/ 42 h 43"/>
                <a:gd name="T16" fmla="*/ 0 w 17"/>
                <a:gd name="T17" fmla="*/ 43 h 43"/>
                <a:gd name="T18" fmla="*/ 0 w 17"/>
                <a:gd name="T19" fmla="*/ 43 h 43"/>
                <a:gd name="T20" fmla="*/ 0 w 17"/>
                <a:gd name="T21" fmla="*/ 43 h 43"/>
                <a:gd name="T22" fmla="*/ 1 w 17"/>
                <a:gd name="T23" fmla="*/ 40 h 43"/>
                <a:gd name="T24" fmla="*/ 13 w 17"/>
                <a:gd name="T25" fmla="*/ 35 h 43"/>
                <a:gd name="T26" fmla="*/ 16 w 17"/>
                <a:gd name="T27" fmla="*/ 35 h 43"/>
                <a:gd name="T28" fmla="*/ 16 w 17"/>
                <a:gd name="T29" fmla="*/ 35 h 43"/>
                <a:gd name="T30" fmla="*/ 17 w 17"/>
                <a:gd name="T31" fmla="*/ 26 h 43"/>
                <a:gd name="T32" fmla="*/ 9 w 17"/>
                <a:gd name="T33" fmla="*/ 0 h 43"/>
                <a:gd name="T34" fmla="*/ 9 w 17"/>
                <a:gd name="T3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43">
                  <a:moveTo>
                    <a:pt x="16" y="35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2"/>
                    <a:pt x="1" y="41"/>
                    <a:pt x="1" y="40"/>
                  </a:cubicBezTo>
                  <a:cubicBezTo>
                    <a:pt x="4" y="35"/>
                    <a:pt x="10" y="35"/>
                    <a:pt x="13" y="35"/>
                  </a:cubicBezTo>
                  <a:cubicBezTo>
                    <a:pt x="15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2"/>
                    <a:pt x="17" y="29"/>
                    <a:pt x="17" y="26"/>
                  </a:cubicBezTo>
                  <a:cubicBezTo>
                    <a:pt x="17" y="13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29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7" name="Oval 224">
              <a:extLst>
                <a:ext uri="{FF2B5EF4-FFF2-40B4-BE49-F238E27FC236}">
                  <a16:creationId xmlns:a16="http://schemas.microsoft.com/office/drawing/2014/main" id="{1E29B17E-4B41-46CB-9053-3ADDC489E3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53150" y="1876425"/>
              <a:ext cx="1588" cy="1588"/>
            </a:xfrm>
            <a:prstGeom prst="ellipse">
              <a:avLst/>
            </a:prstGeom>
            <a:solidFill>
              <a:srgbClr val="2324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8" name="Freeform 225">
              <a:extLst>
                <a:ext uri="{FF2B5EF4-FFF2-40B4-BE49-F238E27FC236}">
                  <a16:creationId xmlns:a16="http://schemas.microsoft.com/office/drawing/2014/main" id="{EBBD6DE7-EE38-459D-AB31-616F4B75CA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6300" y="2603500"/>
              <a:ext cx="101600" cy="38100"/>
            </a:xfrm>
            <a:custGeom>
              <a:avLst/>
              <a:gdLst>
                <a:gd name="T0" fmla="*/ 27 w 34"/>
                <a:gd name="T1" fmla="*/ 10 h 13"/>
                <a:gd name="T2" fmla="*/ 26 w 34"/>
                <a:gd name="T3" fmla="*/ 12 h 13"/>
                <a:gd name="T4" fmla="*/ 26 w 34"/>
                <a:gd name="T5" fmla="*/ 12 h 13"/>
                <a:gd name="T6" fmla="*/ 27 w 34"/>
                <a:gd name="T7" fmla="*/ 10 h 13"/>
                <a:gd name="T8" fmla="*/ 34 w 34"/>
                <a:gd name="T9" fmla="*/ 13 h 13"/>
                <a:gd name="T10" fmla="*/ 34 w 34"/>
                <a:gd name="T11" fmla="*/ 13 h 13"/>
                <a:gd name="T12" fmla="*/ 27 w 34"/>
                <a:gd name="T13" fmla="*/ 10 h 13"/>
                <a:gd name="T14" fmla="*/ 0 w 34"/>
                <a:gd name="T15" fmla="*/ 0 h 13"/>
                <a:gd name="T16" fmla="*/ 0 w 34"/>
                <a:gd name="T17" fmla="*/ 0 h 13"/>
                <a:gd name="T18" fmla="*/ 20 w 34"/>
                <a:gd name="T19" fmla="*/ 10 h 13"/>
                <a:gd name="T20" fmla="*/ 0 w 34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3">
                  <a:moveTo>
                    <a:pt x="27" y="10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27" y="10"/>
                    <a:pt x="27" y="10"/>
                    <a:pt x="27" y="1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14" y="7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29" name="Freeform 226">
              <a:extLst>
                <a:ext uri="{FF2B5EF4-FFF2-40B4-BE49-F238E27FC236}">
                  <a16:creationId xmlns:a16="http://schemas.microsoft.com/office/drawing/2014/main" id="{5FA2C130-F46B-4FB8-9FED-21F07F968C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3288" y="2641600"/>
              <a:ext cx="157163" cy="466725"/>
            </a:xfrm>
            <a:custGeom>
              <a:avLst/>
              <a:gdLst>
                <a:gd name="T0" fmla="*/ 25 w 53"/>
                <a:gd name="T1" fmla="*/ 0 h 157"/>
                <a:gd name="T2" fmla="*/ 25 w 53"/>
                <a:gd name="T3" fmla="*/ 0 h 157"/>
                <a:gd name="T4" fmla="*/ 0 w 53"/>
                <a:gd name="T5" fmla="*/ 25 h 157"/>
                <a:gd name="T6" fmla="*/ 16 w 53"/>
                <a:gd name="T7" fmla="*/ 157 h 157"/>
                <a:gd name="T8" fmla="*/ 37 w 53"/>
                <a:gd name="T9" fmla="*/ 157 h 157"/>
                <a:gd name="T10" fmla="*/ 37 w 53"/>
                <a:gd name="T11" fmla="*/ 157 h 157"/>
                <a:gd name="T12" fmla="*/ 37 w 53"/>
                <a:gd name="T13" fmla="*/ 157 h 157"/>
                <a:gd name="T14" fmla="*/ 37 w 53"/>
                <a:gd name="T15" fmla="*/ 157 h 157"/>
                <a:gd name="T16" fmla="*/ 37 w 53"/>
                <a:gd name="T17" fmla="*/ 157 h 157"/>
                <a:gd name="T18" fmla="*/ 53 w 53"/>
                <a:gd name="T19" fmla="*/ 9 h 157"/>
                <a:gd name="T20" fmla="*/ 25 w 53"/>
                <a:gd name="T21" fmla="*/ 0 h 157"/>
                <a:gd name="T22" fmla="*/ 25 w 53"/>
                <a:gd name="T23" fmla="*/ 0 h 157"/>
                <a:gd name="T24" fmla="*/ 25 w 53"/>
                <a:gd name="T25" fmla="*/ 0 h 157"/>
                <a:gd name="T26" fmla="*/ 25 w 53"/>
                <a:gd name="T2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157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10"/>
                    <a:pt x="0" y="25"/>
                  </a:cubicBezTo>
                  <a:cubicBezTo>
                    <a:pt x="10" y="69"/>
                    <a:pt x="16" y="113"/>
                    <a:pt x="16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42" y="3"/>
                    <a:pt x="31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0" name="Freeform 227">
              <a:extLst>
                <a:ext uri="{FF2B5EF4-FFF2-40B4-BE49-F238E27FC236}">
                  <a16:creationId xmlns:a16="http://schemas.microsoft.com/office/drawing/2014/main" id="{15F2B214-175E-407E-92EA-162EA40A82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6300" y="2603500"/>
              <a:ext cx="77788" cy="88900"/>
            </a:xfrm>
            <a:custGeom>
              <a:avLst/>
              <a:gdLst>
                <a:gd name="T0" fmla="*/ 0 w 26"/>
                <a:gd name="T1" fmla="*/ 0 h 30"/>
                <a:gd name="T2" fmla="*/ 7 w 26"/>
                <a:gd name="T3" fmla="*/ 30 h 30"/>
                <a:gd name="T4" fmla="*/ 26 w 26"/>
                <a:gd name="T5" fmla="*/ 12 h 30"/>
                <a:gd name="T6" fmla="*/ 26 w 26"/>
                <a:gd name="T7" fmla="*/ 12 h 30"/>
                <a:gd name="T8" fmla="*/ 26 w 26"/>
                <a:gd name="T9" fmla="*/ 12 h 30"/>
                <a:gd name="T10" fmla="*/ 20 w 26"/>
                <a:gd name="T11" fmla="*/ 10 h 30"/>
                <a:gd name="T12" fmla="*/ 0 w 26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0"/>
                  </a:moveTo>
                  <a:cubicBezTo>
                    <a:pt x="2" y="10"/>
                    <a:pt x="5" y="20"/>
                    <a:pt x="7" y="30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1"/>
                    <a:pt x="22" y="10"/>
                    <a:pt x="20" y="10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rgbClr val="C585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1" name="Freeform 228">
              <a:extLst>
                <a:ext uri="{FF2B5EF4-FFF2-40B4-BE49-F238E27FC236}">
                  <a16:creationId xmlns:a16="http://schemas.microsoft.com/office/drawing/2014/main" id="{AE2B201F-52E3-4B87-83B0-4BC100E72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5400" y="2873375"/>
              <a:ext cx="92075" cy="549275"/>
            </a:xfrm>
            <a:custGeom>
              <a:avLst/>
              <a:gdLst>
                <a:gd name="T0" fmla="*/ 0 w 31"/>
                <a:gd name="T1" fmla="*/ 0 h 185"/>
                <a:gd name="T2" fmla="*/ 0 w 31"/>
                <a:gd name="T3" fmla="*/ 0 h 185"/>
                <a:gd name="T4" fmla="*/ 3 w 31"/>
                <a:gd name="T5" fmla="*/ 9 h 185"/>
                <a:gd name="T6" fmla="*/ 31 w 31"/>
                <a:gd name="T7" fmla="*/ 185 h 185"/>
                <a:gd name="T8" fmla="*/ 31 w 31"/>
                <a:gd name="T9" fmla="*/ 185 h 185"/>
                <a:gd name="T10" fmla="*/ 3 w 31"/>
                <a:gd name="T11" fmla="*/ 9 h 185"/>
                <a:gd name="T12" fmla="*/ 0 w 31"/>
                <a:gd name="T1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8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3" y="9"/>
                  </a:cubicBezTo>
                  <a:cubicBezTo>
                    <a:pt x="25" y="75"/>
                    <a:pt x="31" y="184"/>
                    <a:pt x="31" y="185"/>
                  </a:cubicBezTo>
                  <a:cubicBezTo>
                    <a:pt x="31" y="185"/>
                    <a:pt x="31" y="185"/>
                    <a:pt x="31" y="185"/>
                  </a:cubicBezTo>
                  <a:cubicBezTo>
                    <a:pt x="31" y="185"/>
                    <a:pt x="25" y="76"/>
                    <a:pt x="3" y="9"/>
                  </a:cubicBezTo>
                  <a:cubicBezTo>
                    <a:pt x="2" y="6"/>
                    <a:pt x="1" y="3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2" name="Freeform 229">
              <a:extLst>
                <a:ext uri="{FF2B5EF4-FFF2-40B4-BE49-F238E27FC236}">
                  <a16:creationId xmlns:a16="http://schemas.microsoft.com/office/drawing/2014/main" id="{6A6EEC27-9705-4F4B-AFE9-135C6BA19E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9213" y="3794125"/>
              <a:ext cx="74613" cy="534988"/>
            </a:xfrm>
            <a:custGeom>
              <a:avLst/>
              <a:gdLst>
                <a:gd name="T0" fmla="*/ 25 w 25"/>
                <a:gd name="T1" fmla="*/ 180 h 180"/>
                <a:gd name="T2" fmla="*/ 7 w 25"/>
                <a:gd name="T3" fmla="*/ 51 h 180"/>
                <a:gd name="T4" fmla="*/ 7 w 25"/>
                <a:gd name="T5" fmla="*/ 51 h 180"/>
                <a:gd name="T6" fmla="*/ 6 w 25"/>
                <a:gd name="T7" fmla="*/ 45 h 180"/>
                <a:gd name="T8" fmla="*/ 6 w 25"/>
                <a:gd name="T9" fmla="*/ 45 h 180"/>
                <a:gd name="T10" fmla="*/ 6 w 25"/>
                <a:gd name="T11" fmla="*/ 45 h 180"/>
                <a:gd name="T12" fmla="*/ 6 w 25"/>
                <a:gd name="T13" fmla="*/ 45 h 180"/>
                <a:gd name="T14" fmla="*/ 6 w 25"/>
                <a:gd name="T15" fmla="*/ 45 h 180"/>
                <a:gd name="T16" fmla="*/ 6 w 25"/>
                <a:gd name="T17" fmla="*/ 44 h 180"/>
                <a:gd name="T18" fmla="*/ 5 w 25"/>
                <a:gd name="T19" fmla="*/ 39 h 180"/>
                <a:gd name="T20" fmla="*/ 5 w 25"/>
                <a:gd name="T21" fmla="*/ 39 h 180"/>
                <a:gd name="T22" fmla="*/ 5 w 25"/>
                <a:gd name="T23" fmla="*/ 39 h 180"/>
                <a:gd name="T24" fmla="*/ 4 w 25"/>
                <a:gd name="T25" fmla="*/ 34 h 180"/>
                <a:gd name="T26" fmla="*/ 4 w 25"/>
                <a:gd name="T27" fmla="*/ 34 h 180"/>
                <a:gd name="T28" fmla="*/ 4 w 25"/>
                <a:gd name="T29" fmla="*/ 34 h 180"/>
                <a:gd name="T30" fmla="*/ 4 w 25"/>
                <a:gd name="T31" fmla="*/ 31 h 180"/>
                <a:gd name="T32" fmla="*/ 4 w 25"/>
                <a:gd name="T33" fmla="*/ 31 h 180"/>
                <a:gd name="T34" fmla="*/ 4 w 25"/>
                <a:gd name="T35" fmla="*/ 30 h 180"/>
                <a:gd name="T36" fmla="*/ 3 w 25"/>
                <a:gd name="T37" fmla="*/ 27 h 180"/>
                <a:gd name="T38" fmla="*/ 3 w 25"/>
                <a:gd name="T39" fmla="*/ 27 h 180"/>
                <a:gd name="T40" fmla="*/ 3 w 25"/>
                <a:gd name="T41" fmla="*/ 26 h 180"/>
                <a:gd name="T42" fmla="*/ 3 w 25"/>
                <a:gd name="T43" fmla="*/ 24 h 180"/>
                <a:gd name="T44" fmla="*/ 3 w 25"/>
                <a:gd name="T45" fmla="*/ 24 h 180"/>
                <a:gd name="T46" fmla="*/ 3 w 25"/>
                <a:gd name="T47" fmla="*/ 23 h 180"/>
                <a:gd name="T48" fmla="*/ 3 w 25"/>
                <a:gd name="T49" fmla="*/ 22 h 180"/>
                <a:gd name="T50" fmla="*/ 3 w 25"/>
                <a:gd name="T51" fmla="*/ 22 h 180"/>
                <a:gd name="T52" fmla="*/ 2 w 25"/>
                <a:gd name="T53" fmla="*/ 19 h 180"/>
                <a:gd name="T54" fmla="*/ 2 w 25"/>
                <a:gd name="T55" fmla="*/ 18 h 180"/>
                <a:gd name="T56" fmla="*/ 2 w 25"/>
                <a:gd name="T57" fmla="*/ 18 h 180"/>
                <a:gd name="T58" fmla="*/ 0 w 25"/>
                <a:gd name="T59" fmla="*/ 7 h 180"/>
                <a:gd name="T60" fmla="*/ 0 w 25"/>
                <a:gd name="T61" fmla="*/ 0 h 180"/>
                <a:gd name="T62" fmla="*/ 0 w 25"/>
                <a:gd name="T63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" h="180">
                  <a:moveTo>
                    <a:pt x="7" y="51"/>
                  </a:moveTo>
                  <a:cubicBezTo>
                    <a:pt x="13" y="94"/>
                    <a:pt x="19" y="138"/>
                    <a:pt x="25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19" y="138"/>
                    <a:pt x="13" y="94"/>
                    <a:pt x="7" y="51"/>
                  </a:cubicBezTo>
                  <a:moveTo>
                    <a:pt x="6" y="48"/>
                  </a:moveTo>
                  <a:cubicBezTo>
                    <a:pt x="6" y="49"/>
                    <a:pt x="7" y="50"/>
                    <a:pt x="7" y="51"/>
                  </a:cubicBezTo>
                  <a:cubicBezTo>
                    <a:pt x="7" y="50"/>
                    <a:pt x="6" y="49"/>
                    <a:pt x="6" y="48"/>
                  </a:cubicBezTo>
                  <a:moveTo>
                    <a:pt x="6" y="45"/>
                  </a:moveTo>
                  <a:cubicBezTo>
                    <a:pt x="6" y="46"/>
                    <a:pt x="6" y="47"/>
                    <a:pt x="6" y="47"/>
                  </a:cubicBezTo>
                  <a:cubicBezTo>
                    <a:pt x="6" y="47"/>
                    <a:pt x="6" y="46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moveTo>
                    <a:pt x="6" y="43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3"/>
                  </a:cubicBezTo>
                  <a:moveTo>
                    <a:pt x="5" y="39"/>
                  </a:moveTo>
                  <a:cubicBezTo>
                    <a:pt x="5" y="40"/>
                    <a:pt x="5" y="42"/>
                    <a:pt x="6" y="43"/>
                  </a:cubicBezTo>
                  <a:cubicBezTo>
                    <a:pt x="5" y="42"/>
                    <a:pt x="5" y="40"/>
                    <a:pt x="5" y="39"/>
                  </a:cubicBezTo>
                  <a:moveTo>
                    <a:pt x="5" y="38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8"/>
                  </a:cubicBezTo>
                  <a:moveTo>
                    <a:pt x="4" y="34"/>
                  </a:moveTo>
                  <a:cubicBezTo>
                    <a:pt x="5" y="36"/>
                    <a:pt x="5" y="37"/>
                    <a:pt x="5" y="38"/>
                  </a:cubicBezTo>
                  <a:cubicBezTo>
                    <a:pt x="5" y="37"/>
                    <a:pt x="5" y="36"/>
                    <a:pt x="4" y="34"/>
                  </a:cubicBezTo>
                  <a:moveTo>
                    <a:pt x="4" y="33"/>
                  </a:moveTo>
                  <a:cubicBezTo>
                    <a:pt x="4" y="33"/>
                    <a:pt x="4" y="34"/>
                    <a:pt x="4" y="34"/>
                  </a:cubicBezTo>
                  <a:cubicBezTo>
                    <a:pt x="4" y="34"/>
                    <a:pt x="4" y="33"/>
                    <a:pt x="4" y="33"/>
                  </a:cubicBezTo>
                  <a:moveTo>
                    <a:pt x="4" y="31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moveTo>
                    <a:pt x="4" y="30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moveTo>
                    <a:pt x="3" y="27"/>
                  </a:moveTo>
                  <a:cubicBezTo>
                    <a:pt x="3" y="27"/>
                    <a:pt x="3" y="27"/>
                    <a:pt x="3" y="28"/>
                  </a:cubicBezTo>
                  <a:cubicBezTo>
                    <a:pt x="3" y="27"/>
                    <a:pt x="3" y="27"/>
                    <a:pt x="3" y="27"/>
                  </a:cubicBezTo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moveTo>
                    <a:pt x="3" y="24"/>
                  </a:moveTo>
                  <a:cubicBezTo>
                    <a:pt x="3" y="24"/>
                    <a:pt x="3" y="25"/>
                    <a:pt x="3" y="26"/>
                  </a:cubicBezTo>
                  <a:cubicBezTo>
                    <a:pt x="3" y="25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2" y="18"/>
                  </a:moveTo>
                  <a:cubicBezTo>
                    <a:pt x="2" y="18"/>
                    <a:pt x="2" y="19"/>
                    <a:pt x="2" y="19"/>
                  </a:cubicBezTo>
                  <a:cubicBezTo>
                    <a:pt x="2" y="19"/>
                    <a:pt x="2" y="18"/>
                    <a:pt x="2" y="18"/>
                  </a:cubicBezTo>
                  <a:moveTo>
                    <a:pt x="2" y="18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moveTo>
                    <a:pt x="0" y="6"/>
                  </a:move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153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3" name="Freeform 230">
              <a:extLst>
                <a:ext uri="{FF2B5EF4-FFF2-40B4-BE49-F238E27FC236}">
                  <a16:creationId xmlns:a16="http://schemas.microsoft.com/office/drawing/2014/main" id="{17D71A77-4308-4E1C-88D6-006D1375E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825" y="4329113"/>
              <a:ext cx="101600" cy="730250"/>
            </a:xfrm>
            <a:custGeom>
              <a:avLst/>
              <a:gdLst>
                <a:gd name="T0" fmla="*/ 0 w 34"/>
                <a:gd name="T1" fmla="*/ 0 h 246"/>
                <a:gd name="T2" fmla="*/ 0 w 34"/>
                <a:gd name="T3" fmla="*/ 0 h 246"/>
                <a:gd name="T4" fmla="*/ 34 w 34"/>
                <a:gd name="T5" fmla="*/ 246 h 246"/>
                <a:gd name="T6" fmla="*/ 0 w 34"/>
                <a:gd name="T7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09"/>
                    <a:pt x="28" y="204"/>
                    <a:pt x="34" y="246"/>
                  </a:cubicBezTo>
                  <a:cubicBezTo>
                    <a:pt x="28" y="204"/>
                    <a:pt x="15" y="109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4" name="Freeform 231">
              <a:extLst>
                <a:ext uri="{FF2B5EF4-FFF2-40B4-BE49-F238E27FC236}">
                  <a16:creationId xmlns:a16="http://schemas.microsoft.com/office/drawing/2014/main" id="{82913779-D6FB-41B5-918D-0B2D96377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9413" y="4349750"/>
              <a:ext cx="20638" cy="646113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191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5" name="Freeform 232">
              <a:extLst>
                <a:ext uri="{FF2B5EF4-FFF2-40B4-BE49-F238E27FC236}">
                  <a16:creationId xmlns:a16="http://schemas.microsoft.com/office/drawing/2014/main" id="{C408F588-F5F2-4340-B6DF-380EEFE90C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9413" y="4349750"/>
              <a:ext cx="20638" cy="646113"/>
            </a:xfrm>
            <a:custGeom>
              <a:avLst/>
              <a:gdLst>
                <a:gd name="T0" fmla="*/ 13 w 13"/>
                <a:gd name="T1" fmla="*/ 0 h 407"/>
                <a:gd name="T2" fmla="*/ 13 w 13"/>
                <a:gd name="T3" fmla="*/ 0 h 407"/>
                <a:gd name="T4" fmla="*/ 0 w 13"/>
                <a:gd name="T5" fmla="*/ 407 h 407"/>
                <a:gd name="T6" fmla="*/ 0 w 13"/>
                <a:gd name="T7" fmla="*/ 407 h 407"/>
                <a:gd name="T8" fmla="*/ 13 w 1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07">
                  <a:moveTo>
                    <a:pt x="13" y="0"/>
                  </a:moveTo>
                  <a:lnTo>
                    <a:pt x="13" y="0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6" name="Freeform 233">
              <a:extLst>
                <a:ext uri="{FF2B5EF4-FFF2-40B4-BE49-F238E27FC236}">
                  <a16:creationId xmlns:a16="http://schemas.microsoft.com/office/drawing/2014/main" id="{53A8EECC-996E-49E6-89BD-D17F42E097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75425" y="5062538"/>
              <a:ext cx="7938" cy="69850"/>
            </a:xfrm>
            <a:custGeom>
              <a:avLst/>
              <a:gdLst>
                <a:gd name="T0" fmla="*/ 3 w 3"/>
                <a:gd name="T1" fmla="*/ 24 h 24"/>
                <a:gd name="T2" fmla="*/ 3 w 3"/>
                <a:gd name="T3" fmla="*/ 24 h 24"/>
                <a:gd name="T4" fmla="*/ 3 w 3"/>
                <a:gd name="T5" fmla="*/ 24 h 24"/>
                <a:gd name="T6" fmla="*/ 3 w 3"/>
                <a:gd name="T7" fmla="*/ 24 h 24"/>
                <a:gd name="T8" fmla="*/ 3 w 3"/>
                <a:gd name="T9" fmla="*/ 24 h 24"/>
                <a:gd name="T10" fmla="*/ 3 w 3"/>
                <a:gd name="T11" fmla="*/ 24 h 24"/>
                <a:gd name="T12" fmla="*/ 3 w 3"/>
                <a:gd name="T13" fmla="*/ 24 h 24"/>
                <a:gd name="T14" fmla="*/ 3 w 3"/>
                <a:gd name="T15" fmla="*/ 24 h 24"/>
                <a:gd name="T16" fmla="*/ 3 w 3"/>
                <a:gd name="T17" fmla="*/ 24 h 24"/>
                <a:gd name="T18" fmla="*/ 3 w 3"/>
                <a:gd name="T19" fmla="*/ 24 h 24"/>
                <a:gd name="T20" fmla="*/ 3 w 3"/>
                <a:gd name="T21" fmla="*/ 24 h 24"/>
                <a:gd name="T22" fmla="*/ 3 w 3"/>
                <a:gd name="T23" fmla="*/ 24 h 24"/>
                <a:gd name="T24" fmla="*/ 3 w 3"/>
                <a:gd name="T25" fmla="*/ 24 h 24"/>
                <a:gd name="T26" fmla="*/ 3 w 3"/>
                <a:gd name="T27" fmla="*/ 24 h 24"/>
                <a:gd name="T28" fmla="*/ 3 w 3"/>
                <a:gd name="T29" fmla="*/ 24 h 24"/>
                <a:gd name="T30" fmla="*/ 3 w 3"/>
                <a:gd name="T31" fmla="*/ 24 h 24"/>
                <a:gd name="T32" fmla="*/ 3 w 3"/>
                <a:gd name="T33" fmla="*/ 24 h 24"/>
                <a:gd name="T34" fmla="*/ 3 w 3"/>
                <a:gd name="T35" fmla="*/ 24 h 24"/>
                <a:gd name="T36" fmla="*/ 3 w 3"/>
                <a:gd name="T37" fmla="*/ 24 h 24"/>
                <a:gd name="T38" fmla="*/ 3 w 3"/>
                <a:gd name="T39" fmla="*/ 23 h 24"/>
                <a:gd name="T40" fmla="*/ 3 w 3"/>
                <a:gd name="T41" fmla="*/ 23 h 24"/>
                <a:gd name="T42" fmla="*/ 3 w 3"/>
                <a:gd name="T43" fmla="*/ 23 h 24"/>
                <a:gd name="T44" fmla="*/ 3 w 3"/>
                <a:gd name="T45" fmla="*/ 23 h 24"/>
                <a:gd name="T46" fmla="*/ 3 w 3"/>
                <a:gd name="T47" fmla="*/ 23 h 24"/>
                <a:gd name="T48" fmla="*/ 3 w 3"/>
                <a:gd name="T49" fmla="*/ 23 h 24"/>
                <a:gd name="T50" fmla="*/ 3 w 3"/>
                <a:gd name="T51" fmla="*/ 23 h 24"/>
                <a:gd name="T52" fmla="*/ 3 w 3"/>
                <a:gd name="T53" fmla="*/ 23 h 24"/>
                <a:gd name="T54" fmla="*/ 3 w 3"/>
                <a:gd name="T55" fmla="*/ 23 h 24"/>
                <a:gd name="T56" fmla="*/ 3 w 3"/>
                <a:gd name="T57" fmla="*/ 23 h 24"/>
                <a:gd name="T58" fmla="*/ 3 w 3"/>
                <a:gd name="T59" fmla="*/ 23 h 24"/>
                <a:gd name="T60" fmla="*/ 3 w 3"/>
                <a:gd name="T61" fmla="*/ 23 h 24"/>
                <a:gd name="T62" fmla="*/ 3 w 3"/>
                <a:gd name="T63" fmla="*/ 23 h 24"/>
                <a:gd name="T64" fmla="*/ 3 w 3"/>
                <a:gd name="T65" fmla="*/ 23 h 24"/>
                <a:gd name="T66" fmla="*/ 3 w 3"/>
                <a:gd name="T67" fmla="*/ 22 h 24"/>
                <a:gd name="T68" fmla="*/ 3 w 3"/>
                <a:gd name="T69" fmla="*/ 21 h 24"/>
                <a:gd name="T70" fmla="*/ 3 w 3"/>
                <a:gd name="T71" fmla="*/ 21 h 24"/>
                <a:gd name="T72" fmla="*/ 3 w 3"/>
                <a:gd name="T73" fmla="*/ 21 h 24"/>
                <a:gd name="T74" fmla="*/ 3 w 3"/>
                <a:gd name="T75" fmla="*/ 21 h 24"/>
                <a:gd name="T76" fmla="*/ 3 w 3"/>
                <a:gd name="T77" fmla="*/ 21 h 24"/>
                <a:gd name="T78" fmla="*/ 3 w 3"/>
                <a:gd name="T79" fmla="*/ 21 h 24"/>
                <a:gd name="T80" fmla="*/ 3 w 3"/>
                <a:gd name="T81" fmla="*/ 20 h 24"/>
                <a:gd name="T82" fmla="*/ 3 w 3"/>
                <a:gd name="T83" fmla="*/ 20 h 24"/>
                <a:gd name="T84" fmla="*/ 2 w 3"/>
                <a:gd name="T85" fmla="*/ 17 h 24"/>
                <a:gd name="T86" fmla="*/ 2 w 3"/>
                <a:gd name="T87" fmla="*/ 17 h 24"/>
                <a:gd name="T88" fmla="*/ 2 w 3"/>
                <a:gd name="T89" fmla="*/ 16 h 24"/>
                <a:gd name="T90" fmla="*/ 2 w 3"/>
                <a:gd name="T91" fmla="*/ 16 h 24"/>
                <a:gd name="T92" fmla="*/ 2 w 3"/>
                <a:gd name="T93" fmla="*/ 15 h 24"/>
                <a:gd name="T94" fmla="*/ 2 w 3"/>
                <a:gd name="T95" fmla="*/ 15 h 24"/>
                <a:gd name="T96" fmla="*/ 2 w 3"/>
                <a:gd name="T97" fmla="*/ 14 h 24"/>
                <a:gd name="T98" fmla="*/ 2 w 3"/>
                <a:gd name="T99" fmla="*/ 13 h 24"/>
                <a:gd name="T100" fmla="*/ 2 w 3"/>
                <a:gd name="T101" fmla="*/ 13 h 24"/>
                <a:gd name="T102" fmla="*/ 1 w 3"/>
                <a:gd name="T103" fmla="*/ 11 h 24"/>
                <a:gd name="T104" fmla="*/ 1 w 3"/>
                <a:gd name="T10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3" y="23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moveTo>
                    <a:pt x="3" y="22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2"/>
                  </a:cubicBezTo>
                  <a:moveTo>
                    <a:pt x="3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moveTo>
                    <a:pt x="3" y="20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0"/>
                  </a:cubicBezTo>
                  <a:moveTo>
                    <a:pt x="3" y="20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2" y="17"/>
                  </a:moveTo>
                  <a:cubicBezTo>
                    <a:pt x="2" y="18"/>
                    <a:pt x="3" y="19"/>
                    <a:pt x="3" y="20"/>
                  </a:cubicBezTo>
                  <a:cubicBezTo>
                    <a:pt x="3" y="19"/>
                    <a:pt x="2" y="18"/>
                    <a:pt x="2" y="17"/>
                  </a:cubicBezTo>
                  <a:moveTo>
                    <a:pt x="2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moveTo>
                    <a:pt x="2" y="16"/>
                  </a:moveTo>
                  <a:cubicBezTo>
                    <a:pt x="2" y="16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moveTo>
                    <a:pt x="2" y="15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5"/>
                  </a:cubicBezTo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moveTo>
                    <a:pt x="2" y="14"/>
                  </a:moveTo>
                  <a:cubicBezTo>
                    <a:pt x="2" y="14"/>
                    <a:pt x="2" y="14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moveTo>
                    <a:pt x="2" y="13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3"/>
                  </a:cubicBezTo>
                  <a:moveTo>
                    <a:pt x="2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moveTo>
                    <a:pt x="1" y="11"/>
                  </a:moveTo>
                  <a:cubicBezTo>
                    <a:pt x="2" y="12"/>
                    <a:pt x="2" y="12"/>
                    <a:pt x="2" y="13"/>
                  </a:cubicBezTo>
                  <a:cubicBezTo>
                    <a:pt x="2" y="12"/>
                    <a:pt x="2" y="12"/>
                    <a:pt x="1" y="11"/>
                  </a:cubicBezTo>
                  <a:moveTo>
                    <a:pt x="1" y="6"/>
                  </a:moveTo>
                  <a:cubicBezTo>
                    <a:pt x="1" y="8"/>
                    <a:pt x="1" y="9"/>
                    <a:pt x="1" y="11"/>
                  </a:cubicBezTo>
                  <a:cubicBezTo>
                    <a:pt x="1" y="9"/>
                    <a:pt x="1" y="8"/>
                    <a:pt x="1" y="6"/>
                  </a:cubicBezTo>
                  <a:moveTo>
                    <a:pt x="0" y="0"/>
                  </a:moveTo>
                  <a:cubicBezTo>
                    <a:pt x="0" y="2"/>
                    <a:pt x="0" y="4"/>
                    <a:pt x="1" y="6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1214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7" name="Freeform 234">
              <a:extLst>
                <a:ext uri="{FF2B5EF4-FFF2-40B4-BE49-F238E27FC236}">
                  <a16:creationId xmlns:a16="http://schemas.microsoft.com/office/drawing/2014/main" id="{83315921-0659-447E-97E8-05E58644C6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51475" y="4995863"/>
              <a:ext cx="7938" cy="204788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69 h 69"/>
                <a:gd name="T4" fmla="*/ 1 w 3"/>
                <a:gd name="T5" fmla="*/ 69 h 69"/>
                <a:gd name="T6" fmla="*/ 1 w 3"/>
                <a:gd name="T7" fmla="*/ 68 h 69"/>
                <a:gd name="T8" fmla="*/ 1 w 3"/>
                <a:gd name="T9" fmla="*/ 69 h 69"/>
                <a:gd name="T10" fmla="*/ 1 w 3"/>
                <a:gd name="T11" fmla="*/ 68 h 69"/>
                <a:gd name="T12" fmla="*/ 1 w 3"/>
                <a:gd name="T13" fmla="*/ 68 h 69"/>
                <a:gd name="T14" fmla="*/ 1 w 3"/>
                <a:gd name="T15" fmla="*/ 68 h 69"/>
                <a:gd name="T16" fmla="*/ 1 w 3"/>
                <a:gd name="T17" fmla="*/ 68 h 69"/>
                <a:gd name="T18" fmla="*/ 1 w 3"/>
                <a:gd name="T19" fmla="*/ 68 h 69"/>
                <a:gd name="T20" fmla="*/ 1 w 3"/>
                <a:gd name="T21" fmla="*/ 68 h 69"/>
                <a:gd name="T22" fmla="*/ 1 w 3"/>
                <a:gd name="T23" fmla="*/ 68 h 69"/>
                <a:gd name="T24" fmla="*/ 1 w 3"/>
                <a:gd name="T25" fmla="*/ 68 h 69"/>
                <a:gd name="T26" fmla="*/ 1 w 3"/>
                <a:gd name="T27" fmla="*/ 68 h 69"/>
                <a:gd name="T28" fmla="*/ 1 w 3"/>
                <a:gd name="T29" fmla="*/ 68 h 69"/>
                <a:gd name="T30" fmla="*/ 1 w 3"/>
                <a:gd name="T31" fmla="*/ 68 h 69"/>
                <a:gd name="T32" fmla="*/ 1 w 3"/>
                <a:gd name="T33" fmla="*/ 68 h 69"/>
                <a:gd name="T34" fmla="*/ 1 w 3"/>
                <a:gd name="T35" fmla="*/ 68 h 69"/>
                <a:gd name="T36" fmla="*/ 1 w 3"/>
                <a:gd name="T37" fmla="*/ 68 h 69"/>
                <a:gd name="T38" fmla="*/ 1 w 3"/>
                <a:gd name="T39" fmla="*/ 68 h 69"/>
                <a:gd name="T40" fmla="*/ 1 w 3"/>
                <a:gd name="T41" fmla="*/ 68 h 69"/>
                <a:gd name="T42" fmla="*/ 0 w 3"/>
                <a:gd name="T43" fmla="*/ 68 h 69"/>
                <a:gd name="T44" fmla="*/ 0 w 3"/>
                <a:gd name="T45" fmla="*/ 68 h 69"/>
                <a:gd name="T46" fmla="*/ 0 w 3"/>
                <a:gd name="T47" fmla="*/ 68 h 69"/>
                <a:gd name="T48" fmla="*/ 3 w 3"/>
                <a:gd name="T49" fmla="*/ 0 h 69"/>
                <a:gd name="T50" fmla="*/ 0 w 3"/>
                <a:gd name="T51" fmla="*/ 67 h 69"/>
                <a:gd name="T52" fmla="*/ 0 w 3"/>
                <a:gd name="T53" fmla="*/ 67 h 69"/>
                <a:gd name="T54" fmla="*/ 3 w 3"/>
                <a:gd name="T55" fmla="*/ 0 h 69"/>
                <a:gd name="T56" fmla="*/ 3 w 3"/>
                <a:gd name="T5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9"/>
                  </a:cubicBezTo>
                  <a:moveTo>
                    <a:pt x="1" y="68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1" y="68"/>
                  </a:move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moveTo>
                    <a:pt x="0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moveTo>
                    <a:pt x="3" y="0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1314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8" name="Freeform 235">
              <a:extLst>
                <a:ext uri="{FF2B5EF4-FFF2-40B4-BE49-F238E27FC236}">
                  <a16:creationId xmlns:a16="http://schemas.microsoft.com/office/drawing/2014/main" id="{CC78816B-162E-450E-91FF-8BB951803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1475" y="3455988"/>
              <a:ext cx="1131888" cy="1897063"/>
            </a:xfrm>
            <a:custGeom>
              <a:avLst/>
              <a:gdLst>
                <a:gd name="T0" fmla="*/ 105 w 381"/>
                <a:gd name="T1" fmla="*/ 173 h 639"/>
                <a:gd name="T2" fmla="*/ 202 w 381"/>
                <a:gd name="T3" fmla="*/ 397 h 639"/>
                <a:gd name="T4" fmla="*/ 53 w 381"/>
                <a:gd name="T5" fmla="*/ 243 h 639"/>
                <a:gd name="T6" fmla="*/ 0 w 381"/>
                <a:gd name="T7" fmla="*/ 586 h 639"/>
                <a:gd name="T8" fmla="*/ 1 w 381"/>
                <a:gd name="T9" fmla="*/ 587 h 639"/>
                <a:gd name="T10" fmla="*/ 1 w 381"/>
                <a:gd name="T11" fmla="*/ 587 h 639"/>
                <a:gd name="T12" fmla="*/ 1 w 381"/>
                <a:gd name="T13" fmla="*/ 587 h 639"/>
                <a:gd name="T14" fmla="*/ 1 w 381"/>
                <a:gd name="T15" fmla="*/ 587 h 639"/>
                <a:gd name="T16" fmla="*/ 1 w 381"/>
                <a:gd name="T17" fmla="*/ 588 h 639"/>
                <a:gd name="T18" fmla="*/ 89 w 381"/>
                <a:gd name="T19" fmla="*/ 636 h 639"/>
                <a:gd name="T20" fmla="*/ 205 w 381"/>
                <a:gd name="T21" fmla="*/ 637 h 639"/>
                <a:gd name="T22" fmla="*/ 381 w 381"/>
                <a:gd name="T23" fmla="*/ 565 h 639"/>
                <a:gd name="T24" fmla="*/ 381 w 381"/>
                <a:gd name="T25" fmla="*/ 565 h 639"/>
                <a:gd name="T26" fmla="*/ 381 w 381"/>
                <a:gd name="T27" fmla="*/ 565 h 639"/>
                <a:gd name="T28" fmla="*/ 381 w 381"/>
                <a:gd name="T29" fmla="*/ 565 h 639"/>
                <a:gd name="T30" fmla="*/ 381 w 381"/>
                <a:gd name="T31" fmla="*/ 565 h 639"/>
                <a:gd name="T32" fmla="*/ 381 w 381"/>
                <a:gd name="T33" fmla="*/ 565 h 639"/>
                <a:gd name="T34" fmla="*/ 381 w 381"/>
                <a:gd name="T35" fmla="*/ 565 h 639"/>
                <a:gd name="T36" fmla="*/ 381 w 381"/>
                <a:gd name="T37" fmla="*/ 565 h 639"/>
                <a:gd name="T38" fmla="*/ 381 w 381"/>
                <a:gd name="T39" fmla="*/ 565 h 639"/>
                <a:gd name="T40" fmla="*/ 381 w 381"/>
                <a:gd name="T41" fmla="*/ 565 h 639"/>
                <a:gd name="T42" fmla="*/ 381 w 381"/>
                <a:gd name="T43" fmla="*/ 565 h 639"/>
                <a:gd name="T44" fmla="*/ 381 w 381"/>
                <a:gd name="T45" fmla="*/ 565 h 639"/>
                <a:gd name="T46" fmla="*/ 381 w 381"/>
                <a:gd name="T47" fmla="*/ 565 h 639"/>
                <a:gd name="T48" fmla="*/ 381 w 381"/>
                <a:gd name="T49" fmla="*/ 564 h 639"/>
                <a:gd name="T50" fmla="*/ 381 w 381"/>
                <a:gd name="T51" fmla="*/ 564 h 639"/>
                <a:gd name="T52" fmla="*/ 381 w 381"/>
                <a:gd name="T53" fmla="*/ 564 h 639"/>
                <a:gd name="T54" fmla="*/ 381 w 381"/>
                <a:gd name="T55" fmla="*/ 564 h 639"/>
                <a:gd name="T56" fmla="*/ 381 w 381"/>
                <a:gd name="T57" fmla="*/ 564 h 639"/>
                <a:gd name="T58" fmla="*/ 381 w 381"/>
                <a:gd name="T59" fmla="*/ 564 h 639"/>
                <a:gd name="T60" fmla="*/ 381 w 381"/>
                <a:gd name="T61" fmla="*/ 564 h 639"/>
                <a:gd name="T62" fmla="*/ 381 w 381"/>
                <a:gd name="T63" fmla="*/ 564 h 639"/>
                <a:gd name="T64" fmla="*/ 381 w 381"/>
                <a:gd name="T65" fmla="*/ 564 h 639"/>
                <a:gd name="T66" fmla="*/ 381 w 381"/>
                <a:gd name="T67" fmla="*/ 563 h 639"/>
                <a:gd name="T68" fmla="*/ 381 w 381"/>
                <a:gd name="T69" fmla="*/ 562 h 639"/>
                <a:gd name="T70" fmla="*/ 381 w 381"/>
                <a:gd name="T71" fmla="*/ 562 h 639"/>
                <a:gd name="T72" fmla="*/ 381 w 381"/>
                <a:gd name="T73" fmla="*/ 562 h 639"/>
                <a:gd name="T74" fmla="*/ 381 w 381"/>
                <a:gd name="T75" fmla="*/ 562 h 639"/>
                <a:gd name="T76" fmla="*/ 381 w 381"/>
                <a:gd name="T77" fmla="*/ 561 h 639"/>
                <a:gd name="T78" fmla="*/ 380 w 381"/>
                <a:gd name="T79" fmla="*/ 558 h 639"/>
                <a:gd name="T80" fmla="*/ 380 w 381"/>
                <a:gd name="T81" fmla="*/ 557 h 639"/>
                <a:gd name="T82" fmla="*/ 380 w 381"/>
                <a:gd name="T83" fmla="*/ 557 h 639"/>
                <a:gd name="T84" fmla="*/ 380 w 381"/>
                <a:gd name="T85" fmla="*/ 556 h 639"/>
                <a:gd name="T86" fmla="*/ 380 w 381"/>
                <a:gd name="T87" fmla="*/ 555 h 639"/>
                <a:gd name="T88" fmla="*/ 380 w 381"/>
                <a:gd name="T89" fmla="*/ 554 h 639"/>
                <a:gd name="T90" fmla="*/ 379 w 381"/>
                <a:gd name="T91" fmla="*/ 552 h 639"/>
                <a:gd name="T92" fmla="*/ 378 w 381"/>
                <a:gd name="T93" fmla="*/ 541 h 639"/>
                <a:gd name="T94" fmla="*/ 344 w 381"/>
                <a:gd name="T95" fmla="*/ 294 h 639"/>
                <a:gd name="T96" fmla="*/ 325 w 381"/>
                <a:gd name="T97" fmla="*/ 162 h 639"/>
                <a:gd name="T98" fmla="*/ 325 w 381"/>
                <a:gd name="T99" fmla="*/ 159 h 639"/>
                <a:gd name="T100" fmla="*/ 325 w 381"/>
                <a:gd name="T101" fmla="*/ 159 h 639"/>
                <a:gd name="T102" fmla="*/ 325 w 381"/>
                <a:gd name="T103" fmla="*/ 157 h 639"/>
                <a:gd name="T104" fmla="*/ 324 w 381"/>
                <a:gd name="T105" fmla="*/ 152 h 639"/>
                <a:gd name="T106" fmla="*/ 323 w 381"/>
                <a:gd name="T107" fmla="*/ 148 h 639"/>
                <a:gd name="T108" fmla="*/ 323 w 381"/>
                <a:gd name="T109" fmla="*/ 145 h 639"/>
                <a:gd name="T110" fmla="*/ 322 w 381"/>
                <a:gd name="T111" fmla="*/ 142 h 639"/>
                <a:gd name="T112" fmla="*/ 322 w 381"/>
                <a:gd name="T113" fmla="*/ 140 h 639"/>
                <a:gd name="T114" fmla="*/ 322 w 381"/>
                <a:gd name="T115" fmla="*/ 137 h 639"/>
                <a:gd name="T116" fmla="*/ 322 w 381"/>
                <a:gd name="T117" fmla="*/ 136 h 639"/>
                <a:gd name="T118" fmla="*/ 321 w 381"/>
                <a:gd name="T119" fmla="*/ 132 h 639"/>
                <a:gd name="T120" fmla="*/ 319 w 381"/>
                <a:gd name="T121" fmla="*/ 120 h 639"/>
                <a:gd name="T122" fmla="*/ 302 w 381"/>
                <a:gd name="T123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1" h="639">
                  <a:moveTo>
                    <a:pt x="302" y="0"/>
                  </a:moveTo>
                  <a:cubicBezTo>
                    <a:pt x="173" y="38"/>
                    <a:pt x="173" y="38"/>
                    <a:pt x="173" y="38"/>
                  </a:cubicBezTo>
                  <a:cubicBezTo>
                    <a:pt x="159" y="85"/>
                    <a:pt x="137" y="130"/>
                    <a:pt x="105" y="173"/>
                  </a:cubicBezTo>
                  <a:cubicBezTo>
                    <a:pt x="88" y="196"/>
                    <a:pt x="71" y="219"/>
                    <a:pt x="54" y="242"/>
                  </a:cubicBezTo>
                  <a:cubicBezTo>
                    <a:pt x="57" y="247"/>
                    <a:pt x="61" y="253"/>
                    <a:pt x="66" y="258"/>
                  </a:cubicBezTo>
                  <a:cubicBezTo>
                    <a:pt x="119" y="318"/>
                    <a:pt x="210" y="397"/>
                    <a:pt x="202" y="397"/>
                  </a:cubicBezTo>
                  <a:cubicBezTo>
                    <a:pt x="201" y="397"/>
                    <a:pt x="197" y="395"/>
                    <a:pt x="191" y="391"/>
                  </a:cubicBezTo>
                  <a:cubicBezTo>
                    <a:pt x="152" y="366"/>
                    <a:pt x="100" y="303"/>
                    <a:pt x="66" y="258"/>
                  </a:cubicBezTo>
                  <a:cubicBezTo>
                    <a:pt x="61" y="253"/>
                    <a:pt x="57" y="248"/>
                    <a:pt x="53" y="243"/>
                  </a:cubicBezTo>
                  <a:cubicBezTo>
                    <a:pt x="38" y="263"/>
                    <a:pt x="24" y="282"/>
                    <a:pt x="10" y="301"/>
                  </a:cubicBezTo>
                  <a:cubicBezTo>
                    <a:pt x="3" y="519"/>
                    <a:pt x="3" y="519"/>
                    <a:pt x="3" y="519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0" y="586"/>
                    <a:pt x="0" y="587"/>
                    <a:pt x="0" y="58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0" y="587"/>
                    <a:pt x="0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7"/>
                    <a:pt x="1" y="587"/>
                    <a:pt x="1" y="587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1" y="588"/>
                    <a:pt x="1" y="588"/>
                    <a:pt x="1" y="588"/>
                  </a:cubicBezTo>
                  <a:cubicBezTo>
                    <a:pt x="22" y="614"/>
                    <a:pt x="48" y="629"/>
                    <a:pt x="76" y="638"/>
                  </a:cubicBezTo>
                  <a:cubicBezTo>
                    <a:pt x="80" y="637"/>
                    <a:pt x="85" y="636"/>
                    <a:pt x="89" y="636"/>
                  </a:cubicBezTo>
                  <a:cubicBezTo>
                    <a:pt x="100" y="633"/>
                    <a:pt x="110" y="632"/>
                    <a:pt x="121" y="632"/>
                  </a:cubicBezTo>
                  <a:cubicBezTo>
                    <a:pt x="146" y="632"/>
                    <a:pt x="170" y="637"/>
                    <a:pt x="194" y="639"/>
                  </a:cubicBezTo>
                  <a:cubicBezTo>
                    <a:pt x="197" y="639"/>
                    <a:pt x="201" y="638"/>
                    <a:pt x="205" y="637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263" y="620"/>
                    <a:pt x="263" y="620"/>
                    <a:pt x="263" y="620"/>
                  </a:cubicBezTo>
                  <a:cubicBezTo>
                    <a:pt x="328" y="597"/>
                    <a:pt x="378" y="567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5"/>
                  </a:cubicBezTo>
                  <a:cubicBezTo>
                    <a:pt x="381" y="565"/>
                    <a:pt x="381" y="565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4"/>
                  </a:cubicBezTo>
                  <a:cubicBezTo>
                    <a:pt x="381" y="564"/>
                    <a:pt x="381" y="564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3"/>
                    <a:pt x="381" y="563"/>
                  </a:cubicBezTo>
                  <a:cubicBezTo>
                    <a:pt x="381" y="563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2"/>
                  </a:cubicBezTo>
                  <a:cubicBezTo>
                    <a:pt x="381" y="562"/>
                    <a:pt x="381" y="562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381" y="560"/>
                    <a:pt x="380" y="559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8"/>
                    <a:pt x="380" y="558"/>
                  </a:cubicBezTo>
                  <a:cubicBezTo>
                    <a:pt x="380" y="558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7"/>
                  </a:cubicBezTo>
                  <a:cubicBezTo>
                    <a:pt x="380" y="557"/>
                    <a:pt x="380" y="557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6"/>
                    <a:pt x="380" y="556"/>
                    <a:pt x="380" y="556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5"/>
                  </a:cubicBezTo>
                  <a:cubicBezTo>
                    <a:pt x="380" y="555"/>
                    <a:pt x="380" y="555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4"/>
                    <a:pt x="380" y="554"/>
                    <a:pt x="380" y="554"/>
                  </a:cubicBezTo>
                  <a:cubicBezTo>
                    <a:pt x="380" y="553"/>
                    <a:pt x="380" y="553"/>
                    <a:pt x="379" y="552"/>
                  </a:cubicBezTo>
                  <a:cubicBezTo>
                    <a:pt x="379" y="552"/>
                    <a:pt x="379" y="552"/>
                    <a:pt x="379" y="552"/>
                  </a:cubicBezTo>
                  <a:cubicBezTo>
                    <a:pt x="379" y="550"/>
                    <a:pt x="379" y="549"/>
                    <a:pt x="379" y="547"/>
                  </a:cubicBezTo>
                  <a:cubicBezTo>
                    <a:pt x="379" y="547"/>
                    <a:pt x="379" y="547"/>
                    <a:pt x="379" y="547"/>
                  </a:cubicBezTo>
                  <a:cubicBezTo>
                    <a:pt x="378" y="545"/>
                    <a:pt x="378" y="543"/>
                    <a:pt x="378" y="541"/>
                  </a:cubicBezTo>
                  <a:cubicBezTo>
                    <a:pt x="378" y="541"/>
                    <a:pt x="378" y="541"/>
                    <a:pt x="378" y="540"/>
                  </a:cubicBezTo>
                  <a:cubicBezTo>
                    <a:pt x="372" y="498"/>
                    <a:pt x="359" y="403"/>
                    <a:pt x="344" y="294"/>
                  </a:cubicBezTo>
                  <a:cubicBezTo>
                    <a:pt x="344" y="294"/>
                    <a:pt x="344" y="294"/>
                    <a:pt x="344" y="294"/>
                  </a:cubicBezTo>
                  <a:cubicBezTo>
                    <a:pt x="338" y="252"/>
                    <a:pt x="332" y="208"/>
                    <a:pt x="326" y="165"/>
                  </a:cubicBezTo>
                  <a:cubicBezTo>
                    <a:pt x="326" y="165"/>
                    <a:pt x="326" y="165"/>
                    <a:pt x="326" y="165"/>
                  </a:cubicBezTo>
                  <a:cubicBezTo>
                    <a:pt x="326" y="164"/>
                    <a:pt x="325" y="163"/>
                    <a:pt x="325" y="162"/>
                  </a:cubicBezTo>
                  <a:cubicBezTo>
                    <a:pt x="325" y="162"/>
                    <a:pt x="325" y="161"/>
                    <a:pt x="325" y="161"/>
                  </a:cubicBezTo>
                  <a:cubicBezTo>
                    <a:pt x="325" y="161"/>
                    <a:pt x="325" y="160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9"/>
                    <a:pt x="325" y="159"/>
                    <a:pt x="325" y="159"/>
                  </a:cubicBezTo>
                  <a:cubicBezTo>
                    <a:pt x="325" y="158"/>
                    <a:pt x="325" y="158"/>
                    <a:pt x="325" y="158"/>
                  </a:cubicBezTo>
                  <a:cubicBezTo>
                    <a:pt x="325" y="158"/>
                    <a:pt x="325" y="158"/>
                    <a:pt x="325" y="157"/>
                  </a:cubicBezTo>
                  <a:cubicBezTo>
                    <a:pt x="325" y="157"/>
                    <a:pt x="325" y="157"/>
                    <a:pt x="325" y="157"/>
                  </a:cubicBezTo>
                  <a:cubicBezTo>
                    <a:pt x="324" y="156"/>
                    <a:pt x="324" y="154"/>
                    <a:pt x="324" y="153"/>
                  </a:cubicBezTo>
                  <a:cubicBezTo>
                    <a:pt x="324" y="153"/>
                    <a:pt x="324" y="153"/>
                    <a:pt x="324" y="153"/>
                  </a:cubicBezTo>
                  <a:cubicBezTo>
                    <a:pt x="324" y="153"/>
                    <a:pt x="324" y="153"/>
                    <a:pt x="324" y="152"/>
                  </a:cubicBezTo>
                  <a:cubicBezTo>
                    <a:pt x="324" y="152"/>
                    <a:pt x="324" y="152"/>
                    <a:pt x="324" y="152"/>
                  </a:cubicBezTo>
                  <a:cubicBezTo>
                    <a:pt x="324" y="151"/>
                    <a:pt x="324" y="150"/>
                    <a:pt x="323" y="148"/>
                  </a:cubicBezTo>
                  <a:cubicBezTo>
                    <a:pt x="323" y="148"/>
                    <a:pt x="323" y="148"/>
                    <a:pt x="323" y="148"/>
                  </a:cubicBezTo>
                  <a:cubicBezTo>
                    <a:pt x="323" y="148"/>
                    <a:pt x="323" y="147"/>
                    <a:pt x="323" y="147"/>
                  </a:cubicBezTo>
                  <a:cubicBezTo>
                    <a:pt x="323" y="146"/>
                    <a:pt x="323" y="145"/>
                    <a:pt x="323" y="145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3" y="145"/>
                    <a:pt x="323" y="144"/>
                    <a:pt x="323" y="144"/>
                  </a:cubicBezTo>
                  <a:cubicBezTo>
                    <a:pt x="323" y="144"/>
                    <a:pt x="323" y="144"/>
                    <a:pt x="323" y="144"/>
                  </a:cubicBezTo>
                  <a:cubicBezTo>
                    <a:pt x="323" y="143"/>
                    <a:pt x="323" y="142"/>
                    <a:pt x="322" y="142"/>
                  </a:cubicBezTo>
                  <a:cubicBezTo>
                    <a:pt x="322" y="141"/>
                    <a:pt x="322" y="141"/>
                    <a:pt x="322" y="141"/>
                  </a:cubicBezTo>
                  <a:cubicBezTo>
                    <a:pt x="322" y="141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40"/>
                    <a:pt x="322" y="140"/>
                    <a:pt x="322" y="140"/>
                  </a:cubicBezTo>
                  <a:cubicBezTo>
                    <a:pt x="322" y="139"/>
                    <a:pt x="322" y="138"/>
                    <a:pt x="322" y="138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7"/>
                    <a:pt x="322" y="137"/>
                  </a:cubicBezTo>
                  <a:cubicBezTo>
                    <a:pt x="322" y="137"/>
                    <a:pt x="322" y="136"/>
                    <a:pt x="322" y="136"/>
                  </a:cubicBezTo>
                  <a:cubicBezTo>
                    <a:pt x="322" y="136"/>
                    <a:pt x="322" y="136"/>
                    <a:pt x="322" y="136"/>
                  </a:cubicBezTo>
                  <a:cubicBezTo>
                    <a:pt x="321" y="135"/>
                    <a:pt x="321" y="134"/>
                    <a:pt x="321" y="133"/>
                  </a:cubicBezTo>
                  <a:cubicBezTo>
                    <a:pt x="321" y="133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21" y="128"/>
                    <a:pt x="320" y="124"/>
                    <a:pt x="319" y="121"/>
                  </a:cubicBezTo>
                  <a:cubicBezTo>
                    <a:pt x="319" y="121"/>
                    <a:pt x="319" y="120"/>
                    <a:pt x="319" y="120"/>
                  </a:cubicBezTo>
                  <a:cubicBezTo>
                    <a:pt x="319" y="118"/>
                    <a:pt x="319" y="117"/>
                    <a:pt x="319" y="115"/>
                  </a:cubicBezTo>
                  <a:cubicBezTo>
                    <a:pt x="319" y="114"/>
                    <a:pt x="319" y="114"/>
                    <a:pt x="319" y="114"/>
                  </a:cubicBezTo>
                  <a:cubicBezTo>
                    <a:pt x="313" y="75"/>
                    <a:pt x="308" y="36"/>
                    <a:pt x="302" y="0"/>
                  </a:cubicBezTo>
                </a:path>
              </a:pathLst>
            </a:custGeom>
            <a:solidFill>
              <a:srgbClr val="1F2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39" name="Freeform 236">
              <a:extLst>
                <a:ext uri="{FF2B5EF4-FFF2-40B4-BE49-F238E27FC236}">
                  <a16:creationId xmlns:a16="http://schemas.microsoft.com/office/drawing/2014/main" id="{43462626-32A6-49CC-A9AD-BBB28FE605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5825" y="2668588"/>
              <a:ext cx="501650" cy="900113"/>
            </a:xfrm>
            <a:custGeom>
              <a:avLst/>
              <a:gdLst>
                <a:gd name="T0" fmla="*/ 59 w 169"/>
                <a:gd name="T1" fmla="*/ 0 h 303"/>
                <a:gd name="T2" fmla="*/ 59 w 169"/>
                <a:gd name="T3" fmla="*/ 0 h 303"/>
                <a:gd name="T4" fmla="*/ 59 w 169"/>
                <a:gd name="T5" fmla="*/ 0 h 303"/>
                <a:gd name="T6" fmla="*/ 43 w 169"/>
                <a:gd name="T7" fmla="*/ 148 h 303"/>
                <a:gd name="T8" fmla="*/ 72 w 169"/>
                <a:gd name="T9" fmla="*/ 140 h 303"/>
                <a:gd name="T10" fmla="*/ 99 w 169"/>
                <a:gd name="T11" fmla="*/ 148 h 303"/>
                <a:gd name="T12" fmla="*/ 65 w 169"/>
                <a:gd name="T13" fmla="*/ 145 h 303"/>
                <a:gd name="T14" fmla="*/ 43 w 169"/>
                <a:gd name="T15" fmla="*/ 148 h 303"/>
                <a:gd name="T16" fmla="*/ 43 w 169"/>
                <a:gd name="T17" fmla="*/ 148 h 303"/>
                <a:gd name="T18" fmla="*/ 55 w 169"/>
                <a:gd name="T19" fmla="*/ 153 h 303"/>
                <a:gd name="T20" fmla="*/ 106 w 169"/>
                <a:gd name="T21" fmla="*/ 200 h 303"/>
                <a:gd name="T22" fmla="*/ 55 w 169"/>
                <a:gd name="T23" fmla="*/ 153 h 303"/>
                <a:gd name="T24" fmla="*/ 43 w 169"/>
                <a:gd name="T25" fmla="*/ 148 h 303"/>
                <a:gd name="T26" fmla="*/ 43 w 169"/>
                <a:gd name="T27" fmla="*/ 148 h 303"/>
                <a:gd name="T28" fmla="*/ 22 w 169"/>
                <a:gd name="T29" fmla="*/ 148 h 303"/>
                <a:gd name="T30" fmla="*/ 0 w 169"/>
                <a:gd name="T31" fmla="*/ 303 h 303"/>
                <a:gd name="T32" fmla="*/ 129 w 169"/>
                <a:gd name="T33" fmla="*/ 265 h 303"/>
                <a:gd name="T34" fmla="*/ 129 w 169"/>
                <a:gd name="T35" fmla="*/ 265 h 303"/>
                <a:gd name="T36" fmla="*/ 169 w 169"/>
                <a:gd name="T37" fmla="*/ 254 h 303"/>
                <a:gd name="T38" fmla="*/ 141 w 169"/>
                <a:gd name="T39" fmla="*/ 78 h 303"/>
                <a:gd name="T40" fmla="*/ 138 w 169"/>
                <a:gd name="T41" fmla="*/ 69 h 303"/>
                <a:gd name="T42" fmla="*/ 138 w 169"/>
                <a:gd name="T43" fmla="*/ 69 h 303"/>
                <a:gd name="T44" fmla="*/ 59 w 169"/>
                <a:gd name="T45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303"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8"/>
                    <a:pt x="55" y="140"/>
                    <a:pt x="72" y="140"/>
                  </a:cubicBezTo>
                  <a:cubicBezTo>
                    <a:pt x="80" y="140"/>
                    <a:pt x="89" y="142"/>
                    <a:pt x="99" y="148"/>
                  </a:cubicBezTo>
                  <a:cubicBezTo>
                    <a:pt x="99" y="148"/>
                    <a:pt x="82" y="145"/>
                    <a:pt x="65" y="145"/>
                  </a:cubicBezTo>
                  <a:cubicBezTo>
                    <a:pt x="57" y="145"/>
                    <a:pt x="49" y="146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7" y="149"/>
                    <a:pt x="51" y="151"/>
                    <a:pt x="55" y="153"/>
                  </a:cubicBezTo>
                  <a:cubicBezTo>
                    <a:pt x="71" y="160"/>
                    <a:pt x="97" y="175"/>
                    <a:pt x="106" y="200"/>
                  </a:cubicBezTo>
                  <a:cubicBezTo>
                    <a:pt x="106" y="200"/>
                    <a:pt x="83" y="167"/>
                    <a:pt x="55" y="153"/>
                  </a:cubicBezTo>
                  <a:cubicBezTo>
                    <a:pt x="48" y="149"/>
                    <a:pt x="43" y="148"/>
                    <a:pt x="43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23" y="201"/>
                    <a:pt x="16" y="253"/>
                    <a:pt x="0" y="303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29" y="265"/>
                    <a:pt x="129" y="265"/>
                    <a:pt x="129" y="265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69" y="253"/>
                    <a:pt x="163" y="144"/>
                    <a:pt x="141" y="78"/>
                  </a:cubicBezTo>
                  <a:cubicBezTo>
                    <a:pt x="140" y="75"/>
                    <a:pt x="139" y="72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16" y="20"/>
                    <a:pt x="59" y="0"/>
                    <a:pt x="59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0" name="Freeform 237">
              <a:extLst>
                <a:ext uri="{FF2B5EF4-FFF2-40B4-BE49-F238E27FC236}">
                  <a16:creationId xmlns:a16="http://schemas.microsoft.com/office/drawing/2014/main" id="{E3E3CE23-3AB0-4F84-AA70-D3FAA0357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1075" y="5295900"/>
              <a:ext cx="171450" cy="63500"/>
            </a:xfrm>
            <a:custGeom>
              <a:avLst/>
              <a:gdLst>
                <a:gd name="T0" fmla="*/ 58 w 58"/>
                <a:gd name="T1" fmla="*/ 0 h 21"/>
                <a:gd name="T2" fmla="*/ 0 w 58"/>
                <a:gd name="T3" fmla="*/ 17 h 21"/>
                <a:gd name="T4" fmla="*/ 0 w 58"/>
                <a:gd name="T5" fmla="*/ 17 h 21"/>
                <a:gd name="T6" fmla="*/ 0 w 58"/>
                <a:gd name="T7" fmla="*/ 17 h 21"/>
                <a:gd name="T8" fmla="*/ 0 w 58"/>
                <a:gd name="T9" fmla="*/ 20 h 21"/>
                <a:gd name="T10" fmla="*/ 14 w 58"/>
                <a:gd name="T11" fmla="*/ 21 h 21"/>
                <a:gd name="T12" fmla="*/ 52 w 58"/>
                <a:gd name="T13" fmla="*/ 16 h 21"/>
                <a:gd name="T14" fmla="*/ 58 w 58"/>
                <a:gd name="T15" fmla="*/ 13 h 21"/>
                <a:gd name="T16" fmla="*/ 58 w 58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1">
                  <a:moveTo>
                    <a:pt x="58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1"/>
                    <a:pt x="9" y="21"/>
                    <a:pt x="14" y="21"/>
                  </a:cubicBezTo>
                  <a:cubicBezTo>
                    <a:pt x="27" y="21"/>
                    <a:pt x="39" y="19"/>
                    <a:pt x="52" y="16"/>
                  </a:cubicBezTo>
                  <a:cubicBezTo>
                    <a:pt x="54" y="15"/>
                    <a:pt x="56" y="14"/>
                    <a:pt x="58" y="13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418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1" name="Freeform 238">
              <a:extLst>
                <a:ext uri="{FF2B5EF4-FFF2-40B4-BE49-F238E27FC236}">
                  <a16:creationId xmlns:a16="http://schemas.microsoft.com/office/drawing/2014/main" id="{3C6C14B2-93A8-47A5-916A-17C3ED6538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825" y="3108325"/>
              <a:ext cx="187325" cy="153988"/>
            </a:xfrm>
            <a:custGeom>
              <a:avLst/>
              <a:gdLst>
                <a:gd name="T0" fmla="*/ 12 w 63"/>
                <a:gd name="T1" fmla="*/ 5 h 52"/>
                <a:gd name="T2" fmla="*/ 63 w 63"/>
                <a:gd name="T3" fmla="*/ 52 h 52"/>
                <a:gd name="T4" fmla="*/ 12 w 63"/>
                <a:gd name="T5" fmla="*/ 5 h 52"/>
                <a:gd name="T6" fmla="*/ 0 w 63"/>
                <a:gd name="T7" fmla="*/ 0 h 52"/>
                <a:gd name="T8" fmla="*/ 0 w 63"/>
                <a:gd name="T9" fmla="*/ 0 h 52"/>
                <a:gd name="T10" fmla="*/ 12 w 63"/>
                <a:gd name="T11" fmla="*/ 5 h 52"/>
                <a:gd name="T12" fmla="*/ 0 w 63"/>
                <a:gd name="T13" fmla="*/ 0 h 52"/>
                <a:gd name="T14" fmla="*/ 0 w 63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2">
                  <a:moveTo>
                    <a:pt x="12" y="5"/>
                  </a:moveTo>
                  <a:cubicBezTo>
                    <a:pt x="40" y="19"/>
                    <a:pt x="63" y="52"/>
                    <a:pt x="63" y="52"/>
                  </a:cubicBezTo>
                  <a:cubicBezTo>
                    <a:pt x="54" y="27"/>
                    <a:pt x="28" y="12"/>
                    <a:pt x="12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" y="1"/>
                    <a:pt x="12" y="5"/>
                  </a:cubicBezTo>
                  <a:cubicBezTo>
                    <a:pt x="8" y="3"/>
                    <a:pt x="4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2" name="Freeform 239">
              <a:extLst>
                <a:ext uri="{FF2B5EF4-FFF2-40B4-BE49-F238E27FC236}">
                  <a16:creationId xmlns:a16="http://schemas.microsoft.com/office/drawing/2014/main" id="{29B40EE1-11F8-4FEB-9C6B-153C95B421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2825" y="3084513"/>
              <a:ext cx="166688" cy="23813"/>
            </a:xfrm>
            <a:custGeom>
              <a:avLst/>
              <a:gdLst>
                <a:gd name="T0" fmla="*/ 29 w 56"/>
                <a:gd name="T1" fmla="*/ 0 h 8"/>
                <a:gd name="T2" fmla="*/ 0 w 56"/>
                <a:gd name="T3" fmla="*/ 8 h 8"/>
                <a:gd name="T4" fmla="*/ 0 w 56"/>
                <a:gd name="T5" fmla="*/ 8 h 8"/>
                <a:gd name="T6" fmla="*/ 0 w 56"/>
                <a:gd name="T7" fmla="*/ 8 h 8"/>
                <a:gd name="T8" fmla="*/ 22 w 56"/>
                <a:gd name="T9" fmla="*/ 5 h 8"/>
                <a:gd name="T10" fmla="*/ 56 w 56"/>
                <a:gd name="T11" fmla="*/ 8 h 8"/>
                <a:gd name="T12" fmla="*/ 29 w 5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8">
                  <a:moveTo>
                    <a:pt x="29" y="0"/>
                  </a:moveTo>
                  <a:cubicBezTo>
                    <a:pt x="12" y="0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6" y="6"/>
                    <a:pt x="14" y="5"/>
                    <a:pt x="22" y="5"/>
                  </a:cubicBezTo>
                  <a:cubicBezTo>
                    <a:pt x="39" y="5"/>
                    <a:pt x="56" y="8"/>
                    <a:pt x="56" y="8"/>
                  </a:cubicBezTo>
                  <a:cubicBezTo>
                    <a:pt x="46" y="2"/>
                    <a:pt x="37" y="0"/>
                    <a:pt x="29" y="0"/>
                  </a:cubicBezTo>
                </a:path>
              </a:pathLst>
            </a:custGeom>
            <a:solidFill>
              <a:srgbClr val="1C1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3" name="Freeform 240">
              <a:extLst>
                <a:ext uri="{FF2B5EF4-FFF2-40B4-BE49-F238E27FC236}">
                  <a16:creationId xmlns:a16="http://schemas.microsoft.com/office/drawing/2014/main" id="{086FF33A-C18B-422F-8D26-020F7F4E8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6938" y="2633663"/>
              <a:ext cx="80963" cy="82550"/>
            </a:xfrm>
            <a:custGeom>
              <a:avLst/>
              <a:gdLst>
                <a:gd name="T0" fmla="*/ 20 w 27"/>
                <a:gd name="T1" fmla="*/ 0 h 28"/>
                <a:gd name="T2" fmla="*/ 19 w 27"/>
                <a:gd name="T3" fmla="*/ 2 h 28"/>
                <a:gd name="T4" fmla="*/ 0 w 27"/>
                <a:gd name="T5" fmla="*/ 20 h 28"/>
                <a:gd name="T6" fmla="*/ 2 w 27"/>
                <a:gd name="T7" fmla="*/ 28 h 28"/>
                <a:gd name="T8" fmla="*/ 27 w 27"/>
                <a:gd name="T9" fmla="*/ 3 h 28"/>
                <a:gd name="T10" fmla="*/ 27 w 27"/>
                <a:gd name="T11" fmla="*/ 3 h 28"/>
                <a:gd name="T12" fmla="*/ 20 w 27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20" y="0"/>
                  </a:moveTo>
                  <a:cubicBezTo>
                    <a:pt x="19" y="2"/>
                    <a:pt x="19" y="2"/>
                    <a:pt x="19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2" y="25"/>
                    <a:pt x="2" y="28"/>
                  </a:cubicBezTo>
                  <a:cubicBezTo>
                    <a:pt x="16" y="1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B2A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244" name="Freeform 241">
              <a:extLst>
                <a:ext uri="{FF2B5EF4-FFF2-40B4-BE49-F238E27FC236}">
                  <a16:creationId xmlns:a16="http://schemas.microsoft.com/office/drawing/2014/main" id="{6A50A7A1-7603-49AC-88CB-0404D0D92A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08638" y="4173538"/>
              <a:ext cx="466725" cy="460375"/>
            </a:xfrm>
            <a:custGeom>
              <a:avLst/>
              <a:gdLst>
                <a:gd name="T0" fmla="*/ 13 w 157"/>
                <a:gd name="T1" fmla="*/ 16 h 155"/>
                <a:gd name="T2" fmla="*/ 138 w 157"/>
                <a:gd name="T3" fmla="*/ 149 h 155"/>
                <a:gd name="T4" fmla="*/ 149 w 157"/>
                <a:gd name="T5" fmla="*/ 155 h 155"/>
                <a:gd name="T6" fmla="*/ 13 w 157"/>
                <a:gd name="T7" fmla="*/ 16 h 155"/>
                <a:gd name="T8" fmla="*/ 1 w 157"/>
                <a:gd name="T9" fmla="*/ 0 h 155"/>
                <a:gd name="T10" fmla="*/ 0 w 157"/>
                <a:gd name="T11" fmla="*/ 1 h 155"/>
                <a:gd name="T12" fmla="*/ 13 w 157"/>
                <a:gd name="T13" fmla="*/ 16 h 155"/>
                <a:gd name="T14" fmla="*/ 1 w 15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55">
                  <a:moveTo>
                    <a:pt x="13" y="16"/>
                  </a:moveTo>
                  <a:cubicBezTo>
                    <a:pt x="47" y="61"/>
                    <a:pt x="99" y="124"/>
                    <a:pt x="138" y="149"/>
                  </a:cubicBezTo>
                  <a:cubicBezTo>
                    <a:pt x="144" y="153"/>
                    <a:pt x="148" y="155"/>
                    <a:pt x="149" y="155"/>
                  </a:cubicBezTo>
                  <a:cubicBezTo>
                    <a:pt x="157" y="155"/>
                    <a:pt x="66" y="76"/>
                    <a:pt x="13" y="16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6"/>
                    <a:pt x="8" y="11"/>
                    <a:pt x="13" y="16"/>
                  </a:cubicBezTo>
                  <a:cubicBezTo>
                    <a:pt x="8" y="11"/>
                    <a:pt x="4" y="5"/>
                    <a:pt x="1" y="0"/>
                  </a:cubicBezTo>
                </a:path>
              </a:pathLst>
            </a:custGeom>
            <a:solidFill>
              <a:srgbClr val="2E33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sp>
        <p:nvSpPr>
          <p:cNvPr id="245" name="任意多边形: 形状 244">
            <a:extLst>
              <a:ext uri="{FF2B5EF4-FFF2-40B4-BE49-F238E27FC236}">
                <a16:creationId xmlns:a16="http://schemas.microsoft.com/office/drawing/2014/main" id="{72ACB3BD-1E7D-4CA5-AD80-388EDD4E03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8685 w 12192000"/>
              <a:gd name="connsiteY0" fmla="*/ 174172 h 6858000"/>
              <a:gd name="connsiteX1" fmla="*/ 188685 w 12192000"/>
              <a:gd name="connsiteY1" fmla="*/ 6676572 h 6858000"/>
              <a:gd name="connsiteX2" fmla="*/ 11998410 w 12192000"/>
              <a:gd name="connsiteY2" fmla="*/ 6676572 h 6858000"/>
              <a:gd name="connsiteX3" fmla="*/ 11998410 w 12192000"/>
              <a:gd name="connsiteY3" fmla="*/ 17417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88685" y="174172"/>
                </a:moveTo>
                <a:lnTo>
                  <a:pt x="188685" y="6676572"/>
                </a:lnTo>
                <a:lnTo>
                  <a:pt x="11998410" y="6676572"/>
                </a:lnTo>
                <a:lnTo>
                  <a:pt x="11998410" y="1741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18DED1F7-4D26-F3B5-D4B2-F492BD7B0A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5807" y="1434926"/>
            <a:ext cx="1699648" cy="38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4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3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7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10/24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6" y="6240467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7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>
            <a:extLst>
              <a:ext uri="{FF2B5EF4-FFF2-40B4-BE49-F238E27FC236}">
                <a16:creationId xmlns:a16="http://schemas.microsoft.com/office/drawing/2014/main" id="{2245F027-C4C4-4514-8A10-4A8B0BC105A3}"/>
              </a:ext>
            </a:extLst>
          </p:cNvPr>
          <p:cNvSpPr txBox="1"/>
          <p:nvPr/>
        </p:nvSpPr>
        <p:spPr>
          <a:xfrm>
            <a:off x="6312686" y="3943836"/>
            <a:ext cx="2946201" cy="239356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5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0XX</a:t>
            </a:r>
            <a:endParaRPr lang="zh-CN" altLang="en-US" spc="100" dirty="0">
              <a:solidFill>
                <a:schemeClr val="accent5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065B750-5E50-4AE1-87FD-C4348A9C69D2}"/>
              </a:ext>
            </a:extLst>
          </p:cNvPr>
          <p:cNvSpPr/>
          <p:nvPr/>
        </p:nvSpPr>
        <p:spPr bwMode="auto">
          <a:xfrm>
            <a:off x="6235699" y="5528172"/>
            <a:ext cx="3054937" cy="433385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zh-CN" altLang="en-US" sz="1200" b="1" dirty="0">
              <a:solidFill>
                <a:schemeClr val="accent5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6AD4848-875B-48A6-B355-9B8FB223A2B3}"/>
              </a:ext>
            </a:extLst>
          </p:cNvPr>
          <p:cNvSpPr txBox="1"/>
          <p:nvPr/>
        </p:nvSpPr>
        <p:spPr>
          <a:xfrm>
            <a:off x="6328031" y="5616561"/>
            <a:ext cx="2991437" cy="27643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accent5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haroni" panose="020B0604020202020204" pitchFamily="2" charset="-79"/>
              </a:rPr>
              <a:t>MBA</a:t>
            </a:r>
            <a:endParaRPr lang="zh-CN" altLang="en-US" sz="1200" b="1" dirty="0">
              <a:solidFill>
                <a:schemeClr val="accent5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haroni" panose="020B0604020202020204" pitchFamily="2" charset="-79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E5A1957-D85F-4121-91DA-1336330A5E8F}"/>
              </a:ext>
            </a:extLst>
          </p:cNvPr>
          <p:cNvSpPr/>
          <p:nvPr/>
        </p:nvSpPr>
        <p:spPr>
          <a:xfrm>
            <a:off x="6105265" y="1925517"/>
            <a:ext cx="5428715" cy="69117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66C7EB0-87F8-4824-8C54-C5CFD73BCF2B}"/>
              </a:ext>
            </a:extLst>
          </p:cNvPr>
          <p:cNvSpPr/>
          <p:nvPr/>
        </p:nvSpPr>
        <p:spPr>
          <a:xfrm>
            <a:off x="7856635" y="2674525"/>
            <a:ext cx="3668079" cy="548288"/>
          </a:xfrm>
          <a:prstGeom prst="rect">
            <a:avLst/>
          </a:prstGeom>
          <a:solidFill>
            <a:srgbClr val="36B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864100" y="1147058"/>
            <a:ext cx="6654801" cy="205075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4800" dirty="0">
                <a:solidFill>
                  <a:schemeClr val="bg1"/>
                </a:solidFill>
              </a:rPr>
              <a:t>毕业论文答辩</a:t>
            </a:r>
            <a:br>
              <a:rPr lang="en-US" altLang="zh-CN" sz="4800" dirty="0">
                <a:solidFill>
                  <a:schemeClr val="bg1"/>
                </a:solidFill>
              </a:rPr>
            </a:br>
            <a:r>
              <a:rPr lang="en-US" altLang="zh-CN" sz="3200" dirty="0">
                <a:solidFill>
                  <a:schemeClr val="bg1"/>
                </a:solidFill>
              </a:rPr>
              <a:t>PPT</a:t>
            </a:r>
            <a:r>
              <a:rPr lang="zh-CN" altLang="en-US" sz="3200" dirty="0">
                <a:solidFill>
                  <a:schemeClr val="bg1"/>
                </a:solidFill>
              </a:rPr>
              <a:t>模板</a:t>
            </a:r>
            <a:endParaRPr lang="zh-CN" altLang="en-US" sz="5400" dirty="0">
              <a:solidFill>
                <a:schemeClr val="bg1"/>
              </a:solidFill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704072" y="3455594"/>
            <a:ext cx="1820643" cy="339657"/>
          </a:xfr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altLang="zh-CN" dirty="0">
                <a:solidFill>
                  <a:schemeClr val="accent5">
                    <a:lumMod val="75000"/>
                  </a:schemeClr>
                </a:solidFill>
              </a:rPr>
              <a:t>SUBTITLE HERE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396455" y="5744865"/>
            <a:ext cx="2077719" cy="296271"/>
          </a:xfrm>
          <a:noFill/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9367623" y="6041135"/>
            <a:ext cx="2106552" cy="296271"/>
          </a:xfrm>
          <a:noFill/>
        </p:spPr>
        <p:txBody>
          <a:bodyPr/>
          <a:lstStyle/>
          <a:p>
            <a:r>
              <a:rPr lang="en-US" altLang="zh-CN">
                <a:solidFill>
                  <a:schemeClr val="accent1"/>
                </a:solidFill>
              </a:rPr>
              <a:t>https://mba.guet.edu.cn</a:t>
            </a:r>
            <a:endParaRPr lang="en-US" altLang="en-US" dirty="0">
              <a:solidFill>
                <a:schemeClr val="accent1"/>
              </a:solidFill>
            </a:endParaRPr>
          </a:p>
        </p:txBody>
      </p:sp>
      <p:sp>
        <p:nvSpPr>
          <p:cNvPr id="33" name="Freeform 62">
            <a:extLst>
              <a:ext uri="{FF2B5EF4-FFF2-40B4-BE49-F238E27FC236}">
                <a16:creationId xmlns:a16="http://schemas.microsoft.com/office/drawing/2014/main" id="{40667D51-4F4B-4C89-9941-D2D38731CB6D}"/>
              </a:ext>
            </a:extLst>
          </p:cNvPr>
          <p:cNvSpPr>
            <a:spLocks/>
          </p:cNvSpPr>
          <p:nvPr/>
        </p:nvSpPr>
        <p:spPr bwMode="auto">
          <a:xfrm>
            <a:off x="13386483" y="5811467"/>
            <a:ext cx="72174" cy="56818"/>
          </a:xfrm>
          <a:custGeom>
            <a:avLst/>
            <a:gdLst>
              <a:gd name="T0" fmla="*/ 22 w 25"/>
              <a:gd name="T1" fmla="*/ 1 h 20"/>
              <a:gd name="T2" fmla="*/ 13 w 25"/>
              <a:gd name="T3" fmla="*/ 6 h 20"/>
              <a:gd name="T4" fmla="*/ 1 w 25"/>
              <a:gd name="T5" fmla="*/ 17 h 20"/>
              <a:gd name="T6" fmla="*/ 1 w 25"/>
              <a:gd name="T7" fmla="*/ 20 h 20"/>
              <a:gd name="T8" fmla="*/ 4 w 25"/>
              <a:gd name="T9" fmla="*/ 19 h 20"/>
              <a:gd name="T10" fmla="*/ 16 w 25"/>
              <a:gd name="T11" fmla="*/ 9 h 20"/>
              <a:gd name="T12" fmla="*/ 21 w 25"/>
              <a:gd name="T13" fmla="*/ 6 h 20"/>
              <a:gd name="T14" fmla="*/ 23 w 25"/>
              <a:gd name="T15" fmla="*/ 5 h 20"/>
              <a:gd name="T16" fmla="*/ 24 w 25"/>
              <a:gd name="T17" fmla="*/ 4 h 20"/>
              <a:gd name="T18" fmla="*/ 25 w 25"/>
              <a:gd name="T19" fmla="*/ 1 h 20"/>
              <a:gd name="T20" fmla="*/ 22 w 25"/>
              <a:gd name="T21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20">
                <a:moveTo>
                  <a:pt x="22" y="1"/>
                </a:moveTo>
                <a:cubicBezTo>
                  <a:pt x="22" y="1"/>
                  <a:pt x="18" y="3"/>
                  <a:pt x="13" y="6"/>
                </a:cubicBezTo>
                <a:cubicBezTo>
                  <a:pt x="9" y="9"/>
                  <a:pt x="3" y="13"/>
                  <a:pt x="1" y="17"/>
                </a:cubicBezTo>
                <a:cubicBezTo>
                  <a:pt x="0" y="18"/>
                  <a:pt x="0" y="19"/>
                  <a:pt x="1" y="20"/>
                </a:cubicBezTo>
                <a:cubicBezTo>
                  <a:pt x="2" y="20"/>
                  <a:pt x="3" y="20"/>
                  <a:pt x="4" y="19"/>
                </a:cubicBezTo>
                <a:cubicBezTo>
                  <a:pt x="6" y="16"/>
                  <a:pt x="11" y="12"/>
                  <a:pt x="16" y="9"/>
                </a:cubicBezTo>
                <a:cubicBezTo>
                  <a:pt x="18" y="8"/>
                  <a:pt x="20" y="6"/>
                  <a:pt x="21" y="6"/>
                </a:cubicBezTo>
                <a:cubicBezTo>
                  <a:pt x="22" y="5"/>
                  <a:pt x="23" y="5"/>
                  <a:pt x="23" y="5"/>
                </a:cubicBezTo>
                <a:cubicBezTo>
                  <a:pt x="24" y="4"/>
                  <a:pt x="24" y="4"/>
                  <a:pt x="24" y="4"/>
                </a:cubicBezTo>
                <a:cubicBezTo>
                  <a:pt x="25" y="4"/>
                  <a:pt x="25" y="2"/>
                  <a:pt x="25" y="1"/>
                </a:cubicBezTo>
                <a:cubicBezTo>
                  <a:pt x="24" y="1"/>
                  <a:pt x="23" y="0"/>
                  <a:pt x="2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61904" y="1478011"/>
            <a:ext cx="2434096" cy="21163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682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CEC455-4827-4D2E-8519-5A20621DF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BB87266-3E32-4411-AA83-3DFFD4791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1833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B8BAC0B-81FD-4248-AD60-2539719C25E1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2" y="1123950"/>
            <a:ext cx="10847386" cy="5019675"/>
            <a:chOff x="673102" y="1123950"/>
            <a:chExt cx="10847386" cy="5019675"/>
          </a:xfrm>
        </p:grpSpPr>
        <p:grpSp>
          <p:nvGrpSpPr>
            <p:cNvPr id="6" name="ïśḻíḑê">
              <a:extLst>
                <a:ext uri="{FF2B5EF4-FFF2-40B4-BE49-F238E27FC236}">
                  <a16:creationId xmlns:a16="http://schemas.microsoft.com/office/drawing/2014/main" id="{DD283EBE-2BE1-4260-AD30-A454D3E327BA}"/>
                </a:ext>
              </a:extLst>
            </p:cNvPr>
            <p:cNvGrpSpPr/>
            <p:nvPr/>
          </p:nvGrpSpPr>
          <p:grpSpPr>
            <a:xfrm>
              <a:off x="6664241" y="1776327"/>
              <a:ext cx="889806" cy="3813807"/>
              <a:chOff x="6334041" y="1776327"/>
              <a:chExt cx="889806" cy="3813807"/>
            </a:xfrm>
          </p:grpSpPr>
          <p:sp>
            <p:nvSpPr>
              <p:cNvPr id="19" name="îşľiḓê">
                <a:extLst>
                  <a:ext uri="{FF2B5EF4-FFF2-40B4-BE49-F238E27FC236}">
                    <a16:creationId xmlns:a16="http://schemas.microsoft.com/office/drawing/2014/main" id="{BE531E0A-BF6E-469D-A333-C7F7B603264F}"/>
                  </a:ext>
                </a:extLst>
              </p:cNvPr>
              <p:cNvSpPr/>
              <p:nvPr/>
            </p:nvSpPr>
            <p:spPr>
              <a:xfrm>
                <a:off x="6334041" y="3236127"/>
                <a:ext cx="889806" cy="889802"/>
              </a:xfrm>
              <a:prstGeom prst="roundRect">
                <a:avLst>
                  <a:gd name="adj" fmla="val 15000"/>
                </a:avLst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/>
              <a:p>
                <a:pPr lvl="0">
                  <a:defRPr sz="3200"/>
                </a:pPr>
                <a:endParaRPr sz="1600"/>
              </a:p>
            </p:txBody>
          </p:sp>
          <p:sp>
            <p:nvSpPr>
              <p:cNvPr id="20" name="îṥľídè">
                <a:extLst>
                  <a:ext uri="{FF2B5EF4-FFF2-40B4-BE49-F238E27FC236}">
                    <a16:creationId xmlns:a16="http://schemas.microsoft.com/office/drawing/2014/main" id="{79C60CA8-F892-4135-AEE1-A48B501979BD}"/>
                  </a:ext>
                </a:extLst>
              </p:cNvPr>
              <p:cNvSpPr/>
              <p:nvPr/>
            </p:nvSpPr>
            <p:spPr>
              <a:xfrm>
                <a:off x="6500668" y="3375057"/>
                <a:ext cx="585359" cy="594627"/>
              </a:xfrm>
              <a:custGeom>
                <a:avLst/>
                <a:gdLst>
                  <a:gd name="connsiteX0" fmla="*/ 149604 w 577154"/>
                  <a:gd name="connsiteY0" fmla="*/ 536234 h 586292"/>
                  <a:gd name="connsiteX1" fmla="*/ 214914 w 577154"/>
                  <a:gd name="connsiteY1" fmla="*/ 562021 h 586292"/>
                  <a:gd name="connsiteX2" fmla="*/ 211877 w 577154"/>
                  <a:gd name="connsiteY2" fmla="*/ 559746 h 586292"/>
                  <a:gd name="connsiteX3" fmla="*/ 202004 w 577154"/>
                  <a:gd name="connsiteY3" fmla="*/ 554437 h 586292"/>
                  <a:gd name="connsiteX4" fmla="*/ 196688 w 577154"/>
                  <a:gd name="connsiteY4" fmla="*/ 551403 h 586292"/>
                  <a:gd name="connsiteX5" fmla="*/ 184537 w 577154"/>
                  <a:gd name="connsiteY5" fmla="*/ 543818 h 586292"/>
                  <a:gd name="connsiteX6" fmla="*/ 177702 w 577154"/>
                  <a:gd name="connsiteY6" fmla="*/ 538509 h 586292"/>
                  <a:gd name="connsiteX7" fmla="*/ 173905 w 577154"/>
                  <a:gd name="connsiteY7" fmla="*/ 536234 h 586292"/>
                  <a:gd name="connsiteX8" fmla="*/ 299943 w 577154"/>
                  <a:gd name="connsiteY8" fmla="*/ 499816 h 586292"/>
                  <a:gd name="connsiteX9" fmla="*/ 318939 w 577154"/>
                  <a:gd name="connsiteY9" fmla="*/ 500576 h 586292"/>
                  <a:gd name="connsiteX10" fmla="*/ 329576 w 577154"/>
                  <a:gd name="connsiteY10" fmla="*/ 511222 h 586292"/>
                  <a:gd name="connsiteX11" fmla="*/ 319698 w 577154"/>
                  <a:gd name="connsiteY11" fmla="*/ 521108 h 586292"/>
                  <a:gd name="connsiteX12" fmla="*/ 318939 w 577154"/>
                  <a:gd name="connsiteY12" fmla="*/ 521108 h 586292"/>
                  <a:gd name="connsiteX13" fmla="*/ 297663 w 577154"/>
                  <a:gd name="connsiteY13" fmla="*/ 519587 h 586292"/>
                  <a:gd name="connsiteX14" fmla="*/ 288545 w 577154"/>
                  <a:gd name="connsiteY14" fmla="*/ 508941 h 586292"/>
                  <a:gd name="connsiteX15" fmla="*/ 299943 w 577154"/>
                  <a:gd name="connsiteY15" fmla="*/ 499816 h 586292"/>
                  <a:gd name="connsiteX16" fmla="*/ 88851 w 577154"/>
                  <a:gd name="connsiteY16" fmla="*/ 485417 h 586292"/>
                  <a:gd name="connsiteX17" fmla="*/ 119987 w 577154"/>
                  <a:gd name="connsiteY17" fmla="*/ 515755 h 586292"/>
                  <a:gd name="connsiteX18" fmla="*/ 150364 w 577154"/>
                  <a:gd name="connsiteY18" fmla="*/ 515755 h 586292"/>
                  <a:gd name="connsiteX19" fmla="*/ 148085 w 577154"/>
                  <a:gd name="connsiteY19" fmla="*/ 513480 h 586292"/>
                  <a:gd name="connsiteX20" fmla="*/ 142010 w 577154"/>
                  <a:gd name="connsiteY20" fmla="*/ 507412 h 586292"/>
                  <a:gd name="connsiteX21" fmla="*/ 136694 w 577154"/>
                  <a:gd name="connsiteY21" fmla="*/ 501344 h 586292"/>
                  <a:gd name="connsiteX22" fmla="*/ 127581 w 577154"/>
                  <a:gd name="connsiteY22" fmla="*/ 489967 h 586292"/>
                  <a:gd name="connsiteX23" fmla="*/ 123784 w 577154"/>
                  <a:gd name="connsiteY23" fmla="*/ 485417 h 586292"/>
                  <a:gd name="connsiteX24" fmla="*/ 399912 w 577154"/>
                  <a:gd name="connsiteY24" fmla="*/ 482256 h 586292"/>
                  <a:gd name="connsiteX25" fmla="*/ 405611 w 577154"/>
                  <a:gd name="connsiteY25" fmla="*/ 486996 h 586292"/>
                  <a:gd name="connsiteX26" fmla="*/ 401812 w 577154"/>
                  <a:gd name="connsiteY26" fmla="*/ 500648 h 586292"/>
                  <a:gd name="connsiteX27" fmla="*/ 382056 w 577154"/>
                  <a:gd name="connsiteY27" fmla="*/ 509750 h 586292"/>
                  <a:gd name="connsiteX28" fmla="*/ 378257 w 577154"/>
                  <a:gd name="connsiteY28" fmla="*/ 510508 h 586292"/>
                  <a:gd name="connsiteX29" fmla="*/ 369139 w 577154"/>
                  <a:gd name="connsiteY29" fmla="*/ 503682 h 586292"/>
                  <a:gd name="connsiteX30" fmla="*/ 375217 w 577154"/>
                  <a:gd name="connsiteY30" fmla="*/ 490789 h 586292"/>
                  <a:gd name="connsiteX31" fmla="*/ 391934 w 577154"/>
                  <a:gd name="connsiteY31" fmla="*/ 483204 h 586292"/>
                  <a:gd name="connsiteX32" fmla="*/ 399912 w 577154"/>
                  <a:gd name="connsiteY32" fmla="*/ 482256 h 586292"/>
                  <a:gd name="connsiteX33" fmla="*/ 229351 w 577154"/>
                  <a:gd name="connsiteY33" fmla="*/ 474063 h 586292"/>
                  <a:gd name="connsiteX34" fmla="*/ 246091 w 577154"/>
                  <a:gd name="connsiteY34" fmla="*/ 483157 h 586292"/>
                  <a:gd name="connsiteX35" fmla="*/ 250656 w 577154"/>
                  <a:gd name="connsiteY35" fmla="*/ 496797 h 586292"/>
                  <a:gd name="connsiteX36" fmla="*/ 241525 w 577154"/>
                  <a:gd name="connsiteY36" fmla="*/ 502101 h 586292"/>
                  <a:gd name="connsiteX37" fmla="*/ 236960 w 577154"/>
                  <a:gd name="connsiteY37" fmla="*/ 501343 h 586292"/>
                  <a:gd name="connsiteX38" fmla="*/ 218698 w 577154"/>
                  <a:gd name="connsiteY38" fmla="*/ 490735 h 586292"/>
                  <a:gd name="connsiteX39" fmla="*/ 215654 w 577154"/>
                  <a:gd name="connsiteY39" fmla="*/ 477094 h 586292"/>
                  <a:gd name="connsiteX40" fmla="*/ 229351 w 577154"/>
                  <a:gd name="connsiteY40" fmla="*/ 474063 h 586292"/>
                  <a:gd name="connsiteX41" fmla="*/ 464745 w 577154"/>
                  <a:gd name="connsiteY41" fmla="*/ 433889 h 586292"/>
                  <a:gd name="connsiteX42" fmla="*/ 466262 w 577154"/>
                  <a:gd name="connsiteY42" fmla="*/ 447550 h 586292"/>
                  <a:gd name="connsiteX43" fmla="*/ 451842 w 577154"/>
                  <a:gd name="connsiteY43" fmla="*/ 463488 h 586292"/>
                  <a:gd name="connsiteX44" fmla="*/ 445012 w 577154"/>
                  <a:gd name="connsiteY44" fmla="*/ 466524 h 586292"/>
                  <a:gd name="connsiteX45" fmla="*/ 438181 w 577154"/>
                  <a:gd name="connsiteY45" fmla="*/ 463488 h 586292"/>
                  <a:gd name="connsiteX46" fmla="*/ 438181 w 577154"/>
                  <a:gd name="connsiteY46" fmla="*/ 449068 h 586292"/>
                  <a:gd name="connsiteX47" fmla="*/ 450324 w 577154"/>
                  <a:gd name="connsiteY47" fmla="*/ 435407 h 586292"/>
                  <a:gd name="connsiteX48" fmla="*/ 464745 w 577154"/>
                  <a:gd name="connsiteY48" fmla="*/ 433889 h 586292"/>
                  <a:gd name="connsiteX49" fmla="*/ 49362 w 577154"/>
                  <a:gd name="connsiteY49" fmla="*/ 424740 h 586292"/>
                  <a:gd name="connsiteX50" fmla="*/ 73663 w 577154"/>
                  <a:gd name="connsiteY50" fmla="*/ 464938 h 586292"/>
                  <a:gd name="connsiteX51" fmla="*/ 109355 w 577154"/>
                  <a:gd name="connsiteY51" fmla="*/ 464938 h 586292"/>
                  <a:gd name="connsiteX52" fmla="*/ 104039 w 577154"/>
                  <a:gd name="connsiteY52" fmla="*/ 456595 h 586292"/>
                  <a:gd name="connsiteX53" fmla="*/ 101761 w 577154"/>
                  <a:gd name="connsiteY53" fmla="*/ 452044 h 586292"/>
                  <a:gd name="connsiteX54" fmla="*/ 94926 w 577154"/>
                  <a:gd name="connsiteY54" fmla="*/ 439909 h 586292"/>
                  <a:gd name="connsiteX55" fmla="*/ 92648 w 577154"/>
                  <a:gd name="connsiteY55" fmla="*/ 435358 h 586292"/>
                  <a:gd name="connsiteX56" fmla="*/ 88092 w 577154"/>
                  <a:gd name="connsiteY56" fmla="*/ 424740 h 586292"/>
                  <a:gd name="connsiteX57" fmla="*/ 161771 w 577154"/>
                  <a:gd name="connsiteY57" fmla="*/ 417898 h 586292"/>
                  <a:gd name="connsiteX58" fmla="*/ 176164 w 577154"/>
                  <a:gd name="connsiteY58" fmla="*/ 420173 h 586292"/>
                  <a:gd name="connsiteX59" fmla="*/ 187527 w 577154"/>
                  <a:gd name="connsiteY59" fmla="*/ 435341 h 586292"/>
                  <a:gd name="connsiteX60" fmla="*/ 186012 w 577154"/>
                  <a:gd name="connsiteY60" fmla="*/ 449750 h 586292"/>
                  <a:gd name="connsiteX61" fmla="*/ 179194 w 577154"/>
                  <a:gd name="connsiteY61" fmla="*/ 452025 h 586292"/>
                  <a:gd name="connsiteX62" fmla="*/ 171619 w 577154"/>
                  <a:gd name="connsiteY62" fmla="*/ 448233 h 586292"/>
                  <a:gd name="connsiteX63" fmla="*/ 159498 w 577154"/>
                  <a:gd name="connsiteY63" fmla="*/ 431549 h 586292"/>
                  <a:gd name="connsiteX64" fmla="*/ 161771 w 577154"/>
                  <a:gd name="connsiteY64" fmla="*/ 417898 h 586292"/>
                  <a:gd name="connsiteX65" fmla="*/ 31136 w 577154"/>
                  <a:gd name="connsiteY65" fmla="*/ 373923 h 586292"/>
                  <a:gd name="connsiteX66" fmla="*/ 41008 w 577154"/>
                  <a:gd name="connsiteY66" fmla="*/ 404261 h 586292"/>
                  <a:gd name="connsiteX67" fmla="*/ 79738 w 577154"/>
                  <a:gd name="connsiteY67" fmla="*/ 404261 h 586292"/>
                  <a:gd name="connsiteX68" fmla="*/ 78979 w 577154"/>
                  <a:gd name="connsiteY68" fmla="*/ 401227 h 586292"/>
                  <a:gd name="connsiteX69" fmla="*/ 77460 w 577154"/>
                  <a:gd name="connsiteY69" fmla="*/ 397435 h 586292"/>
                  <a:gd name="connsiteX70" fmla="*/ 72144 w 577154"/>
                  <a:gd name="connsiteY70" fmla="*/ 379232 h 586292"/>
                  <a:gd name="connsiteX71" fmla="*/ 71385 w 577154"/>
                  <a:gd name="connsiteY71" fmla="*/ 377715 h 586292"/>
                  <a:gd name="connsiteX72" fmla="*/ 70625 w 577154"/>
                  <a:gd name="connsiteY72" fmla="*/ 373923 h 586292"/>
                  <a:gd name="connsiteX73" fmla="*/ 499728 w 577154"/>
                  <a:gd name="connsiteY73" fmla="*/ 361797 h 586292"/>
                  <a:gd name="connsiteX74" fmla="*/ 506554 w 577154"/>
                  <a:gd name="connsiteY74" fmla="*/ 374694 h 586292"/>
                  <a:gd name="connsiteX75" fmla="*/ 498970 w 577154"/>
                  <a:gd name="connsiteY75" fmla="*/ 394418 h 586292"/>
                  <a:gd name="connsiteX76" fmla="*/ 489868 w 577154"/>
                  <a:gd name="connsiteY76" fmla="*/ 400487 h 586292"/>
                  <a:gd name="connsiteX77" fmla="*/ 485318 w 577154"/>
                  <a:gd name="connsiteY77" fmla="*/ 399729 h 586292"/>
                  <a:gd name="connsiteX78" fmla="*/ 480009 w 577154"/>
                  <a:gd name="connsiteY78" fmla="*/ 386073 h 586292"/>
                  <a:gd name="connsiteX79" fmla="*/ 486835 w 577154"/>
                  <a:gd name="connsiteY79" fmla="*/ 367866 h 586292"/>
                  <a:gd name="connsiteX80" fmla="*/ 499728 w 577154"/>
                  <a:gd name="connsiteY80" fmla="*/ 361797 h 586292"/>
                  <a:gd name="connsiteX81" fmla="*/ 132907 w 577154"/>
                  <a:gd name="connsiteY81" fmla="*/ 343643 h 586292"/>
                  <a:gd name="connsiteX82" fmla="*/ 145066 w 577154"/>
                  <a:gd name="connsiteY82" fmla="*/ 350471 h 586292"/>
                  <a:gd name="connsiteX83" fmla="*/ 150385 w 577154"/>
                  <a:gd name="connsiteY83" fmla="*/ 368678 h 586292"/>
                  <a:gd name="connsiteX84" fmla="*/ 144306 w 577154"/>
                  <a:gd name="connsiteY84" fmla="*/ 381575 h 586292"/>
                  <a:gd name="connsiteX85" fmla="*/ 141266 w 577154"/>
                  <a:gd name="connsiteY85" fmla="*/ 382333 h 586292"/>
                  <a:gd name="connsiteX86" fmla="*/ 131388 w 577154"/>
                  <a:gd name="connsiteY86" fmla="*/ 375506 h 586292"/>
                  <a:gd name="connsiteX87" fmla="*/ 125309 w 577154"/>
                  <a:gd name="connsiteY87" fmla="*/ 355781 h 586292"/>
                  <a:gd name="connsiteX88" fmla="*/ 132907 w 577154"/>
                  <a:gd name="connsiteY88" fmla="*/ 343643 h 586292"/>
                  <a:gd name="connsiteX89" fmla="*/ 21263 w 577154"/>
                  <a:gd name="connsiteY89" fmla="*/ 323864 h 586292"/>
                  <a:gd name="connsiteX90" fmla="*/ 25820 w 577154"/>
                  <a:gd name="connsiteY90" fmla="*/ 354203 h 586292"/>
                  <a:gd name="connsiteX91" fmla="*/ 66069 w 577154"/>
                  <a:gd name="connsiteY91" fmla="*/ 354203 h 586292"/>
                  <a:gd name="connsiteX92" fmla="*/ 63031 w 577154"/>
                  <a:gd name="connsiteY92" fmla="*/ 337516 h 586292"/>
                  <a:gd name="connsiteX93" fmla="*/ 63031 w 577154"/>
                  <a:gd name="connsiteY93" fmla="*/ 335999 h 586292"/>
                  <a:gd name="connsiteX94" fmla="*/ 61512 w 577154"/>
                  <a:gd name="connsiteY94" fmla="*/ 323864 h 586292"/>
                  <a:gd name="connsiteX95" fmla="*/ 509625 w 577154"/>
                  <a:gd name="connsiteY95" fmla="*/ 282911 h 586292"/>
                  <a:gd name="connsiteX96" fmla="*/ 519524 w 577154"/>
                  <a:gd name="connsiteY96" fmla="*/ 292773 h 586292"/>
                  <a:gd name="connsiteX97" fmla="*/ 519524 w 577154"/>
                  <a:gd name="connsiteY97" fmla="*/ 293532 h 586292"/>
                  <a:gd name="connsiteX98" fmla="*/ 518763 w 577154"/>
                  <a:gd name="connsiteY98" fmla="*/ 313256 h 586292"/>
                  <a:gd name="connsiteX99" fmla="*/ 508863 w 577154"/>
                  <a:gd name="connsiteY99" fmla="*/ 323118 h 586292"/>
                  <a:gd name="connsiteX100" fmla="*/ 508102 w 577154"/>
                  <a:gd name="connsiteY100" fmla="*/ 322360 h 586292"/>
                  <a:gd name="connsiteX101" fmla="*/ 498964 w 577154"/>
                  <a:gd name="connsiteY101" fmla="*/ 311739 h 586292"/>
                  <a:gd name="connsiteX102" fmla="*/ 498964 w 577154"/>
                  <a:gd name="connsiteY102" fmla="*/ 293532 h 586292"/>
                  <a:gd name="connsiteX103" fmla="*/ 509625 w 577154"/>
                  <a:gd name="connsiteY103" fmla="*/ 282911 h 586292"/>
                  <a:gd name="connsiteX104" fmla="*/ 20504 w 577154"/>
                  <a:gd name="connsiteY104" fmla="*/ 273047 h 586292"/>
                  <a:gd name="connsiteX105" fmla="*/ 19744 w 577154"/>
                  <a:gd name="connsiteY105" fmla="*/ 293525 h 586292"/>
                  <a:gd name="connsiteX106" fmla="*/ 20504 w 577154"/>
                  <a:gd name="connsiteY106" fmla="*/ 303385 h 586292"/>
                  <a:gd name="connsiteX107" fmla="*/ 60753 w 577154"/>
                  <a:gd name="connsiteY107" fmla="*/ 303385 h 586292"/>
                  <a:gd name="connsiteX108" fmla="*/ 60753 w 577154"/>
                  <a:gd name="connsiteY108" fmla="*/ 293525 h 586292"/>
                  <a:gd name="connsiteX109" fmla="*/ 61512 w 577154"/>
                  <a:gd name="connsiteY109" fmla="*/ 273805 h 586292"/>
                  <a:gd name="connsiteX110" fmla="*/ 61512 w 577154"/>
                  <a:gd name="connsiteY110" fmla="*/ 273047 h 586292"/>
                  <a:gd name="connsiteX111" fmla="*/ 129811 w 577154"/>
                  <a:gd name="connsiteY111" fmla="*/ 263173 h 586292"/>
                  <a:gd name="connsiteX112" fmla="*/ 138897 w 577154"/>
                  <a:gd name="connsiteY112" fmla="*/ 274553 h 586292"/>
                  <a:gd name="connsiteX113" fmla="*/ 138140 w 577154"/>
                  <a:gd name="connsiteY113" fmla="*/ 292760 h 586292"/>
                  <a:gd name="connsiteX114" fmla="*/ 138140 w 577154"/>
                  <a:gd name="connsiteY114" fmla="*/ 293518 h 586292"/>
                  <a:gd name="connsiteX115" fmla="*/ 128297 w 577154"/>
                  <a:gd name="connsiteY115" fmla="*/ 303380 h 586292"/>
                  <a:gd name="connsiteX116" fmla="*/ 117697 w 577154"/>
                  <a:gd name="connsiteY116" fmla="*/ 294277 h 586292"/>
                  <a:gd name="connsiteX117" fmla="*/ 117697 w 577154"/>
                  <a:gd name="connsiteY117" fmla="*/ 293518 h 586292"/>
                  <a:gd name="connsiteX118" fmla="*/ 118454 w 577154"/>
                  <a:gd name="connsiteY118" fmla="*/ 273035 h 586292"/>
                  <a:gd name="connsiteX119" fmla="*/ 129811 w 577154"/>
                  <a:gd name="connsiteY119" fmla="*/ 263173 h 586292"/>
                  <a:gd name="connsiteX120" fmla="*/ 28098 w 577154"/>
                  <a:gd name="connsiteY120" fmla="*/ 222230 h 586292"/>
                  <a:gd name="connsiteX121" fmla="*/ 22782 w 577154"/>
                  <a:gd name="connsiteY121" fmla="*/ 252568 h 586292"/>
                  <a:gd name="connsiteX122" fmla="*/ 63031 w 577154"/>
                  <a:gd name="connsiteY122" fmla="*/ 252568 h 586292"/>
                  <a:gd name="connsiteX123" fmla="*/ 63031 w 577154"/>
                  <a:gd name="connsiteY123" fmla="*/ 250293 h 586292"/>
                  <a:gd name="connsiteX124" fmla="*/ 63031 w 577154"/>
                  <a:gd name="connsiteY124" fmla="*/ 249535 h 586292"/>
                  <a:gd name="connsiteX125" fmla="*/ 66828 w 577154"/>
                  <a:gd name="connsiteY125" fmla="*/ 229815 h 586292"/>
                  <a:gd name="connsiteX126" fmla="*/ 67588 w 577154"/>
                  <a:gd name="connsiteY126" fmla="*/ 226022 h 586292"/>
                  <a:gd name="connsiteX127" fmla="*/ 68347 w 577154"/>
                  <a:gd name="connsiteY127" fmla="*/ 222230 h 586292"/>
                  <a:gd name="connsiteX128" fmla="*/ 492894 w 577154"/>
                  <a:gd name="connsiteY128" fmla="*/ 204013 h 586292"/>
                  <a:gd name="connsiteX129" fmla="*/ 505825 w 577154"/>
                  <a:gd name="connsiteY129" fmla="*/ 210836 h 586292"/>
                  <a:gd name="connsiteX130" fmla="*/ 511911 w 577154"/>
                  <a:gd name="connsiteY130" fmla="*/ 230547 h 586292"/>
                  <a:gd name="connsiteX131" fmla="*/ 504304 w 577154"/>
                  <a:gd name="connsiteY131" fmla="*/ 242677 h 586292"/>
                  <a:gd name="connsiteX132" fmla="*/ 502022 w 577154"/>
                  <a:gd name="connsiteY132" fmla="*/ 243435 h 586292"/>
                  <a:gd name="connsiteX133" fmla="*/ 492133 w 577154"/>
                  <a:gd name="connsiteY133" fmla="*/ 235854 h 586292"/>
                  <a:gd name="connsiteX134" fmla="*/ 486809 w 577154"/>
                  <a:gd name="connsiteY134" fmla="*/ 216901 h 586292"/>
                  <a:gd name="connsiteX135" fmla="*/ 492894 w 577154"/>
                  <a:gd name="connsiteY135" fmla="*/ 204013 h 586292"/>
                  <a:gd name="connsiteX136" fmla="*/ 151873 w 577154"/>
                  <a:gd name="connsiteY136" fmla="*/ 186619 h 586292"/>
                  <a:gd name="connsiteX137" fmla="*/ 157203 w 577154"/>
                  <a:gd name="connsiteY137" fmla="*/ 200274 h 586292"/>
                  <a:gd name="connsiteX138" fmla="*/ 150350 w 577154"/>
                  <a:gd name="connsiteY138" fmla="*/ 217723 h 586292"/>
                  <a:gd name="connsiteX139" fmla="*/ 140450 w 577154"/>
                  <a:gd name="connsiteY139" fmla="*/ 224550 h 586292"/>
                  <a:gd name="connsiteX140" fmla="*/ 137404 w 577154"/>
                  <a:gd name="connsiteY140" fmla="*/ 224550 h 586292"/>
                  <a:gd name="connsiteX141" fmla="*/ 131312 w 577154"/>
                  <a:gd name="connsiteY141" fmla="*/ 211654 h 586292"/>
                  <a:gd name="connsiteX142" fmla="*/ 138927 w 577154"/>
                  <a:gd name="connsiteY142" fmla="*/ 191929 h 586292"/>
                  <a:gd name="connsiteX143" fmla="*/ 151873 w 577154"/>
                  <a:gd name="connsiteY143" fmla="*/ 186619 h 586292"/>
                  <a:gd name="connsiteX144" fmla="*/ 218736 w 577154"/>
                  <a:gd name="connsiteY144" fmla="*/ 186536 h 586292"/>
                  <a:gd name="connsiteX145" fmla="*/ 281780 w 577154"/>
                  <a:gd name="connsiteY145" fmla="*/ 186536 h 586292"/>
                  <a:gd name="connsiteX146" fmla="*/ 292414 w 577154"/>
                  <a:gd name="connsiteY146" fmla="*/ 196401 h 586292"/>
                  <a:gd name="connsiteX147" fmla="*/ 281780 w 577154"/>
                  <a:gd name="connsiteY147" fmla="*/ 207024 h 586292"/>
                  <a:gd name="connsiteX148" fmla="*/ 264310 w 577154"/>
                  <a:gd name="connsiteY148" fmla="*/ 207024 h 586292"/>
                  <a:gd name="connsiteX149" fmla="*/ 322037 w 577154"/>
                  <a:gd name="connsiteY149" fmla="*/ 294288 h 586292"/>
                  <a:gd name="connsiteX150" fmla="*/ 379004 w 577154"/>
                  <a:gd name="connsiteY150" fmla="*/ 207024 h 586292"/>
                  <a:gd name="connsiteX151" fmla="*/ 361534 w 577154"/>
                  <a:gd name="connsiteY151" fmla="*/ 207024 h 586292"/>
                  <a:gd name="connsiteX152" fmla="*/ 351659 w 577154"/>
                  <a:gd name="connsiteY152" fmla="*/ 196401 h 586292"/>
                  <a:gd name="connsiteX153" fmla="*/ 361534 w 577154"/>
                  <a:gd name="connsiteY153" fmla="*/ 186536 h 586292"/>
                  <a:gd name="connsiteX154" fmla="*/ 425337 w 577154"/>
                  <a:gd name="connsiteY154" fmla="*/ 186536 h 586292"/>
                  <a:gd name="connsiteX155" fmla="*/ 435211 w 577154"/>
                  <a:gd name="connsiteY155" fmla="*/ 196401 h 586292"/>
                  <a:gd name="connsiteX156" fmla="*/ 425337 w 577154"/>
                  <a:gd name="connsiteY156" fmla="*/ 207024 h 586292"/>
                  <a:gd name="connsiteX157" fmla="*/ 405588 w 577154"/>
                  <a:gd name="connsiteY157" fmla="*/ 207024 h 586292"/>
                  <a:gd name="connsiteX158" fmla="*/ 401031 w 577154"/>
                  <a:gd name="connsiteY158" fmla="*/ 209301 h 586292"/>
                  <a:gd name="connsiteX159" fmla="*/ 337987 w 577154"/>
                  <a:gd name="connsiteY159" fmla="*/ 307947 h 586292"/>
                  <a:gd name="connsiteX160" fmla="*/ 373687 w 577154"/>
                  <a:gd name="connsiteY160" fmla="*/ 307947 h 586292"/>
                  <a:gd name="connsiteX161" fmla="*/ 384321 w 577154"/>
                  <a:gd name="connsiteY161" fmla="*/ 317812 h 586292"/>
                  <a:gd name="connsiteX162" fmla="*/ 373687 w 577154"/>
                  <a:gd name="connsiteY162" fmla="*/ 328435 h 586292"/>
                  <a:gd name="connsiteX163" fmla="*/ 331911 w 577154"/>
                  <a:gd name="connsiteY163" fmla="*/ 328435 h 586292"/>
                  <a:gd name="connsiteX164" fmla="*/ 331911 w 577154"/>
                  <a:gd name="connsiteY164" fmla="*/ 338300 h 586292"/>
                  <a:gd name="connsiteX165" fmla="*/ 373687 w 577154"/>
                  <a:gd name="connsiteY165" fmla="*/ 338300 h 586292"/>
                  <a:gd name="connsiteX166" fmla="*/ 384321 w 577154"/>
                  <a:gd name="connsiteY166" fmla="*/ 348164 h 586292"/>
                  <a:gd name="connsiteX167" fmla="*/ 373687 w 577154"/>
                  <a:gd name="connsiteY167" fmla="*/ 358788 h 586292"/>
                  <a:gd name="connsiteX168" fmla="*/ 331911 w 577154"/>
                  <a:gd name="connsiteY168" fmla="*/ 358788 h 586292"/>
                  <a:gd name="connsiteX169" fmla="*/ 331911 w 577154"/>
                  <a:gd name="connsiteY169" fmla="*/ 399005 h 586292"/>
                  <a:gd name="connsiteX170" fmla="*/ 355457 w 577154"/>
                  <a:gd name="connsiteY170" fmla="*/ 399005 h 586292"/>
                  <a:gd name="connsiteX171" fmla="*/ 365332 w 577154"/>
                  <a:gd name="connsiteY171" fmla="*/ 408870 h 586292"/>
                  <a:gd name="connsiteX172" fmla="*/ 355457 w 577154"/>
                  <a:gd name="connsiteY172" fmla="*/ 419493 h 586292"/>
                  <a:gd name="connsiteX173" fmla="*/ 288616 w 577154"/>
                  <a:gd name="connsiteY173" fmla="*/ 419493 h 586292"/>
                  <a:gd name="connsiteX174" fmla="*/ 278742 w 577154"/>
                  <a:gd name="connsiteY174" fmla="*/ 408870 h 586292"/>
                  <a:gd name="connsiteX175" fmla="*/ 288616 w 577154"/>
                  <a:gd name="connsiteY175" fmla="*/ 399005 h 586292"/>
                  <a:gd name="connsiteX176" fmla="*/ 312162 w 577154"/>
                  <a:gd name="connsiteY176" fmla="*/ 399005 h 586292"/>
                  <a:gd name="connsiteX177" fmla="*/ 312162 w 577154"/>
                  <a:gd name="connsiteY177" fmla="*/ 358788 h 586292"/>
                  <a:gd name="connsiteX178" fmla="*/ 270386 w 577154"/>
                  <a:gd name="connsiteY178" fmla="*/ 358788 h 586292"/>
                  <a:gd name="connsiteX179" fmla="*/ 259752 w 577154"/>
                  <a:gd name="connsiteY179" fmla="*/ 348164 h 586292"/>
                  <a:gd name="connsiteX180" fmla="*/ 270386 w 577154"/>
                  <a:gd name="connsiteY180" fmla="*/ 338300 h 586292"/>
                  <a:gd name="connsiteX181" fmla="*/ 312162 w 577154"/>
                  <a:gd name="connsiteY181" fmla="*/ 338300 h 586292"/>
                  <a:gd name="connsiteX182" fmla="*/ 312162 w 577154"/>
                  <a:gd name="connsiteY182" fmla="*/ 328435 h 586292"/>
                  <a:gd name="connsiteX183" fmla="*/ 270386 w 577154"/>
                  <a:gd name="connsiteY183" fmla="*/ 328435 h 586292"/>
                  <a:gd name="connsiteX184" fmla="*/ 259752 w 577154"/>
                  <a:gd name="connsiteY184" fmla="*/ 317812 h 586292"/>
                  <a:gd name="connsiteX185" fmla="*/ 270386 w 577154"/>
                  <a:gd name="connsiteY185" fmla="*/ 307947 h 586292"/>
                  <a:gd name="connsiteX186" fmla="*/ 305326 w 577154"/>
                  <a:gd name="connsiteY186" fmla="*/ 307947 h 586292"/>
                  <a:gd name="connsiteX187" fmla="*/ 242283 w 577154"/>
                  <a:gd name="connsiteY187" fmla="*/ 209301 h 586292"/>
                  <a:gd name="connsiteX188" fmla="*/ 238485 w 577154"/>
                  <a:gd name="connsiteY188" fmla="*/ 207024 h 586292"/>
                  <a:gd name="connsiteX189" fmla="*/ 218736 w 577154"/>
                  <a:gd name="connsiteY189" fmla="*/ 207024 h 586292"/>
                  <a:gd name="connsiteX190" fmla="*/ 208102 w 577154"/>
                  <a:gd name="connsiteY190" fmla="*/ 196401 h 586292"/>
                  <a:gd name="connsiteX191" fmla="*/ 218736 w 577154"/>
                  <a:gd name="connsiteY191" fmla="*/ 186536 h 586292"/>
                  <a:gd name="connsiteX192" fmla="*/ 44805 w 577154"/>
                  <a:gd name="connsiteY192" fmla="*/ 172171 h 586292"/>
                  <a:gd name="connsiteX193" fmla="*/ 33414 w 577154"/>
                  <a:gd name="connsiteY193" fmla="*/ 202510 h 586292"/>
                  <a:gd name="connsiteX194" fmla="*/ 73663 w 577154"/>
                  <a:gd name="connsiteY194" fmla="*/ 202510 h 586292"/>
                  <a:gd name="connsiteX195" fmla="*/ 77460 w 577154"/>
                  <a:gd name="connsiteY195" fmla="*/ 188858 h 586292"/>
                  <a:gd name="connsiteX196" fmla="*/ 78979 w 577154"/>
                  <a:gd name="connsiteY196" fmla="*/ 185065 h 586292"/>
                  <a:gd name="connsiteX197" fmla="*/ 83535 w 577154"/>
                  <a:gd name="connsiteY197" fmla="*/ 172171 h 586292"/>
                  <a:gd name="connsiteX198" fmla="*/ 451103 w 577154"/>
                  <a:gd name="connsiteY198" fmla="*/ 136487 h 586292"/>
                  <a:gd name="connsiteX199" fmla="*/ 465547 w 577154"/>
                  <a:gd name="connsiteY199" fmla="*/ 138009 h 586292"/>
                  <a:gd name="connsiteX200" fmla="*/ 477709 w 577154"/>
                  <a:gd name="connsiteY200" fmla="*/ 154748 h 586292"/>
                  <a:gd name="connsiteX201" fmla="*/ 475429 w 577154"/>
                  <a:gd name="connsiteY201" fmla="*/ 168444 h 586292"/>
                  <a:gd name="connsiteX202" fmla="*/ 469347 w 577154"/>
                  <a:gd name="connsiteY202" fmla="*/ 169966 h 586292"/>
                  <a:gd name="connsiteX203" fmla="*/ 460986 w 577154"/>
                  <a:gd name="connsiteY203" fmla="*/ 166161 h 586292"/>
                  <a:gd name="connsiteX204" fmla="*/ 449583 w 577154"/>
                  <a:gd name="connsiteY204" fmla="*/ 150183 h 586292"/>
                  <a:gd name="connsiteX205" fmla="*/ 451103 w 577154"/>
                  <a:gd name="connsiteY205" fmla="*/ 136487 h 586292"/>
                  <a:gd name="connsiteX206" fmla="*/ 185242 w 577154"/>
                  <a:gd name="connsiteY206" fmla="*/ 122835 h 586292"/>
                  <a:gd name="connsiteX207" fmla="*/ 199674 w 577154"/>
                  <a:gd name="connsiteY207" fmla="*/ 122835 h 586292"/>
                  <a:gd name="connsiteX208" fmla="*/ 199674 w 577154"/>
                  <a:gd name="connsiteY208" fmla="*/ 137266 h 586292"/>
                  <a:gd name="connsiteX209" fmla="*/ 186762 w 577154"/>
                  <a:gd name="connsiteY209" fmla="*/ 150938 h 586292"/>
                  <a:gd name="connsiteX210" fmla="*/ 179166 w 577154"/>
                  <a:gd name="connsiteY210" fmla="*/ 154736 h 586292"/>
                  <a:gd name="connsiteX211" fmla="*/ 173090 w 577154"/>
                  <a:gd name="connsiteY211" fmla="*/ 152457 h 586292"/>
                  <a:gd name="connsiteX212" fmla="*/ 171571 w 577154"/>
                  <a:gd name="connsiteY212" fmla="*/ 138026 h 586292"/>
                  <a:gd name="connsiteX213" fmla="*/ 185242 w 577154"/>
                  <a:gd name="connsiteY213" fmla="*/ 122835 h 586292"/>
                  <a:gd name="connsiteX214" fmla="*/ 81257 w 577154"/>
                  <a:gd name="connsiteY214" fmla="*/ 111494 h 586292"/>
                  <a:gd name="connsiteX215" fmla="*/ 54677 w 577154"/>
                  <a:gd name="connsiteY215" fmla="*/ 151692 h 586292"/>
                  <a:gd name="connsiteX216" fmla="*/ 92648 w 577154"/>
                  <a:gd name="connsiteY216" fmla="*/ 151692 h 586292"/>
                  <a:gd name="connsiteX217" fmla="*/ 92648 w 577154"/>
                  <a:gd name="connsiteY217" fmla="*/ 150934 h 586292"/>
                  <a:gd name="connsiteX218" fmla="*/ 94926 w 577154"/>
                  <a:gd name="connsiteY218" fmla="*/ 146383 h 586292"/>
                  <a:gd name="connsiteX219" fmla="*/ 101761 w 577154"/>
                  <a:gd name="connsiteY219" fmla="*/ 135006 h 586292"/>
                  <a:gd name="connsiteX220" fmla="*/ 104039 w 577154"/>
                  <a:gd name="connsiteY220" fmla="*/ 130455 h 586292"/>
                  <a:gd name="connsiteX221" fmla="*/ 113152 w 577154"/>
                  <a:gd name="connsiteY221" fmla="*/ 116803 h 586292"/>
                  <a:gd name="connsiteX222" fmla="*/ 116190 w 577154"/>
                  <a:gd name="connsiteY222" fmla="*/ 111494 h 586292"/>
                  <a:gd name="connsiteX223" fmla="*/ 400213 w 577154"/>
                  <a:gd name="connsiteY223" fmla="*/ 85002 h 586292"/>
                  <a:gd name="connsiteX224" fmla="*/ 418420 w 577154"/>
                  <a:gd name="connsiteY224" fmla="*/ 95611 h 586292"/>
                  <a:gd name="connsiteX225" fmla="*/ 421455 w 577154"/>
                  <a:gd name="connsiteY225" fmla="*/ 109251 h 586292"/>
                  <a:gd name="connsiteX226" fmla="*/ 413110 w 577154"/>
                  <a:gd name="connsiteY226" fmla="*/ 113798 h 586292"/>
                  <a:gd name="connsiteX227" fmla="*/ 407800 w 577154"/>
                  <a:gd name="connsiteY227" fmla="*/ 112282 h 586292"/>
                  <a:gd name="connsiteX228" fmla="*/ 391110 w 577154"/>
                  <a:gd name="connsiteY228" fmla="*/ 103189 h 586292"/>
                  <a:gd name="connsiteX229" fmla="*/ 386558 w 577154"/>
                  <a:gd name="connsiteY229" fmla="*/ 89549 h 586292"/>
                  <a:gd name="connsiteX230" fmla="*/ 400213 w 577154"/>
                  <a:gd name="connsiteY230" fmla="*/ 85002 h 586292"/>
                  <a:gd name="connsiteX231" fmla="*/ 255897 w 577154"/>
                  <a:gd name="connsiteY231" fmla="*/ 76571 h 586292"/>
                  <a:gd name="connsiteX232" fmla="*/ 268814 w 577154"/>
                  <a:gd name="connsiteY232" fmla="*/ 82644 h 586292"/>
                  <a:gd name="connsiteX233" fmla="*/ 262735 w 577154"/>
                  <a:gd name="connsiteY233" fmla="*/ 95550 h 586292"/>
                  <a:gd name="connsiteX234" fmla="*/ 245259 w 577154"/>
                  <a:gd name="connsiteY234" fmla="*/ 103141 h 586292"/>
                  <a:gd name="connsiteX235" fmla="*/ 240700 w 577154"/>
                  <a:gd name="connsiteY235" fmla="*/ 104660 h 586292"/>
                  <a:gd name="connsiteX236" fmla="*/ 231582 w 577154"/>
                  <a:gd name="connsiteY236" fmla="*/ 99346 h 586292"/>
                  <a:gd name="connsiteX237" fmla="*/ 236141 w 577154"/>
                  <a:gd name="connsiteY237" fmla="*/ 85681 h 586292"/>
                  <a:gd name="connsiteX238" fmla="*/ 255897 w 577154"/>
                  <a:gd name="connsiteY238" fmla="*/ 76571 h 586292"/>
                  <a:gd name="connsiteX239" fmla="*/ 318232 w 577154"/>
                  <a:gd name="connsiteY239" fmla="*/ 65184 h 586292"/>
                  <a:gd name="connsiteX240" fmla="*/ 318990 w 577154"/>
                  <a:gd name="connsiteY240" fmla="*/ 65184 h 586292"/>
                  <a:gd name="connsiteX241" fmla="*/ 339459 w 577154"/>
                  <a:gd name="connsiteY241" fmla="*/ 66705 h 586292"/>
                  <a:gd name="connsiteX242" fmla="*/ 348556 w 577154"/>
                  <a:gd name="connsiteY242" fmla="*/ 78111 h 586292"/>
                  <a:gd name="connsiteX243" fmla="*/ 337943 w 577154"/>
                  <a:gd name="connsiteY243" fmla="*/ 87237 h 586292"/>
                  <a:gd name="connsiteX244" fmla="*/ 337184 w 577154"/>
                  <a:gd name="connsiteY244" fmla="*/ 86476 h 586292"/>
                  <a:gd name="connsiteX245" fmla="*/ 318990 w 577154"/>
                  <a:gd name="connsiteY245" fmla="*/ 85716 h 586292"/>
                  <a:gd name="connsiteX246" fmla="*/ 308376 w 577154"/>
                  <a:gd name="connsiteY246" fmla="*/ 75830 h 586292"/>
                  <a:gd name="connsiteX247" fmla="*/ 318232 w 577154"/>
                  <a:gd name="connsiteY247" fmla="*/ 65184 h 586292"/>
                  <a:gd name="connsiteX248" fmla="*/ 133656 w 577154"/>
                  <a:gd name="connsiteY248" fmla="*/ 60677 h 586292"/>
                  <a:gd name="connsiteX249" fmla="*/ 98723 w 577154"/>
                  <a:gd name="connsiteY249" fmla="*/ 91015 h 586292"/>
                  <a:gd name="connsiteX250" fmla="*/ 132138 w 577154"/>
                  <a:gd name="connsiteY250" fmla="*/ 91015 h 586292"/>
                  <a:gd name="connsiteX251" fmla="*/ 136694 w 577154"/>
                  <a:gd name="connsiteY251" fmla="*/ 85706 h 586292"/>
                  <a:gd name="connsiteX252" fmla="*/ 142010 w 577154"/>
                  <a:gd name="connsiteY252" fmla="*/ 79638 h 586292"/>
                  <a:gd name="connsiteX253" fmla="*/ 148085 w 577154"/>
                  <a:gd name="connsiteY253" fmla="*/ 73571 h 586292"/>
                  <a:gd name="connsiteX254" fmla="*/ 154161 w 577154"/>
                  <a:gd name="connsiteY254" fmla="*/ 67503 h 586292"/>
                  <a:gd name="connsiteX255" fmla="*/ 161755 w 577154"/>
                  <a:gd name="connsiteY255" fmla="*/ 60677 h 586292"/>
                  <a:gd name="connsiteX256" fmla="*/ 214914 w 577154"/>
                  <a:gd name="connsiteY256" fmla="*/ 25029 h 586292"/>
                  <a:gd name="connsiteX257" fmla="*/ 168589 w 577154"/>
                  <a:gd name="connsiteY257" fmla="*/ 40198 h 586292"/>
                  <a:gd name="connsiteX258" fmla="*/ 188334 w 577154"/>
                  <a:gd name="connsiteY258" fmla="*/ 40198 h 586292"/>
                  <a:gd name="connsiteX259" fmla="*/ 196688 w 577154"/>
                  <a:gd name="connsiteY259" fmla="*/ 34889 h 586292"/>
                  <a:gd name="connsiteX260" fmla="*/ 202004 w 577154"/>
                  <a:gd name="connsiteY260" fmla="*/ 31855 h 586292"/>
                  <a:gd name="connsiteX261" fmla="*/ 211877 w 577154"/>
                  <a:gd name="connsiteY261" fmla="*/ 26546 h 586292"/>
                  <a:gd name="connsiteX262" fmla="*/ 214914 w 577154"/>
                  <a:gd name="connsiteY262" fmla="*/ 25029 h 586292"/>
                  <a:gd name="connsiteX263" fmla="*/ 318954 w 577154"/>
                  <a:gd name="connsiteY263" fmla="*/ 20478 h 586292"/>
                  <a:gd name="connsiteX264" fmla="*/ 294653 w 577154"/>
                  <a:gd name="connsiteY264" fmla="*/ 21237 h 586292"/>
                  <a:gd name="connsiteX265" fmla="*/ 290855 w 577154"/>
                  <a:gd name="connsiteY265" fmla="*/ 21995 h 586292"/>
                  <a:gd name="connsiteX266" fmla="*/ 289337 w 577154"/>
                  <a:gd name="connsiteY266" fmla="*/ 22754 h 586292"/>
                  <a:gd name="connsiteX267" fmla="*/ 278705 w 577154"/>
                  <a:gd name="connsiteY267" fmla="*/ 24271 h 586292"/>
                  <a:gd name="connsiteX268" fmla="*/ 277945 w 577154"/>
                  <a:gd name="connsiteY268" fmla="*/ 24271 h 586292"/>
                  <a:gd name="connsiteX269" fmla="*/ 268073 w 577154"/>
                  <a:gd name="connsiteY269" fmla="*/ 26546 h 586292"/>
                  <a:gd name="connsiteX270" fmla="*/ 266554 w 577154"/>
                  <a:gd name="connsiteY270" fmla="*/ 26546 h 586292"/>
                  <a:gd name="connsiteX271" fmla="*/ 257441 w 577154"/>
                  <a:gd name="connsiteY271" fmla="*/ 29580 h 586292"/>
                  <a:gd name="connsiteX272" fmla="*/ 254404 w 577154"/>
                  <a:gd name="connsiteY272" fmla="*/ 30338 h 586292"/>
                  <a:gd name="connsiteX273" fmla="*/ 246810 w 577154"/>
                  <a:gd name="connsiteY273" fmla="*/ 32614 h 586292"/>
                  <a:gd name="connsiteX274" fmla="*/ 240734 w 577154"/>
                  <a:gd name="connsiteY274" fmla="*/ 35648 h 586292"/>
                  <a:gd name="connsiteX275" fmla="*/ 236937 w 577154"/>
                  <a:gd name="connsiteY275" fmla="*/ 37164 h 586292"/>
                  <a:gd name="connsiteX276" fmla="*/ 109355 w 577154"/>
                  <a:gd name="connsiteY276" fmla="*/ 163069 h 586292"/>
                  <a:gd name="connsiteX277" fmla="*/ 109355 w 577154"/>
                  <a:gd name="connsiteY277" fmla="*/ 164586 h 586292"/>
                  <a:gd name="connsiteX278" fmla="*/ 104799 w 577154"/>
                  <a:gd name="connsiteY278" fmla="*/ 174446 h 586292"/>
                  <a:gd name="connsiteX279" fmla="*/ 103280 w 577154"/>
                  <a:gd name="connsiteY279" fmla="*/ 178239 h 586292"/>
                  <a:gd name="connsiteX280" fmla="*/ 100242 w 577154"/>
                  <a:gd name="connsiteY280" fmla="*/ 185823 h 586292"/>
                  <a:gd name="connsiteX281" fmla="*/ 97964 w 577154"/>
                  <a:gd name="connsiteY281" fmla="*/ 190374 h 586292"/>
                  <a:gd name="connsiteX282" fmla="*/ 95686 w 577154"/>
                  <a:gd name="connsiteY282" fmla="*/ 197201 h 586292"/>
                  <a:gd name="connsiteX283" fmla="*/ 94167 w 577154"/>
                  <a:gd name="connsiteY283" fmla="*/ 203268 h 586292"/>
                  <a:gd name="connsiteX284" fmla="*/ 92648 w 577154"/>
                  <a:gd name="connsiteY284" fmla="*/ 209336 h 586292"/>
                  <a:gd name="connsiteX285" fmla="*/ 90370 w 577154"/>
                  <a:gd name="connsiteY285" fmla="*/ 215404 h 586292"/>
                  <a:gd name="connsiteX286" fmla="*/ 88851 w 577154"/>
                  <a:gd name="connsiteY286" fmla="*/ 221471 h 586292"/>
                  <a:gd name="connsiteX287" fmla="*/ 87332 w 577154"/>
                  <a:gd name="connsiteY287" fmla="*/ 227539 h 586292"/>
                  <a:gd name="connsiteX288" fmla="*/ 86573 w 577154"/>
                  <a:gd name="connsiteY288" fmla="*/ 234365 h 586292"/>
                  <a:gd name="connsiteX289" fmla="*/ 85054 w 577154"/>
                  <a:gd name="connsiteY289" fmla="*/ 240433 h 586292"/>
                  <a:gd name="connsiteX290" fmla="*/ 84295 w 577154"/>
                  <a:gd name="connsiteY290" fmla="*/ 247259 h 586292"/>
                  <a:gd name="connsiteX291" fmla="*/ 83535 w 577154"/>
                  <a:gd name="connsiteY291" fmla="*/ 253327 h 586292"/>
                  <a:gd name="connsiteX292" fmla="*/ 82776 w 577154"/>
                  <a:gd name="connsiteY292" fmla="*/ 260912 h 586292"/>
                  <a:gd name="connsiteX293" fmla="*/ 82016 w 577154"/>
                  <a:gd name="connsiteY293" fmla="*/ 266221 h 586292"/>
                  <a:gd name="connsiteX294" fmla="*/ 81257 w 577154"/>
                  <a:gd name="connsiteY294" fmla="*/ 275322 h 586292"/>
                  <a:gd name="connsiteX295" fmla="*/ 81257 w 577154"/>
                  <a:gd name="connsiteY295" fmla="*/ 279873 h 586292"/>
                  <a:gd name="connsiteX296" fmla="*/ 80498 w 577154"/>
                  <a:gd name="connsiteY296" fmla="*/ 293525 h 586292"/>
                  <a:gd name="connsiteX297" fmla="*/ 81257 w 577154"/>
                  <a:gd name="connsiteY297" fmla="*/ 306419 h 586292"/>
                  <a:gd name="connsiteX298" fmla="*/ 81257 w 577154"/>
                  <a:gd name="connsiteY298" fmla="*/ 311729 h 586292"/>
                  <a:gd name="connsiteX299" fmla="*/ 82016 w 577154"/>
                  <a:gd name="connsiteY299" fmla="*/ 320072 h 586292"/>
                  <a:gd name="connsiteX300" fmla="*/ 82776 w 577154"/>
                  <a:gd name="connsiteY300" fmla="*/ 325381 h 586292"/>
                  <a:gd name="connsiteX301" fmla="*/ 83535 w 577154"/>
                  <a:gd name="connsiteY301" fmla="*/ 332966 h 586292"/>
                  <a:gd name="connsiteX302" fmla="*/ 84295 w 577154"/>
                  <a:gd name="connsiteY302" fmla="*/ 339033 h 586292"/>
                  <a:gd name="connsiteX303" fmla="*/ 85054 w 577154"/>
                  <a:gd name="connsiteY303" fmla="*/ 345859 h 586292"/>
                  <a:gd name="connsiteX304" fmla="*/ 86573 w 577154"/>
                  <a:gd name="connsiteY304" fmla="*/ 351927 h 586292"/>
                  <a:gd name="connsiteX305" fmla="*/ 87332 w 577154"/>
                  <a:gd name="connsiteY305" fmla="*/ 358753 h 586292"/>
                  <a:gd name="connsiteX306" fmla="*/ 88851 w 577154"/>
                  <a:gd name="connsiteY306" fmla="*/ 364821 h 586292"/>
                  <a:gd name="connsiteX307" fmla="*/ 90370 w 577154"/>
                  <a:gd name="connsiteY307" fmla="*/ 370889 h 586292"/>
                  <a:gd name="connsiteX308" fmla="*/ 91889 w 577154"/>
                  <a:gd name="connsiteY308" fmla="*/ 376956 h 586292"/>
                  <a:gd name="connsiteX309" fmla="*/ 94167 w 577154"/>
                  <a:gd name="connsiteY309" fmla="*/ 383783 h 586292"/>
                  <a:gd name="connsiteX310" fmla="*/ 95686 w 577154"/>
                  <a:gd name="connsiteY310" fmla="*/ 389092 h 586292"/>
                  <a:gd name="connsiteX311" fmla="*/ 97964 w 577154"/>
                  <a:gd name="connsiteY311" fmla="*/ 395918 h 586292"/>
                  <a:gd name="connsiteX312" fmla="*/ 100242 w 577154"/>
                  <a:gd name="connsiteY312" fmla="*/ 401227 h 586292"/>
                  <a:gd name="connsiteX313" fmla="*/ 103280 w 577154"/>
                  <a:gd name="connsiteY313" fmla="*/ 408812 h 586292"/>
                  <a:gd name="connsiteX314" fmla="*/ 104799 w 577154"/>
                  <a:gd name="connsiteY314" fmla="*/ 412604 h 586292"/>
                  <a:gd name="connsiteX315" fmla="*/ 108596 w 577154"/>
                  <a:gd name="connsiteY315" fmla="*/ 422464 h 586292"/>
                  <a:gd name="connsiteX316" fmla="*/ 109355 w 577154"/>
                  <a:gd name="connsiteY316" fmla="*/ 423223 h 586292"/>
                  <a:gd name="connsiteX317" fmla="*/ 236937 w 577154"/>
                  <a:gd name="connsiteY317" fmla="*/ 549886 h 586292"/>
                  <a:gd name="connsiteX318" fmla="*/ 240734 w 577154"/>
                  <a:gd name="connsiteY318" fmla="*/ 551403 h 586292"/>
                  <a:gd name="connsiteX319" fmla="*/ 246810 w 577154"/>
                  <a:gd name="connsiteY319" fmla="*/ 553678 h 586292"/>
                  <a:gd name="connsiteX320" fmla="*/ 254404 w 577154"/>
                  <a:gd name="connsiteY320" fmla="*/ 555954 h 586292"/>
                  <a:gd name="connsiteX321" fmla="*/ 257441 w 577154"/>
                  <a:gd name="connsiteY321" fmla="*/ 557471 h 586292"/>
                  <a:gd name="connsiteX322" fmla="*/ 266554 w 577154"/>
                  <a:gd name="connsiteY322" fmla="*/ 559746 h 586292"/>
                  <a:gd name="connsiteX323" fmla="*/ 268073 w 577154"/>
                  <a:gd name="connsiteY323" fmla="*/ 559746 h 586292"/>
                  <a:gd name="connsiteX324" fmla="*/ 277945 w 577154"/>
                  <a:gd name="connsiteY324" fmla="*/ 562021 h 586292"/>
                  <a:gd name="connsiteX325" fmla="*/ 278705 w 577154"/>
                  <a:gd name="connsiteY325" fmla="*/ 562780 h 586292"/>
                  <a:gd name="connsiteX326" fmla="*/ 289337 w 577154"/>
                  <a:gd name="connsiteY326" fmla="*/ 564297 h 586292"/>
                  <a:gd name="connsiteX327" fmla="*/ 290855 w 577154"/>
                  <a:gd name="connsiteY327" fmla="*/ 564297 h 586292"/>
                  <a:gd name="connsiteX328" fmla="*/ 294653 w 577154"/>
                  <a:gd name="connsiteY328" fmla="*/ 565055 h 586292"/>
                  <a:gd name="connsiteX329" fmla="*/ 318954 w 577154"/>
                  <a:gd name="connsiteY329" fmla="*/ 566572 h 586292"/>
                  <a:gd name="connsiteX330" fmla="*/ 556650 w 577154"/>
                  <a:gd name="connsiteY330" fmla="*/ 293525 h 586292"/>
                  <a:gd name="connsiteX331" fmla="*/ 318954 w 577154"/>
                  <a:gd name="connsiteY331" fmla="*/ 20478 h 586292"/>
                  <a:gd name="connsiteX332" fmla="*/ 258201 w 577154"/>
                  <a:gd name="connsiteY332" fmla="*/ 0 h 586292"/>
                  <a:gd name="connsiteX333" fmla="*/ 287818 w 577154"/>
                  <a:gd name="connsiteY333" fmla="*/ 2275 h 586292"/>
                  <a:gd name="connsiteX334" fmla="*/ 318954 w 577154"/>
                  <a:gd name="connsiteY334" fmla="*/ 0 h 586292"/>
                  <a:gd name="connsiteX335" fmla="*/ 577154 w 577154"/>
                  <a:gd name="connsiteY335" fmla="*/ 293525 h 586292"/>
                  <a:gd name="connsiteX336" fmla="*/ 318954 w 577154"/>
                  <a:gd name="connsiteY336" fmla="*/ 586292 h 586292"/>
                  <a:gd name="connsiteX337" fmla="*/ 287818 w 577154"/>
                  <a:gd name="connsiteY337" fmla="*/ 584775 h 586292"/>
                  <a:gd name="connsiteX338" fmla="*/ 258201 w 577154"/>
                  <a:gd name="connsiteY338" fmla="*/ 586292 h 586292"/>
                  <a:gd name="connsiteX339" fmla="*/ 110874 w 577154"/>
                  <a:gd name="connsiteY339" fmla="*/ 533958 h 586292"/>
                  <a:gd name="connsiteX340" fmla="*/ 108596 w 577154"/>
                  <a:gd name="connsiteY340" fmla="*/ 532441 h 586292"/>
                  <a:gd name="connsiteX341" fmla="*/ 60753 w 577154"/>
                  <a:gd name="connsiteY341" fmla="*/ 482383 h 586292"/>
                  <a:gd name="connsiteX342" fmla="*/ 59993 w 577154"/>
                  <a:gd name="connsiteY342" fmla="*/ 480866 h 586292"/>
                  <a:gd name="connsiteX343" fmla="*/ 25060 w 577154"/>
                  <a:gd name="connsiteY343" fmla="*/ 419430 h 586292"/>
                  <a:gd name="connsiteX344" fmla="*/ 24301 w 577154"/>
                  <a:gd name="connsiteY344" fmla="*/ 417913 h 586292"/>
                  <a:gd name="connsiteX345" fmla="*/ 0 w 577154"/>
                  <a:gd name="connsiteY345" fmla="*/ 293525 h 586292"/>
                  <a:gd name="connsiteX346" fmla="*/ 9872 w 577154"/>
                  <a:gd name="connsiteY346" fmla="*/ 211611 h 586292"/>
                  <a:gd name="connsiteX347" fmla="*/ 10632 w 577154"/>
                  <a:gd name="connsiteY347" fmla="*/ 207819 h 586292"/>
                  <a:gd name="connsiteX348" fmla="*/ 28857 w 577154"/>
                  <a:gd name="connsiteY348" fmla="*/ 158519 h 586292"/>
                  <a:gd name="connsiteX349" fmla="*/ 29617 w 577154"/>
                  <a:gd name="connsiteY349" fmla="*/ 157002 h 586292"/>
                  <a:gd name="connsiteX350" fmla="*/ 67588 w 577154"/>
                  <a:gd name="connsiteY350" fmla="*/ 94808 h 586292"/>
                  <a:gd name="connsiteX351" fmla="*/ 69106 w 577154"/>
                  <a:gd name="connsiteY351" fmla="*/ 94049 h 586292"/>
                  <a:gd name="connsiteX352" fmla="*/ 123025 w 577154"/>
                  <a:gd name="connsiteY352" fmla="*/ 43232 h 586292"/>
                  <a:gd name="connsiteX353" fmla="*/ 258201 w 577154"/>
                  <a:gd name="connsiteY353" fmla="*/ 0 h 58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</a:cxnLst>
                <a:rect l="l" t="t" r="r" b="b"/>
                <a:pathLst>
                  <a:path w="577154" h="586292">
                    <a:moveTo>
                      <a:pt x="149604" y="536234"/>
                    </a:moveTo>
                    <a:cubicBezTo>
                      <a:pt x="170108" y="548369"/>
                      <a:pt x="191372" y="556712"/>
                      <a:pt x="214914" y="562021"/>
                    </a:cubicBezTo>
                    <a:cubicBezTo>
                      <a:pt x="214155" y="561263"/>
                      <a:pt x="212636" y="560504"/>
                      <a:pt x="211877" y="559746"/>
                    </a:cubicBezTo>
                    <a:cubicBezTo>
                      <a:pt x="208079" y="558229"/>
                      <a:pt x="205041" y="556712"/>
                      <a:pt x="202004" y="554437"/>
                    </a:cubicBezTo>
                    <a:cubicBezTo>
                      <a:pt x="199725" y="553678"/>
                      <a:pt x="198207" y="552920"/>
                      <a:pt x="196688" y="551403"/>
                    </a:cubicBezTo>
                    <a:cubicBezTo>
                      <a:pt x="192131" y="549128"/>
                      <a:pt x="188334" y="546094"/>
                      <a:pt x="184537" y="543818"/>
                    </a:cubicBezTo>
                    <a:cubicBezTo>
                      <a:pt x="182259" y="542301"/>
                      <a:pt x="179981" y="540784"/>
                      <a:pt x="177702" y="538509"/>
                    </a:cubicBezTo>
                    <a:cubicBezTo>
                      <a:pt x="176184" y="537751"/>
                      <a:pt x="175424" y="536992"/>
                      <a:pt x="173905" y="536234"/>
                    </a:cubicBezTo>
                    <a:close/>
                    <a:moveTo>
                      <a:pt x="299943" y="499816"/>
                    </a:moveTo>
                    <a:cubicBezTo>
                      <a:pt x="306021" y="500576"/>
                      <a:pt x="312100" y="500576"/>
                      <a:pt x="318939" y="500576"/>
                    </a:cubicBezTo>
                    <a:cubicBezTo>
                      <a:pt x="324257" y="500576"/>
                      <a:pt x="329576" y="505139"/>
                      <a:pt x="329576" y="511222"/>
                    </a:cubicBezTo>
                    <a:cubicBezTo>
                      <a:pt x="329576" y="516546"/>
                      <a:pt x="325017" y="521108"/>
                      <a:pt x="319698" y="521108"/>
                    </a:cubicBezTo>
                    <a:lnTo>
                      <a:pt x="318939" y="521108"/>
                    </a:lnTo>
                    <a:cubicBezTo>
                      <a:pt x="311340" y="521108"/>
                      <a:pt x="304502" y="520348"/>
                      <a:pt x="297663" y="519587"/>
                    </a:cubicBezTo>
                    <a:cubicBezTo>
                      <a:pt x="291584" y="518827"/>
                      <a:pt x="287785" y="514264"/>
                      <a:pt x="288545" y="508941"/>
                    </a:cubicBezTo>
                    <a:cubicBezTo>
                      <a:pt x="289305" y="502857"/>
                      <a:pt x="293864" y="499055"/>
                      <a:pt x="299943" y="499816"/>
                    </a:cubicBezTo>
                    <a:close/>
                    <a:moveTo>
                      <a:pt x="88851" y="485417"/>
                    </a:moveTo>
                    <a:cubicBezTo>
                      <a:pt x="98723" y="496794"/>
                      <a:pt x="109355" y="506654"/>
                      <a:pt x="119987" y="515755"/>
                    </a:cubicBezTo>
                    <a:lnTo>
                      <a:pt x="150364" y="515755"/>
                    </a:lnTo>
                    <a:cubicBezTo>
                      <a:pt x="149604" y="514997"/>
                      <a:pt x="148845" y="514238"/>
                      <a:pt x="148085" y="513480"/>
                    </a:cubicBezTo>
                    <a:cubicBezTo>
                      <a:pt x="146566" y="511204"/>
                      <a:pt x="144288" y="508929"/>
                      <a:pt x="142010" y="507412"/>
                    </a:cubicBezTo>
                    <a:cubicBezTo>
                      <a:pt x="140491" y="505137"/>
                      <a:pt x="138213" y="502861"/>
                      <a:pt x="136694" y="501344"/>
                    </a:cubicBezTo>
                    <a:cubicBezTo>
                      <a:pt x="133656" y="497552"/>
                      <a:pt x="130619" y="493760"/>
                      <a:pt x="127581" y="489967"/>
                    </a:cubicBezTo>
                    <a:cubicBezTo>
                      <a:pt x="126062" y="488450"/>
                      <a:pt x="125303" y="486934"/>
                      <a:pt x="123784" y="485417"/>
                    </a:cubicBezTo>
                    <a:close/>
                    <a:moveTo>
                      <a:pt x="399912" y="482256"/>
                    </a:moveTo>
                    <a:cubicBezTo>
                      <a:pt x="402382" y="483014"/>
                      <a:pt x="404471" y="484721"/>
                      <a:pt x="405611" y="486996"/>
                    </a:cubicBezTo>
                    <a:cubicBezTo>
                      <a:pt x="408650" y="492305"/>
                      <a:pt x="406371" y="498373"/>
                      <a:pt x="401812" y="500648"/>
                    </a:cubicBezTo>
                    <a:cubicBezTo>
                      <a:pt x="394973" y="504441"/>
                      <a:pt x="388895" y="506716"/>
                      <a:pt x="382056" y="509750"/>
                    </a:cubicBezTo>
                    <a:cubicBezTo>
                      <a:pt x="380536" y="509750"/>
                      <a:pt x="379776" y="510508"/>
                      <a:pt x="378257" y="510508"/>
                    </a:cubicBezTo>
                    <a:cubicBezTo>
                      <a:pt x="374458" y="510508"/>
                      <a:pt x="370658" y="507474"/>
                      <a:pt x="369139" y="503682"/>
                    </a:cubicBezTo>
                    <a:cubicBezTo>
                      <a:pt x="366859" y="498373"/>
                      <a:pt x="369899" y="492305"/>
                      <a:pt x="375217" y="490789"/>
                    </a:cubicBezTo>
                    <a:cubicBezTo>
                      <a:pt x="380536" y="488513"/>
                      <a:pt x="386615" y="486238"/>
                      <a:pt x="391934" y="483204"/>
                    </a:cubicBezTo>
                    <a:cubicBezTo>
                      <a:pt x="394593" y="481687"/>
                      <a:pt x="397443" y="481498"/>
                      <a:pt x="399912" y="482256"/>
                    </a:cubicBezTo>
                    <a:close/>
                    <a:moveTo>
                      <a:pt x="229351" y="474063"/>
                    </a:moveTo>
                    <a:cubicBezTo>
                      <a:pt x="234677" y="477094"/>
                      <a:pt x="240764" y="480126"/>
                      <a:pt x="246091" y="483157"/>
                    </a:cubicBezTo>
                    <a:cubicBezTo>
                      <a:pt x="250656" y="486188"/>
                      <a:pt x="252939" y="492250"/>
                      <a:pt x="250656" y="496797"/>
                    </a:cubicBezTo>
                    <a:cubicBezTo>
                      <a:pt x="248374" y="500586"/>
                      <a:pt x="245330" y="502101"/>
                      <a:pt x="241525" y="502101"/>
                    </a:cubicBezTo>
                    <a:cubicBezTo>
                      <a:pt x="240004" y="502101"/>
                      <a:pt x="238482" y="502101"/>
                      <a:pt x="236960" y="501343"/>
                    </a:cubicBezTo>
                    <a:cubicBezTo>
                      <a:pt x="230872" y="498312"/>
                      <a:pt x="224024" y="494523"/>
                      <a:pt x="218698" y="490735"/>
                    </a:cubicBezTo>
                    <a:cubicBezTo>
                      <a:pt x="214132" y="487703"/>
                      <a:pt x="212610" y="481641"/>
                      <a:pt x="215654" y="477094"/>
                    </a:cubicBezTo>
                    <a:cubicBezTo>
                      <a:pt x="218698" y="471790"/>
                      <a:pt x="224785" y="471032"/>
                      <a:pt x="229351" y="474063"/>
                    </a:cubicBezTo>
                    <a:close/>
                    <a:moveTo>
                      <a:pt x="464745" y="433889"/>
                    </a:moveTo>
                    <a:cubicBezTo>
                      <a:pt x="469298" y="436925"/>
                      <a:pt x="470057" y="443755"/>
                      <a:pt x="466262" y="447550"/>
                    </a:cubicBezTo>
                    <a:cubicBezTo>
                      <a:pt x="461709" y="453622"/>
                      <a:pt x="457155" y="458935"/>
                      <a:pt x="451842" y="463488"/>
                    </a:cubicBezTo>
                    <a:cubicBezTo>
                      <a:pt x="450324" y="465765"/>
                      <a:pt x="447288" y="466524"/>
                      <a:pt x="445012" y="466524"/>
                    </a:cubicBezTo>
                    <a:cubicBezTo>
                      <a:pt x="442735" y="466524"/>
                      <a:pt x="439699" y="465765"/>
                      <a:pt x="438181" y="463488"/>
                    </a:cubicBezTo>
                    <a:cubicBezTo>
                      <a:pt x="433627" y="459694"/>
                      <a:pt x="433627" y="453622"/>
                      <a:pt x="438181" y="449068"/>
                    </a:cubicBezTo>
                    <a:cubicBezTo>
                      <a:pt x="441976" y="444514"/>
                      <a:pt x="446530" y="439961"/>
                      <a:pt x="450324" y="435407"/>
                    </a:cubicBezTo>
                    <a:cubicBezTo>
                      <a:pt x="454119" y="430853"/>
                      <a:pt x="460191" y="430094"/>
                      <a:pt x="464745" y="433889"/>
                    </a:cubicBezTo>
                    <a:close/>
                    <a:moveTo>
                      <a:pt x="49362" y="424740"/>
                    </a:moveTo>
                    <a:cubicBezTo>
                      <a:pt x="56196" y="439150"/>
                      <a:pt x="64550" y="452803"/>
                      <a:pt x="73663" y="464938"/>
                    </a:cubicBezTo>
                    <a:lnTo>
                      <a:pt x="109355" y="464938"/>
                    </a:lnTo>
                    <a:cubicBezTo>
                      <a:pt x="107836" y="461904"/>
                      <a:pt x="106318" y="459629"/>
                      <a:pt x="104039" y="456595"/>
                    </a:cubicBezTo>
                    <a:cubicBezTo>
                      <a:pt x="103280" y="455078"/>
                      <a:pt x="102521" y="453561"/>
                      <a:pt x="101761" y="452044"/>
                    </a:cubicBezTo>
                    <a:cubicBezTo>
                      <a:pt x="99483" y="448252"/>
                      <a:pt x="97205" y="443701"/>
                      <a:pt x="94926" y="439909"/>
                    </a:cubicBezTo>
                    <a:cubicBezTo>
                      <a:pt x="94167" y="438392"/>
                      <a:pt x="93408" y="436875"/>
                      <a:pt x="92648" y="435358"/>
                    </a:cubicBezTo>
                    <a:cubicBezTo>
                      <a:pt x="91129" y="431566"/>
                      <a:pt x="89611" y="428532"/>
                      <a:pt x="88092" y="424740"/>
                    </a:cubicBezTo>
                    <a:close/>
                    <a:moveTo>
                      <a:pt x="161771" y="417898"/>
                    </a:moveTo>
                    <a:cubicBezTo>
                      <a:pt x="166316" y="414864"/>
                      <a:pt x="173134" y="415623"/>
                      <a:pt x="176164" y="420173"/>
                    </a:cubicBezTo>
                    <a:cubicBezTo>
                      <a:pt x="179194" y="425482"/>
                      <a:pt x="183739" y="430790"/>
                      <a:pt x="187527" y="435341"/>
                    </a:cubicBezTo>
                    <a:cubicBezTo>
                      <a:pt x="190557" y="439891"/>
                      <a:pt x="190557" y="446717"/>
                      <a:pt x="186012" y="449750"/>
                    </a:cubicBezTo>
                    <a:cubicBezTo>
                      <a:pt x="183739" y="451267"/>
                      <a:pt x="181466" y="452025"/>
                      <a:pt x="179194" y="452025"/>
                    </a:cubicBezTo>
                    <a:cubicBezTo>
                      <a:pt x="176921" y="452025"/>
                      <a:pt x="173891" y="451267"/>
                      <a:pt x="171619" y="448233"/>
                    </a:cubicBezTo>
                    <a:cubicBezTo>
                      <a:pt x="167074" y="442925"/>
                      <a:pt x="163286" y="437616"/>
                      <a:pt x="159498" y="431549"/>
                    </a:cubicBezTo>
                    <a:cubicBezTo>
                      <a:pt x="155711" y="426998"/>
                      <a:pt x="157226" y="420931"/>
                      <a:pt x="161771" y="417898"/>
                    </a:cubicBezTo>
                    <a:close/>
                    <a:moveTo>
                      <a:pt x="31136" y="373923"/>
                    </a:moveTo>
                    <a:cubicBezTo>
                      <a:pt x="33414" y="384541"/>
                      <a:pt x="37211" y="394401"/>
                      <a:pt x="41008" y="404261"/>
                    </a:cubicBezTo>
                    <a:lnTo>
                      <a:pt x="79738" y="404261"/>
                    </a:lnTo>
                    <a:cubicBezTo>
                      <a:pt x="79738" y="403503"/>
                      <a:pt x="78979" y="401986"/>
                      <a:pt x="78979" y="401227"/>
                    </a:cubicBezTo>
                    <a:cubicBezTo>
                      <a:pt x="78219" y="399710"/>
                      <a:pt x="77460" y="398952"/>
                      <a:pt x="77460" y="397435"/>
                    </a:cubicBezTo>
                    <a:cubicBezTo>
                      <a:pt x="75182" y="391367"/>
                      <a:pt x="73663" y="385300"/>
                      <a:pt x="72144" y="379232"/>
                    </a:cubicBezTo>
                    <a:cubicBezTo>
                      <a:pt x="71385" y="378473"/>
                      <a:pt x="71385" y="378473"/>
                      <a:pt x="71385" y="377715"/>
                    </a:cubicBezTo>
                    <a:cubicBezTo>
                      <a:pt x="71385" y="376956"/>
                      <a:pt x="70625" y="375439"/>
                      <a:pt x="70625" y="373923"/>
                    </a:cubicBezTo>
                    <a:close/>
                    <a:moveTo>
                      <a:pt x="499728" y="361797"/>
                    </a:moveTo>
                    <a:cubicBezTo>
                      <a:pt x="505037" y="363315"/>
                      <a:pt x="508071" y="369384"/>
                      <a:pt x="506554" y="374694"/>
                    </a:cubicBezTo>
                    <a:cubicBezTo>
                      <a:pt x="504279" y="381522"/>
                      <a:pt x="501245" y="387591"/>
                      <a:pt x="498970" y="394418"/>
                    </a:cubicBezTo>
                    <a:cubicBezTo>
                      <a:pt x="497453" y="398211"/>
                      <a:pt x="493661" y="400487"/>
                      <a:pt x="489868" y="400487"/>
                    </a:cubicBezTo>
                    <a:cubicBezTo>
                      <a:pt x="488352" y="400487"/>
                      <a:pt x="486835" y="399729"/>
                      <a:pt x="485318" y="399729"/>
                    </a:cubicBezTo>
                    <a:cubicBezTo>
                      <a:pt x="480767" y="397453"/>
                      <a:pt x="477733" y="391384"/>
                      <a:pt x="480009" y="386073"/>
                    </a:cubicBezTo>
                    <a:cubicBezTo>
                      <a:pt x="483042" y="380004"/>
                      <a:pt x="485318" y="373935"/>
                      <a:pt x="486835" y="367866"/>
                    </a:cubicBezTo>
                    <a:cubicBezTo>
                      <a:pt x="489110" y="362556"/>
                      <a:pt x="494419" y="360280"/>
                      <a:pt x="499728" y="361797"/>
                    </a:cubicBezTo>
                    <a:close/>
                    <a:moveTo>
                      <a:pt x="132907" y="343643"/>
                    </a:moveTo>
                    <a:cubicBezTo>
                      <a:pt x="138227" y="342126"/>
                      <a:pt x="143546" y="345161"/>
                      <a:pt x="145066" y="350471"/>
                    </a:cubicBezTo>
                    <a:cubicBezTo>
                      <a:pt x="146586" y="356540"/>
                      <a:pt x="148865" y="363368"/>
                      <a:pt x="150385" y="368678"/>
                    </a:cubicBezTo>
                    <a:cubicBezTo>
                      <a:pt x="152665" y="373988"/>
                      <a:pt x="149625" y="380057"/>
                      <a:pt x="144306" y="381575"/>
                    </a:cubicBezTo>
                    <a:cubicBezTo>
                      <a:pt x="142786" y="382333"/>
                      <a:pt x="142026" y="382333"/>
                      <a:pt x="141266" y="382333"/>
                    </a:cubicBezTo>
                    <a:cubicBezTo>
                      <a:pt x="136707" y="382333"/>
                      <a:pt x="132907" y="380057"/>
                      <a:pt x="131388" y="375506"/>
                    </a:cubicBezTo>
                    <a:cubicBezTo>
                      <a:pt x="129108" y="368678"/>
                      <a:pt x="126828" y="362609"/>
                      <a:pt x="125309" y="355781"/>
                    </a:cubicBezTo>
                    <a:cubicBezTo>
                      <a:pt x="123789" y="350471"/>
                      <a:pt x="127588" y="344402"/>
                      <a:pt x="132907" y="343643"/>
                    </a:cubicBezTo>
                    <a:close/>
                    <a:moveTo>
                      <a:pt x="21263" y="323864"/>
                    </a:moveTo>
                    <a:cubicBezTo>
                      <a:pt x="22782" y="333724"/>
                      <a:pt x="24301" y="344342"/>
                      <a:pt x="25820" y="354203"/>
                    </a:cubicBezTo>
                    <a:lnTo>
                      <a:pt x="66069" y="354203"/>
                    </a:lnTo>
                    <a:cubicBezTo>
                      <a:pt x="65309" y="348135"/>
                      <a:pt x="63790" y="342826"/>
                      <a:pt x="63031" y="337516"/>
                    </a:cubicBezTo>
                    <a:cubicBezTo>
                      <a:pt x="63031" y="336758"/>
                      <a:pt x="63031" y="336758"/>
                      <a:pt x="63031" y="335999"/>
                    </a:cubicBezTo>
                    <a:cubicBezTo>
                      <a:pt x="63031" y="332207"/>
                      <a:pt x="62272" y="327656"/>
                      <a:pt x="61512" y="323864"/>
                    </a:cubicBezTo>
                    <a:close/>
                    <a:moveTo>
                      <a:pt x="509625" y="282911"/>
                    </a:moveTo>
                    <a:cubicBezTo>
                      <a:pt x="514955" y="282911"/>
                      <a:pt x="519524" y="286704"/>
                      <a:pt x="519524" y="292773"/>
                    </a:cubicBezTo>
                    <a:lnTo>
                      <a:pt x="519524" y="293532"/>
                    </a:lnTo>
                    <a:cubicBezTo>
                      <a:pt x="519524" y="300360"/>
                      <a:pt x="519524" y="307187"/>
                      <a:pt x="518763" y="313256"/>
                    </a:cubicBezTo>
                    <a:cubicBezTo>
                      <a:pt x="518763" y="318567"/>
                      <a:pt x="514194" y="323118"/>
                      <a:pt x="508863" y="323118"/>
                    </a:cubicBezTo>
                    <a:cubicBezTo>
                      <a:pt x="508102" y="323118"/>
                      <a:pt x="508102" y="323118"/>
                      <a:pt x="508102" y="322360"/>
                    </a:cubicBezTo>
                    <a:cubicBezTo>
                      <a:pt x="502010" y="322360"/>
                      <a:pt x="498202" y="317808"/>
                      <a:pt x="498964" y="311739"/>
                    </a:cubicBezTo>
                    <a:cubicBezTo>
                      <a:pt x="498964" y="305670"/>
                      <a:pt x="498964" y="299601"/>
                      <a:pt x="498964" y="293532"/>
                    </a:cubicBezTo>
                    <a:cubicBezTo>
                      <a:pt x="498964" y="287463"/>
                      <a:pt x="503533" y="282911"/>
                      <a:pt x="509625" y="282911"/>
                    </a:cubicBezTo>
                    <a:close/>
                    <a:moveTo>
                      <a:pt x="20504" y="273047"/>
                    </a:moveTo>
                    <a:cubicBezTo>
                      <a:pt x="20504" y="279873"/>
                      <a:pt x="19744" y="286699"/>
                      <a:pt x="19744" y="293525"/>
                    </a:cubicBezTo>
                    <a:cubicBezTo>
                      <a:pt x="19744" y="296559"/>
                      <a:pt x="20504" y="300352"/>
                      <a:pt x="20504" y="303385"/>
                    </a:cubicBezTo>
                    <a:lnTo>
                      <a:pt x="60753" y="303385"/>
                    </a:lnTo>
                    <a:cubicBezTo>
                      <a:pt x="60753" y="300352"/>
                      <a:pt x="60753" y="296559"/>
                      <a:pt x="60753" y="293525"/>
                    </a:cubicBezTo>
                    <a:cubicBezTo>
                      <a:pt x="60753" y="286699"/>
                      <a:pt x="60753" y="279873"/>
                      <a:pt x="61512" y="273805"/>
                    </a:cubicBezTo>
                    <a:cubicBezTo>
                      <a:pt x="61512" y="273047"/>
                      <a:pt x="61512" y="273047"/>
                      <a:pt x="61512" y="273047"/>
                    </a:cubicBezTo>
                    <a:close/>
                    <a:moveTo>
                      <a:pt x="129811" y="263173"/>
                    </a:moveTo>
                    <a:cubicBezTo>
                      <a:pt x="135111" y="263932"/>
                      <a:pt x="138897" y="268484"/>
                      <a:pt x="138897" y="274553"/>
                    </a:cubicBezTo>
                    <a:cubicBezTo>
                      <a:pt x="138140" y="280622"/>
                      <a:pt x="138140" y="286691"/>
                      <a:pt x="138140" y="292760"/>
                    </a:cubicBezTo>
                    <a:lnTo>
                      <a:pt x="138140" y="293518"/>
                    </a:lnTo>
                    <a:cubicBezTo>
                      <a:pt x="138140" y="298829"/>
                      <a:pt x="133597" y="303380"/>
                      <a:pt x="128297" y="303380"/>
                    </a:cubicBezTo>
                    <a:cubicBezTo>
                      <a:pt x="122997" y="303380"/>
                      <a:pt x="118454" y="299587"/>
                      <a:pt x="117697" y="294277"/>
                    </a:cubicBezTo>
                    <a:lnTo>
                      <a:pt x="117697" y="293518"/>
                    </a:lnTo>
                    <a:cubicBezTo>
                      <a:pt x="117697" y="286691"/>
                      <a:pt x="118454" y="279863"/>
                      <a:pt x="118454" y="273035"/>
                    </a:cubicBezTo>
                    <a:cubicBezTo>
                      <a:pt x="119211" y="266966"/>
                      <a:pt x="123754" y="263173"/>
                      <a:pt x="129811" y="263173"/>
                    </a:cubicBezTo>
                    <a:close/>
                    <a:moveTo>
                      <a:pt x="28098" y="222230"/>
                    </a:moveTo>
                    <a:cubicBezTo>
                      <a:pt x="25820" y="232090"/>
                      <a:pt x="24301" y="242708"/>
                      <a:pt x="22782" y="252568"/>
                    </a:cubicBezTo>
                    <a:lnTo>
                      <a:pt x="63031" y="252568"/>
                    </a:lnTo>
                    <a:cubicBezTo>
                      <a:pt x="63031" y="251810"/>
                      <a:pt x="63031" y="251052"/>
                      <a:pt x="63031" y="250293"/>
                    </a:cubicBezTo>
                    <a:cubicBezTo>
                      <a:pt x="63031" y="250293"/>
                      <a:pt x="63031" y="249535"/>
                      <a:pt x="63031" y="249535"/>
                    </a:cubicBezTo>
                    <a:cubicBezTo>
                      <a:pt x="64550" y="242708"/>
                      <a:pt x="65309" y="236641"/>
                      <a:pt x="66828" y="229815"/>
                    </a:cubicBezTo>
                    <a:cubicBezTo>
                      <a:pt x="66828" y="229056"/>
                      <a:pt x="66828" y="227539"/>
                      <a:pt x="67588" y="226022"/>
                    </a:cubicBezTo>
                    <a:cubicBezTo>
                      <a:pt x="67588" y="225264"/>
                      <a:pt x="67588" y="223747"/>
                      <a:pt x="68347" y="222230"/>
                    </a:cubicBezTo>
                    <a:close/>
                    <a:moveTo>
                      <a:pt x="492894" y="204013"/>
                    </a:moveTo>
                    <a:cubicBezTo>
                      <a:pt x="498219" y="202497"/>
                      <a:pt x="504304" y="205530"/>
                      <a:pt x="505825" y="210836"/>
                    </a:cubicBezTo>
                    <a:cubicBezTo>
                      <a:pt x="508108" y="216901"/>
                      <a:pt x="510390" y="223724"/>
                      <a:pt x="511911" y="230547"/>
                    </a:cubicBezTo>
                    <a:cubicBezTo>
                      <a:pt x="513432" y="235854"/>
                      <a:pt x="509629" y="241161"/>
                      <a:pt x="504304" y="242677"/>
                    </a:cubicBezTo>
                    <a:cubicBezTo>
                      <a:pt x="503543" y="243435"/>
                      <a:pt x="502783" y="243435"/>
                      <a:pt x="502022" y="243435"/>
                    </a:cubicBezTo>
                    <a:cubicBezTo>
                      <a:pt x="497458" y="243435"/>
                      <a:pt x="493655" y="240403"/>
                      <a:pt x="492133" y="235854"/>
                    </a:cubicBezTo>
                    <a:cubicBezTo>
                      <a:pt x="490612" y="229031"/>
                      <a:pt x="489091" y="222966"/>
                      <a:pt x="486809" y="216901"/>
                    </a:cubicBezTo>
                    <a:cubicBezTo>
                      <a:pt x="485287" y="211595"/>
                      <a:pt x="487569" y="206288"/>
                      <a:pt x="492894" y="204013"/>
                    </a:cubicBezTo>
                    <a:close/>
                    <a:moveTo>
                      <a:pt x="151873" y="186619"/>
                    </a:moveTo>
                    <a:cubicBezTo>
                      <a:pt x="157203" y="188895"/>
                      <a:pt x="159488" y="194964"/>
                      <a:pt x="157203" y="200274"/>
                    </a:cubicBezTo>
                    <a:cubicBezTo>
                      <a:pt x="154919" y="205585"/>
                      <a:pt x="152634" y="211654"/>
                      <a:pt x="150350" y="217723"/>
                    </a:cubicBezTo>
                    <a:cubicBezTo>
                      <a:pt x="148827" y="222274"/>
                      <a:pt x="145019" y="224550"/>
                      <a:pt x="140450" y="224550"/>
                    </a:cubicBezTo>
                    <a:cubicBezTo>
                      <a:pt x="139689" y="224550"/>
                      <a:pt x="138927" y="224550"/>
                      <a:pt x="137404" y="224550"/>
                    </a:cubicBezTo>
                    <a:cubicBezTo>
                      <a:pt x="132074" y="222274"/>
                      <a:pt x="129028" y="216964"/>
                      <a:pt x="131312" y="211654"/>
                    </a:cubicBezTo>
                    <a:cubicBezTo>
                      <a:pt x="133597" y="204826"/>
                      <a:pt x="135881" y="197998"/>
                      <a:pt x="138927" y="191929"/>
                    </a:cubicBezTo>
                    <a:cubicBezTo>
                      <a:pt x="141212" y="186619"/>
                      <a:pt x="147304" y="184343"/>
                      <a:pt x="151873" y="186619"/>
                    </a:cubicBezTo>
                    <a:close/>
                    <a:moveTo>
                      <a:pt x="218736" y="186536"/>
                    </a:moveTo>
                    <a:lnTo>
                      <a:pt x="281780" y="186536"/>
                    </a:lnTo>
                    <a:cubicBezTo>
                      <a:pt x="288616" y="186536"/>
                      <a:pt x="292414" y="190330"/>
                      <a:pt x="292414" y="196401"/>
                    </a:cubicBezTo>
                    <a:cubicBezTo>
                      <a:pt x="292414" y="202471"/>
                      <a:pt x="288616" y="207024"/>
                      <a:pt x="281780" y="207024"/>
                    </a:cubicBezTo>
                    <a:lnTo>
                      <a:pt x="264310" y="207024"/>
                    </a:lnTo>
                    <a:lnTo>
                      <a:pt x="322037" y="294288"/>
                    </a:lnTo>
                    <a:lnTo>
                      <a:pt x="379004" y="207024"/>
                    </a:lnTo>
                    <a:lnTo>
                      <a:pt x="361534" y="207024"/>
                    </a:lnTo>
                    <a:cubicBezTo>
                      <a:pt x="355457" y="207024"/>
                      <a:pt x="351659" y="202471"/>
                      <a:pt x="351659" y="196401"/>
                    </a:cubicBezTo>
                    <a:cubicBezTo>
                      <a:pt x="351659" y="190330"/>
                      <a:pt x="355457" y="186536"/>
                      <a:pt x="361534" y="186536"/>
                    </a:cubicBezTo>
                    <a:lnTo>
                      <a:pt x="425337" y="186536"/>
                    </a:lnTo>
                    <a:cubicBezTo>
                      <a:pt x="431413" y="186536"/>
                      <a:pt x="435211" y="190330"/>
                      <a:pt x="435211" y="196401"/>
                    </a:cubicBezTo>
                    <a:cubicBezTo>
                      <a:pt x="435211" y="202471"/>
                      <a:pt x="431413" y="207024"/>
                      <a:pt x="425337" y="207024"/>
                    </a:cubicBezTo>
                    <a:lnTo>
                      <a:pt x="405588" y="207024"/>
                    </a:lnTo>
                    <a:cubicBezTo>
                      <a:pt x="404069" y="207024"/>
                      <a:pt x="402550" y="207024"/>
                      <a:pt x="401031" y="209301"/>
                    </a:cubicBezTo>
                    <a:lnTo>
                      <a:pt x="337987" y="307947"/>
                    </a:lnTo>
                    <a:lnTo>
                      <a:pt x="373687" y="307947"/>
                    </a:lnTo>
                    <a:cubicBezTo>
                      <a:pt x="380523" y="307947"/>
                      <a:pt x="384321" y="311741"/>
                      <a:pt x="384321" y="317812"/>
                    </a:cubicBezTo>
                    <a:cubicBezTo>
                      <a:pt x="384321" y="324641"/>
                      <a:pt x="380523" y="328435"/>
                      <a:pt x="373687" y="328435"/>
                    </a:cubicBezTo>
                    <a:lnTo>
                      <a:pt x="331911" y="328435"/>
                    </a:lnTo>
                    <a:lnTo>
                      <a:pt x="331911" y="338300"/>
                    </a:lnTo>
                    <a:lnTo>
                      <a:pt x="373687" y="338300"/>
                    </a:lnTo>
                    <a:cubicBezTo>
                      <a:pt x="380523" y="338300"/>
                      <a:pt x="384321" y="342094"/>
                      <a:pt x="384321" y="348164"/>
                    </a:cubicBezTo>
                    <a:cubicBezTo>
                      <a:pt x="384321" y="354994"/>
                      <a:pt x="380523" y="358788"/>
                      <a:pt x="373687" y="358788"/>
                    </a:cubicBezTo>
                    <a:lnTo>
                      <a:pt x="331911" y="358788"/>
                    </a:lnTo>
                    <a:lnTo>
                      <a:pt x="331911" y="399005"/>
                    </a:lnTo>
                    <a:lnTo>
                      <a:pt x="355457" y="399005"/>
                    </a:lnTo>
                    <a:cubicBezTo>
                      <a:pt x="361534" y="399005"/>
                      <a:pt x="365332" y="402799"/>
                      <a:pt x="365332" y="408870"/>
                    </a:cubicBezTo>
                    <a:cubicBezTo>
                      <a:pt x="365332" y="415699"/>
                      <a:pt x="361534" y="419493"/>
                      <a:pt x="355457" y="419493"/>
                    </a:cubicBezTo>
                    <a:lnTo>
                      <a:pt x="288616" y="419493"/>
                    </a:lnTo>
                    <a:cubicBezTo>
                      <a:pt x="282539" y="419493"/>
                      <a:pt x="278742" y="415699"/>
                      <a:pt x="278742" y="408870"/>
                    </a:cubicBezTo>
                    <a:cubicBezTo>
                      <a:pt x="278742" y="402799"/>
                      <a:pt x="282539" y="399005"/>
                      <a:pt x="288616" y="399005"/>
                    </a:cubicBezTo>
                    <a:lnTo>
                      <a:pt x="312162" y="399005"/>
                    </a:lnTo>
                    <a:lnTo>
                      <a:pt x="312162" y="358788"/>
                    </a:lnTo>
                    <a:lnTo>
                      <a:pt x="270386" y="358788"/>
                    </a:lnTo>
                    <a:cubicBezTo>
                      <a:pt x="264310" y="358788"/>
                      <a:pt x="259752" y="354994"/>
                      <a:pt x="259752" y="348164"/>
                    </a:cubicBezTo>
                    <a:cubicBezTo>
                      <a:pt x="259752" y="342094"/>
                      <a:pt x="264310" y="338300"/>
                      <a:pt x="270386" y="338300"/>
                    </a:cubicBezTo>
                    <a:lnTo>
                      <a:pt x="312162" y="338300"/>
                    </a:lnTo>
                    <a:lnTo>
                      <a:pt x="312162" y="328435"/>
                    </a:lnTo>
                    <a:lnTo>
                      <a:pt x="270386" y="328435"/>
                    </a:lnTo>
                    <a:cubicBezTo>
                      <a:pt x="264310" y="328435"/>
                      <a:pt x="259752" y="324641"/>
                      <a:pt x="259752" y="317812"/>
                    </a:cubicBezTo>
                    <a:cubicBezTo>
                      <a:pt x="259752" y="311741"/>
                      <a:pt x="264310" y="307947"/>
                      <a:pt x="270386" y="307947"/>
                    </a:cubicBezTo>
                    <a:lnTo>
                      <a:pt x="305326" y="307947"/>
                    </a:lnTo>
                    <a:lnTo>
                      <a:pt x="242283" y="209301"/>
                    </a:lnTo>
                    <a:cubicBezTo>
                      <a:pt x="241523" y="207024"/>
                      <a:pt x="240004" y="207024"/>
                      <a:pt x="238485" y="207024"/>
                    </a:cubicBezTo>
                    <a:lnTo>
                      <a:pt x="218736" y="207024"/>
                    </a:lnTo>
                    <a:cubicBezTo>
                      <a:pt x="211900" y="207024"/>
                      <a:pt x="208102" y="202471"/>
                      <a:pt x="208102" y="196401"/>
                    </a:cubicBezTo>
                    <a:cubicBezTo>
                      <a:pt x="208102" y="190330"/>
                      <a:pt x="211900" y="186536"/>
                      <a:pt x="218736" y="186536"/>
                    </a:cubicBezTo>
                    <a:close/>
                    <a:moveTo>
                      <a:pt x="44805" y="172171"/>
                    </a:moveTo>
                    <a:cubicBezTo>
                      <a:pt x="41008" y="182031"/>
                      <a:pt x="37211" y="191891"/>
                      <a:pt x="33414" y="202510"/>
                    </a:cubicBezTo>
                    <a:lnTo>
                      <a:pt x="73663" y="202510"/>
                    </a:lnTo>
                    <a:cubicBezTo>
                      <a:pt x="74422" y="197959"/>
                      <a:pt x="75941" y="193408"/>
                      <a:pt x="77460" y="188858"/>
                    </a:cubicBezTo>
                    <a:cubicBezTo>
                      <a:pt x="77460" y="188099"/>
                      <a:pt x="78219" y="186582"/>
                      <a:pt x="78979" y="185065"/>
                    </a:cubicBezTo>
                    <a:cubicBezTo>
                      <a:pt x="80498" y="180514"/>
                      <a:pt x="82016" y="175963"/>
                      <a:pt x="83535" y="172171"/>
                    </a:cubicBezTo>
                    <a:close/>
                    <a:moveTo>
                      <a:pt x="451103" y="136487"/>
                    </a:moveTo>
                    <a:cubicBezTo>
                      <a:pt x="455664" y="132683"/>
                      <a:pt x="461746" y="133444"/>
                      <a:pt x="465547" y="138009"/>
                    </a:cubicBezTo>
                    <a:cubicBezTo>
                      <a:pt x="470108" y="143335"/>
                      <a:pt x="473909" y="148661"/>
                      <a:pt x="477709" y="154748"/>
                    </a:cubicBezTo>
                    <a:cubicBezTo>
                      <a:pt x="481510" y="159313"/>
                      <a:pt x="479990" y="165400"/>
                      <a:pt x="475429" y="168444"/>
                    </a:cubicBezTo>
                    <a:cubicBezTo>
                      <a:pt x="473909" y="169966"/>
                      <a:pt x="471628" y="169966"/>
                      <a:pt x="469347" y="169966"/>
                    </a:cubicBezTo>
                    <a:cubicBezTo>
                      <a:pt x="466307" y="169966"/>
                      <a:pt x="463266" y="168444"/>
                      <a:pt x="460986" y="166161"/>
                    </a:cubicBezTo>
                    <a:cubicBezTo>
                      <a:pt x="457945" y="160835"/>
                      <a:pt x="454144" y="155509"/>
                      <a:pt x="449583" y="150183"/>
                    </a:cubicBezTo>
                    <a:cubicBezTo>
                      <a:pt x="446542" y="146379"/>
                      <a:pt x="446542" y="139531"/>
                      <a:pt x="451103" y="136487"/>
                    </a:cubicBezTo>
                    <a:close/>
                    <a:moveTo>
                      <a:pt x="185242" y="122835"/>
                    </a:moveTo>
                    <a:cubicBezTo>
                      <a:pt x="189040" y="119037"/>
                      <a:pt x="195876" y="119037"/>
                      <a:pt x="199674" y="122835"/>
                    </a:cubicBezTo>
                    <a:cubicBezTo>
                      <a:pt x="203472" y="126632"/>
                      <a:pt x="203472" y="132709"/>
                      <a:pt x="199674" y="137266"/>
                    </a:cubicBezTo>
                    <a:cubicBezTo>
                      <a:pt x="195117" y="141823"/>
                      <a:pt x="191319" y="146381"/>
                      <a:pt x="186762" y="150938"/>
                    </a:cubicBezTo>
                    <a:cubicBezTo>
                      <a:pt x="185242" y="153976"/>
                      <a:pt x="182204" y="154736"/>
                      <a:pt x="179166" y="154736"/>
                    </a:cubicBezTo>
                    <a:cubicBezTo>
                      <a:pt x="176887" y="154736"/>
                      <a:pt x="174609" y="153976"/>
                      <a:pt x="173090" y="152457"/>
                    </a:cubicBezTo>
                    <a:cubicBezTo>
                      <a:pt x="168532" y="149419"/>
                      <a:pt x="167773" y="142583"/>
                      <a:pt x="171571" y="138026"/>
                    </a:cubicBezTo>
                    <a:cubicBezTo>
                      <a:pt x="176128" y="132709"/>
                      <a:pt x="180685" y="127392"/>
                      <a:pt x="185242" y="122835"/>
                    </a:cubicBezTo>
                    <a:close/>
                    <a:moveTo>
                      <a:pt x="81257" y="111494"/>
                    </a:moveTo>
                    <a:cubicBezTo>
                      <a:pt x="71385" y="123629"/>
                      <a:pt x="62272" y="137282"/>
                      <a:pt x="54677" y="151692"/>
                    </a:cubicBezTo>
                    <a:lnTo>
                      <a:pt x="92648" y="151692"/>
                    </a:lnTo>
                    <a:lnTo>
                      <a:pt x="92648" y="150934"/>
                    </a:lnTo>
                    <a:cubicBezTo>
                      <a:pt x="93408" y="149417"/>
                      <a:pt x="94167" y="147900"/>
                      <a:pt x="94926" y="146383"/>
                    </a:cubicBezTo>
                    <a:cubicBezTo>
                      <a:pt x="97205" y="142591"/>
                      <a:pt x="99483" y="138799"/>
                      <a:pt x="101761" y="135006"/>
                    </a:cubicBezTo>
                    <a:cubicBezTo>
                      <a:pt x="102521" y="133489"/>
                      <a:pt x="103280" y="131972"/>
                      <a:pt x="104039" y="130455"/>
                    </a:cubicBezTo>
                    <a:cubicBezTo>
                      <a:pt x="107077" y="125905"/>
                      <a:pt x="110115" y="121354"/>
                      <a:pt x="113152" y="116803"/>
                    </a:cubicBezTo>
                    <a:cubicBezTo>
                      <a:pt x="113912" y="114528"/>
                      <a:pt x="115431" y="113011"/>
                      <a:pt x="116190" y="111494"/>
                    </a:cubicBezTo>
                    <a:close/>
                    <a:moveTo>
                      <a:pt x="400213" y="85002"/>
                    </a:moveTo>
                    <a:cubicBezTo>
                      <a:pt x="406282" y="88033"/>
                      <a:pt x="412351" y="91822"/>
                      <a:pt x="418420" y="95611"/>
                    </a:cubicBezTo>
                    <a:cubicBezTo>
                      <a:pt x="422972" y="98642"/>
                      <a:pt x="424489" y="104704"/>
                      <a:pt x="421455" y="109251"/>
                    </a:cubicBezTo>
                    <a:cubicBezTo>
                      <a:pt x="419179" y="112282"/>
                      <a:pt x="416144" y="113798"/>
                      <a:pt x="413110" y="113798"/>
                    </a:cubicBezTo>
                    <a:cubicBezTo>
                      <a:pt x="410834" y="113798"/>
                      <a:pt x="409317" y="113798"/>
                      <a:pt x="407800" y="112282"/>
                    </a:cubicBezTo>
                    <a:cubicBezTo>
                      <a:pt x="402489" y="109251"/>
                      <a:pt x="396420" y="106220"/>
                      <a:pt x="391110" y="103189"/>
                    </a:cubicBezTo>
                    <a:cubicBezTo>
                      <a:pt x="385799" y="100915"/>
                      <a:pt x="384282" y="94853"/>
                      <a:pt x="386558" y="89549"/>
                    </a:cubicBezTo>
                    <a:cubicBezTo>
                      <a:pt x="388834" y="84244"/>
                      <a:pt x="394903" y="82729"/>
                      <a:pt x="400213" y="85002"/>
                    </a:cubicBezTo>
                    <a:close/>
                    <a:moveTo>
                      <a:pt x="255897" y="76571"/>
                    </a:moveTo>
                    <a:cubicBezTo>
                      <a:pt x="261215" y="75053"/>
                      <a:pt x="266534" y="77330"/>
                      <a:pt x="268814" y="82644"/>
                    </a:cubicBezTo>
                    <a:cubicBezTo>
                      <a:pt x="271093" y="87958"/>
                      <a:pt x="268054" y="94032"/>
                      <a:pt x="262735" y="95550"/>
                    </a:cubicBezTo>
                    <a:cubicBezTo>
                      <a:pt x="257416" y="97827"/>
                      <a:pt x="251338" y="100864"/>
                      <a:pt x="245259" y="103141"/>
                    </a:cubicBezTo>
                    <a:cubicBezTo>
                      <a:pt x="243739" y="103901"/>
                      <a:pt x="242219" y="104660"/>
                      <a:pt x="240700" y="104660"/>
                    </a:cubicBezTo>
                    <a:cubicBezTo>
                      <a:pt x="237660" y="104660"/>
                      <a:pt x="233861" y="102382"/>
                      <a:pt x="231582" y="99346"/>
                    </a:cubicBezTo>
                    <a:cubicBezTo>
                      <a:pt x="229302" y="94032"/>
                      <a:pt x="231582" y="87958"/>
                      <a:pt x="236141" y="85681"/>
                    </a:cubicBezTo>
                    <a:cubicBezTo>
                      <a:pt x="242979" y="81885"/>
                      <a:pt x="249058" y="79608"/>
                      <a:pt x="255897" y="76571"/>
                    </a:cubicBezTo>
                    <a:close/>
                    <a:moveTo>
                      <a:pt x="318232" y="65184"/>
                    </a:moveTo>
                    <a:lnTo>
                      <a:pt x="318990" y="65184"/>
                    </a:lnTo>
                    <a:cubicBezTo>
                      <a:pt x="325813" y="65184"/>
                      <a:pt x="332636" y="65944"/>
                      <a:pt x="339459" y="66705"/>
                    </a:cubicBezTo>
                    <a:cubicBezTo>
                      <a:pt x="344766" y="67465"/>
                      <a:pt x="349314" y="72028"/>
                      <a:pt x="348556" y="78111"/>
                    </a:cubicBezTo>
                    <a:cubicBezTo>
                      <a:pt x="347798" y="83435"/>
                      <a:pt x="343249" y="87237"/>
                      <a:pt x="337943" y="87237"/>
                    </a:cubicBezTo>
                    <a:cubicBezTo>
                      <a:pt x="337943" y="87237"/>
                      <a:pt x="337184" y="86476"/>
                      <a:pt x="337184" y="86476"/>
                    </a:cubicBezTo>
                    <a:cubicBezTo>
                      <a:pt x="331120" y="85716"/>
                      <a:pt x="325055" y="85716"/>
                      <a:pt x="318990" y="85716"/>
                    </a:cubicBezTo>
                    <a:cubicBezTo>
                      <a:pt x="312925" y="85716"/>
                      <a:pt x="308376" y="81153"/>
                      <a:pt x="308376" y="75830"/>
                    </a:cubicBezTo>
                    <a:cubicBezTo>
                      <a:pt x="308376" y="69746"/>
                      <a:pt x="312925" y="65184"/>
                      <a:pt x="318232" y="65184"/>
                    </a:cubicBezTo>
                    <a:close/>
                    <a:moveTo>
                      <a:pt x="133656" y="60677"/>
                    </a:moveTo>
                    <a:cubicBezTo>
                      <a:pt x="121506" y="69778"/>
                      <a:pt x="109355" y="79638"/>
                      <a:pt x="98723" y="91015"/>
                    </a:cubicBezTo>
                    <a:lnTo>
                      <a:pt x="132138" y="91015"/>
                    </a:lnTo>
                    <a:cubicBezTo>
                      <a:pt x="133656" y="89498"/>
                      <a:pt x="135175" y="87223"/>
                      <a:pt x="136694" y="85706"/>
                    </a:cubicBezTo>
                    <a:cubicBezTo>
                      <a:pt x="138213" y="83431"/>
                      <a:pt x="140491" y="81155"/>
                      <a:pt x="142010" y="79638"/>
                    </a:cubicBezTo>
                    <a:cubicBezTo>
                      <a:pt x="144288" y="77363"/>
                      <a:pt x="146566" y="75088"/>
                      <a:pt x="148085" y="73571"/>
                    </a:cubicBezTo>
                    <a:cubicBezTo>
                      <a:pt x="150364" y="71295"/>
                      <a:pt x="151882" y="69020"/>
                      <a:pt x="154161" y="67503"/>
                    </a:cubicBezTo>
                    <a:cubicBezTo>
                      <a:pt x="156439" y="65228"/>
                      <a:pt x="159477" y="62952"/>
                      <a:pt x="161755" y="60677"/>
                    </a:cubicBezTo>
                    <a:close/>
                    <a:moveTo>
                      <a:pt x="214914" y="25029"/>
                    </a:moveTo>
                    <a:cubicBezTo>
                      <a:pt x="198966" y="28063"/>
                      <a:pt x="183018" y="33372"/>
                      <a:pt x="168589" y="40198"/>
                    </a:cubicBezTo>
                    <a:lnTo>
                      <a:pt x="188334" y="40198"/>
                    </a:lnTo>
                    <a:cubicBezTo>
                      <a:pt x="190612" y="38681"/>
                      <a:pt x="193650" y="37164"/>
                      <a:pt x="196688" y="34889"/>
                    </a:cubicBezTo>
                    <a:cubicBezTo>
                      <a:pt x="198207" y="34131"/>
                      <a:pt x="199725" y="32614"/>
                      <a:pt x="202004" y="31855"/>
                    </a:cubicBezTo>
                    <a:cubicBezTo>
                      <a:pt x="205041" y="30338"/>
                      <a:pt x="208079" y="28063"/>
                      <a:pt x="211877" y="26546"/>
                    </a:cubicBezTo>
                    <a:cubicBezTo>
                      <a:pt x="212636" y="25787"/>
                      <a:pt x="214155" y="25029"/>
                      <a:pt x="214914" y="25029"/>
                    </a:cubicBezTo>
                    <a:close/>
                    <a:moveTo>
                      <a:pt x="318954" y="20478"/>
                    </a:moveTo>
                    <a:cubicBezTo>
                      <a:pt x="310600" y="20478"/>
                      <a:pt x="303006" y="20478"/>
                      <a:pt x="294653" y="21237"/>
                    </a:cubicBezTo>
                    <a:lnTo>
                      <a:pt x="290855" y="21995"/>
                    </a:lnTo>
                    <a:cubicBezTo>
                      <a:pt x="290096" y="21995"/>
                      <a:pt x="290096" y="21995"/>
                      <a:pt x="289337" y="22754"/>
                    </a:cubicBezTo>
                    <a:cubicBezTo>
                      <a:pt x="285540" y="22754"/>
                      <a:pt x="282502" y="23512"/>
                      <a:pt x="278705" y="24271"/>
                    </a:cubicBezTo>
                    <a:cubicBezTo>
                      <a:pt x="278705" y="24271"/>
                      <a:pt x="278705" y="24271"/>
                      <a:pt x="277945" y="24271"/>
                    </a:cubicBezTo>
                    <a:cubicBezTo>
                      <a:pt x="274908" y="25029"/>
                      <a:pt x="271111" y="25787"/>
                      <a:pt x="268073" y="26546"/>
                    </a:cubicBezTo>
                    <a:cubicBezTo>
                      <a:pt x="267314" y="26546"/>
                      <a:pt x="267314" y="26546"/>
                      <a:pt x="266554" y="26546"/>
                    </a:cubicBezTo>
                    <a:cubicBezTo>
                      <a:pt x="263517" y="27304"/>
                      <a:pt x="260479" y="28821"/>
                      <a:pt x="257441" y="29580"/>
                    </a:cubicBezTo>
                    <a:cubicBezTo>
                      <a:pt x="256682" y="29580"/>
                      <a:pt x="255922" y="30338"/>
                      <a:pt x="254404" y="30338"/>
                    </a:cubicBezTo>
                    <a:cubicBezTo>
                      <a:pt x="252125" y="31097"/>
                      <a:pt x="249847" y="31855"/>
                      <a:pt x="246810" y="32614"/>
                    </a:cubicBezTo>
                    <a:cubicBezTo>
                      <a:pt x="245291" y="33372"/>
                      <a:pt x="243012" y="34131"/>
                      <a:pt x="240734" y="35648"/>
                    </a:cubicBezTo>
                    <a:cubicBezTo>
                      <a:pt x="239215" y="35648"/>
                      <a:pt x="238456" y="36406"/>
                      <a:pt x="236937" y="37164"/>
                    </a:cubicBezTo>
                    <a:cubicBezTo>
                      <a:pt x="182259" y="59918"/>
                      <a:pt x="136694" y="105426"/>
                      <a:pt x="109355" y="163069"/>
                    </a:cubicBezTo>
                    <a:cubicBezTo>
                      <a:pt x="109355" y="163828"/>
                      <a:pt x="109355" y="163828"/>
                      <a:pt x="109355" y="164586"/>
                    </a:cubicBezTo>
                    <a:cubicBezTo>
                      <a:pt x="107836" y="167620"/>
                      <a:pt x="106318" y="170654"/>
                      <a:pt x="104799" y="174446"/>
                    </a:cubicBezTo>
                    <a:cubicBezTo>
                      <a:pt x="104039" y="175205"/>
                      <a:pt x="103280" y="176722"/>
                      <a:pt x="103280" y="178239"/>
                    </a:cubicBezTo>
                    <a:cubicBezTo>
                      <a:pt x="101761" y="180514"/>
                      <a:pt x="101002" y="182789"/>
                      <a:pt x="100242" y="185823"/>
                    </a:cubicBezTo>
                    <a:cubicBezTo>
                      <a:pt x="99483" y="187341"/>
                      <a:pt x="98723" y="188858"/>
                      <a:pt x="97964" y="190374"/>
                    </a:cubicBezTo>
                    <a:cubicBezTo>
                      <a:pt x="97205" y="192650"/>
                      <a:pt x="96445" y="194925"/>
                      <a:pt x="95686" y="197201"/>
                    </a:cubicBezTo>
                    <a:cubicBezTo>
                      <a:pt x="95686" y="199476"/>
                      <a:pt x="94926" y="200993"/>
                      <a:pt x="94167" y="203268"/>
                    </a:cubicBezTo>
                    <a:cubicBezTo>
                      <a:pt x="93408" y="204785"/>
                      <a:pt x="92648" y="207061"/>
                      <a:pt x="92648" y="209336"/>
                    </a:cubicBezTo>
                    <a:cubicBezTo>
                      <a:pt x="91889" y="211611"/>
                      <a:pt x="91129" y="213128"/>
                      <a:pt x="90370" y="215404"/>
                    </a:cubicBezTo>
                    <a:cubicBezTo>
                      <a:pt x="90370" y="217679"/>
                      <a:pt x="89611" y="219955"/>
                      <a:pt x="88851" y="221471"/>
                    </a:cubicBezTo>
                    <a:cubicBezTo>
                      <a:pt x="88851" y="223747"/>
                      <a:pt x="88092" y="226022"/>
                      <a:pt x="87332" y="227539"/>
                    </a:cubicBezTo>
                    <a:cubicBezTo>
                      <a:pt x="87332" y="229815"/>
                      <a:pt x="86573" y="232090"/>
                      <a:pt x="86573" y="234365"/>
                    </a:cubicBezTo>
                    <a:cubicBezTo>
                      <a:pt x="85813" y="236641"/>
                      <a:pt x="85813" y="238158"/>
                      <a:pt x="85054" y="240433"/>
                    </a:cubicBezTo>
                    <a:cubicBezTo>
                      <a:pt x="85054" y="242708"/>
                      <a:pt x="84295" y="244984"/>
                      <a:pt x="84295" y="247259"/>
                    </a:cubicBezTo>
                    <a:cubicBezTo>
                      <a:pt x="83535" y="249535"/>
                      <a:pt x="83535" y="251810"/>
                      <a:pt x="83535" y="253327"/>
                    </a:cubicBezTo>
                    <a:cubicBezTo>
                      <a:pt x="82776" y="255602"/>
                      <a:pt x="82776" y="258636"/>
                      <a:pt x="82776" y="260912"/>
                    </a:cubicBezTo>
                    <a:cubicBezTo>
                      <a:pt x="82016" y="262428"/>
                      <a:pt x="82016" y="264704"/>
                      <a:pt x="82016" y="266221"/>
                    </a:cubicBezTo>
                    <a:cubicBezTo>
                      <a:pt x="82016" y="269255"/>
                      <a:pt x="81257" y="272288"/>
                      <a:pt x="81257" y="275322"/>
                    </a:cubicBezTo>
                    <a:cubicBezTo>
                      <a:pt x="81257" y="276839"/>
                      <a:pt x="81257" y="278356"/>
                      <a:pt x="81257" y="279873"/>
                    </a:cubicBezTo>
                    <a:cubicBezTo>
                      <a:pt x="80498" y="284424"/>
                      <a:pt x="80498" y="288975"/>
                      <a:pt x="80498" y="293525"/>
                    </a:cubicBezTo>
                    <a:cubicBezTo>
                      <a:pt x="80498" y="298076"/>
                      <a:pt x="80498" y="302627"/>
                      <a:pt x="81257" y="306419"/>
                    </a:cubicBezTo>
                    <a:cubicBezTo>
                      <a:pt x="81257" y="308695"/>
                      <a:pt x="81257" y="310212"/>
                      <a:pt x="81257" y="311729"/>
                    </a:cubicBezTo>
                    <a:cubicBezTo>
                      <a:pt x="81257" y="314004"/>
                      <a:pt x="81257" y="317038"/>
                      <a:pt x="82016" y="320072"/>
                    </a:cubicBezTo>
                    <a:cubicBezTo>
                      <a:pt x="82016" y="321589"/>
                      <a:pt x="82016" y="323864"/>
                      <a:pt x="82776" y="325381"/>
                    </a:cubicBezTo>
                    <a:cubicBezTo>
                      <a:pt x="82776" y="328415"/>
                      <a:pt x="82776" y="330690"/>
                      <a:pt x="83535" y="332966"/>
                    </a:cubicBezTo>
                    <a:cubicBezTo>
                      <a:pt x="83535" y="335241"/>
                      <a:pt x="83535" y="336758"/>
                      <a:pt x="84295" y="339033"/>
                    </a:cubicBezTo>
                    <a:cubicBezTo>
                      <a:pt x="84295" y="341309"/>
                      <a:pt x="85054" y="343584"/>
                      <a:pt x="85054" y="345859"/>
                    </a:cubicBezTo>
                    <a:cubicBezTo>
                      <a:pt x="85813" y="348135"/>
                      <a:pt x="85813" y="350410"/>
                      <a:pt x="86573" y="351927"/>
                    </a:cubicBezTo>
                    <a:cubicBezTo>
                      <a:pt x="86573" y="354203"/>
                      <a:pt x="87332" y="356478"/>
                      <a:pt x="87332" y="358753"/>
                    </a:cubicBezTo>
                    <a:cubicBezTo>
                      <a:pt x="88092" y="361029"/>
                      <a:pt x="88851" y="362546"/>
                      <a:pt x="88851" y="364821"/>
                    </a:cubicBezTo>
                    <a:cubicBezTo>
                      <a:pt x="89611" y="367096"/>
                      <a:pt x="90370" y="369372"/>
                      <a:pt x="90370" y="370889"/>
                    </a:cubicBezTo>
                    <a:cubicBezTo>
                      <a:pt x="91129" y="373164"/>
                      <a:pt x="91889" y="375439"/>
                      <a:pt x="91889" y="376956"/>
                    </a:cubicBezTo>
                    <a:cubicBezTo>
                      <a:pt x="92648" y="379232"/>
                      <a:pt x="93408" y="381507"/>
                      <a:pt x="94167" y="383783"/>
                    </a:cubicBezTo>
                    <a:cubicBezTo>
                      <a:pt x="94926" y="385300"/>
                      <a:pt x="95686" y="387575"/>
                      <a:pt x="95686" y="389092"/>
                    </a:cubicBezTo>
                    <a:cubicBezTo>
                      <a:pt x="96445" y="391367"/>
                      <a:pt x="97205" y="393643"/>
                      <a:pt x="97964" y="395918"/>
                    </a:cubicBezTo>
                    <a:cubicBezTo>
                      <a:pt x="98723" y="397435"/>
                      <a:pt x="99483" y="398952"/>
                      <a:pt x="100242" y="401227"/>
                    </a:cubicBezTo>
                    <a:cubicBezTo>
                      <a:pt x="101002" y="403503"/>
                      <a:pt x="101761" y="405778"/>
                      <a:pt x="103280" y="408812"/>
                    </a:cubicBezTo>
                    <a:cubicBezTo>
                      <a:pt x="103280" y="409570"/>
                      <a:pt x="104039" y="411087"/>
                      <a:pt x="104799" y="412604"/>
                    </a:cubicBezTo>
                    <a:cubicBezTo>
                      <a:pt x="106318" y="415638"/>
                      <a:pt x="107077" y="418672"/>
                      <a:pt x="108596" y="422464"/>
                    </a:cubicBezTo>
                    <a:cubicBezTo>
                      <a:pt x="109355" y="422464"/>
                      <a:pt x="109355" y="423223"/>
                      <a:pt x="109355" y="423223"/>
                    </a:cubicBezTo>
                    <a:cubicBezTo>
                      <a:pt x="136694" y="481624"/>
                      <a:pt x="182259" y="526374"/>
                      <a:pt x="236937" y="549886"/>
                    </a:cubicBezTo>
                    <a:cubicBezTo>
                      <a:pt x="237697" y="549886"/>
                      <a:pt x="239215" y="550644"/>
                      <a:pt x="240734" y="551403"/>
                    </a:cubicBezTo>
                    <a:cubicBezTo>
                      <a:pt x="243012" y="552161"/>
                      <a:pt x="245291" y="552920"/>
                      <a:pt x="246810" y="553678"/>
                    </a:cubicBezTo>
                    <a:cubicBezTo>
                      <a:pt x="249847" y="554437"/>
                      <a:pt x="252125" y="555195"/>
                      <a:pt x="254404" y="555954"/>
                    </a:cubicBezTo>
                    <a:cubicBezTo>
                      <a:pt x="255922" y="556712"/>
                      <a:pt x="256682" y="556712"/>
                      <a:pt x="257441" y="557471"/>
                    </a:cubicBezTo>
                    <a:cubicBezTo>
                      <a:pt x="260479" y="558229"/>
                      <a:pt x="263517" y="558988"/>
                      <a:pt x="266554" y="559746"/>
                    </a:cubicBezTo>
                    <a:cubicBezTo>
                      <a:pt x="267314" y="559746"/>
                      <a:pt x="267314" y="559746"/>
                      <a:pt x="268073" y="559746"/>
                    </a:cubicBezTo>
                    <a:cubicBezTo>
                      <a:pt x="271111" y="560504"/>
                      <a:pt x="274908" y="561263"/>
                      <a:pt x="277945" y="562021"/>
                    </a:cubicBezTo>
                    <a:cubicBezTo>
                      <a:pt x="278705" y="562021"/>
                      <a:pt x="278705" y="562021"/>
                      <a:pt x="278705" y="562780"/>
                    </a:cubicBezTo>
                    <a:cubicBezTo>
                      <a:pt x="282502" y="562780"/>
                      <a:pt x="285540" y="563538"/>
                      <a:pt x="289337" y="564297"/>
                    </a:cubicBezTo>
                    <a:cubicBezTo>
                      <a:pt x="290096" y="564297"/>
                      <a:pt x="290096" y="564297"/>
                      <a:pt x="290855" y="564297"/>
                    </a:cubicBezTo>
                    <a:lnTo>
                      <a:pt x="294653" y="565055"/>
                    </a:lnTo>
                    <a:cubicBezTo>
                      <a:pt x="303006" y="565814"/>
                      <a:pt x="310600" y="566572"/>
                      <a:pt x="318954" y="566572"/>
                    </a:cubicBezTo>
                    <a:cubicBezTo>
                      <a:pt x="449573" y="566572"/>
                      <a:pt x="556650" y="443701"/>
                      <a:pt x="556650" y="293525"/>
                    </a:cubicBezTo>
                    <a:cubicBezTo>
                      <a:pt x="556650" y="142591"/>
                      <a:pt x="449573" y="20478"/>
                      <a:pt x="318954" y="20478"/>
                    </a:cubicBezTo>
                    <a:close/>
                    <a:moveTo>
                      <a:pt x="258201" y="0"/>
                    </a:moveTo>
                    <a:cubicBezTo>
                      <a:pt x="268073" y="0"/>
                      <a:pt x="277945" y="758"/>
                      <a:pt x="287818" y="2275"/>
                    </a:cubicBezTo>
                    <a:cubicBezTo>
                      <a:pt x="298450" y="758"/>
                      <a:pt x="308322" y="0"/>
                      <a:pt x="318954" y="0"/>
                    </a:cubicBezTo>
                    <a:cubicBezTo>
                      <a:pt x="460964" y="0"/>
                      <a:pt x="577154" y="131214"/>
                      <a:pt x="577154" y="293525"/>
                    </a:cubicBezTo>
                    <a:cubicBezTo>
                      <a:pt x="577154" y="455078"/>
                      <a:pt x="460964" y="586292"/>
                      <a:pt x="318954" y="586292"/>
                    </a:cubicBezTo>
                    <a:cubicBezTo>
                      <a:pt x="308322" y="586292"/>
                      <a:pt x="298450" y="585534"/>
                      <a:pt x="287818" y="584775"/>
                    </a:cubicBezTo>
                    <a:cubicBezTo>
                      <a:pt x="277945" y="585534"/>
                      <a:pt x="268073" y="586292"/>
                      <a:pt x="258201" y="586292"/>
                    </a:cubicBezTo>
                    <a:cubicBezTo>
                      <a:pt x="203522" y="586292"/>
                      <a:pt x="152642" y="567331"/>
                      <a:pt x="110874" y="533958"/>
                    </a:cubicBezTo>
                    <a:cubicBezTo>
                      <a:pt x="110115" y="533200"/>
                      <a:pt x="109355" y="533200"/>
                      <a:pt x="108596" y="532441"/>
                    </a:cubicBezTo>
                    <a:cubicBezTo>
                      <a:pt x="91129" y="518031"/>
                      <a:pt x="75182" y="501344"/>
                      <a:pt x="60753" y="482383"/>
                    </a:cubicBezTo>
                    <a:cubicBezTo>
                      <a:pt x="60753" y="482383"/>
                      <a:pt x="59993" y="481624"/>
                      <a:pt x="59993" y="480866"/>
                    </a:cubicBezTo>
                    <a:cubicBezTo>
                      <a:pt x="46324" y="461904"/>
                      <a:pt x="34173" y="441426"/>
                      <a:pt x="25060" y="419430"/>
                    </a:cubicBezTo>
                    <a:cubicBezTo>
                      <a:pt x="24301" y="418672"/>
                      <a:pt x="24301" y="417913"/>
                      <a:pt x="24301" y="417913"/>
                    </a:cubicBezTo>
                    <a:cubicBezTo>
                      <a:pt x="8353" y="379990"/>
                      <a:pt x="0" y="337516"/>
                      <a:pt x="0" y="293525"/>
                    </a:cubicBezTo>
                    <a:cubicBezTo>
                      <a:pt x="0" y="264704"/>
                      <a:pt x="3037" y="237399"/>
                      <a:pt x="9872" y="211611"/>
                    </a:cubicBezTo>
                    <a:cubicBezTo>
                      <a:pt x="9872" y="210095"/>
                      <a:pt x="10632" y="209336"/>
                      <a:pt x="10632" y="207819"/>
                    </a:cubicBezTo>
                    <a:cubicBezTo>
                      <a:pt x="15188" y="191133"/>
                      <a:pt x="21263" y="174446"/>
                      <a:pt x="28857" y="158519"/>
                    </a:cubicBezTo>
                    <a:cubicBezTo>
                      <a:pt x="28857" y="157760"/>
                      <a:pt x="28857" y="157760"/>
                      <a:pt x="29617" y="157002"/>
                    </a:cubicBezTo>
                    <a:cubicBezTo>
                      <a:pt x="39489" y="134248"/>
                      <a:pt x="52399" y="113769"/>
                      <a:pt x="67588" y="94808"/>
                    </a:cubicBezTo>
                    <a:cubicBezTo>
                      <a:pt x="68347" y="94808"/>
                      <a:pt x="68347" y="94049"/>
                      <a:pt x="69106" y="94049"/>
                    </a:cubicBezTo>
                    <a:cubicBezTo>
                      <a:pt x="85054" y="74329"/>
                      <a:pt x="103280" y="57643"/>
                      <a:pt x="123025" y="43232"/>
                    </a:cubicBezTo>
                    <a:cubicBezTo>
                      <a:pt x="162514" y="15927"/>
                      <a:pt x="208839" y="0"/>
                      <a:pt x="25820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  <p:sp>
            <p:nvSpPr>
              <p:cNvPr id="21" name="ïşļíďe">
                <a:extLst>
                  <a:ext uri="{FF2B5EF4-FFF2-40B4-BE49-F238E27FC236}">
                    <a16:creationId xmlns:a16="http://schemas.microsoft.com/office/drawing/2014/main" id="{6BE6BB74-E212-4A76-A2E4-71417BA41C57}"/>
                  </a:ext>
                </a:extLst>
              </p:cNvPr>
              <p:cNvSpPr/>
              <p:nvPr/>
            </p:nvSpPr>
            <p:spPr>
              <a:xfrm>
                <a:off x="6490019" y="1776327"/>
                <a:ext cx="577851" cy="577851"/>
              </a:xfrm>
              <a:prstGeom prst="roundRect">
                <a:avLst>
                  <a:gd name="adj" fmla="val 15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/>
              <a:p>
                <a:pPr lvl="0">
                  <a:defRPr sz="3200"/>
                </a:pPr>
                <a:endParaRPr sz="1600"/>
              </a:p>
            </p:txBody>
          </p:sp>
          <p:sp>
            <p:nvSpPr>
              <p:cNvPr id="22" name="iṥļiḑè">
                <a:extLst>
                  <a:ext uri="{FF2B5EF4-FFF2-40B4-BE49-F238E27FC236}">
                    <a16:creationId xmlns:a16="http://schemas.microsoft.com/office/drawing/2014/main" id="{EC9E7953-C0FA-4152-9F78-01260CD6BA6E}"/>
                  </a:ext>
                </a:extLst>
              </p:cNvPr>
              <p:cNvSpPr/>
              <p:nvPr/>
            </p:nvSpPr>
            <p:spPr>
              <a:xfrm>
                <a:off x="6576352" y="1918162"/>
                <a:ext cx="423893" cy="305896"/>
              </a:xfrm>
              <a:custGeom>
                <a:avLst/>
                <a:gdLst>
                  <a:gd name="connsiteX0" fmla="*/ 91000 w 605879"/>
                  <a:gd name="connsiteY0" fmla="*/ 173662 h 437224"/>
                  <a:gd name="connsiteX1" fmla="*/ 331193 w 605879"/>
                  <a:gd name="connsiteY1" fmla="*/ 173662 h 437224"/>
                  <a:gd name="connsiteX2" fmla="*/ 342454 w 605879"/>
                  <a:gd name="connsiteY2" fmla="*/ 184882 h 437224"/>
                  <a:gd name="connsiteX3" fmla="*/ 331193 w 605879"/>
                  <a:gd name="connsiteY3" fmla="*/ 196102 h 437224"/>
                  <a:gd name="connsiteX4" fmla="*/ 91000 w 605879"/>
                  <a:gd name="connsiteY4" fmla="*/ 196102 h 437224"/>
                  <a:gd name="connsiteX5" fmla="*/ 79739 w 605879"/>
                  <a:gd name="connsiteY5" fmla="*/ 184882 h 437224"/>
                  <a:gd name="connsiteX6" fmla="*/ 91000 w 605879"/>
                  <a:gd name="connsiteY6" fmla="*/ 173662 h 437224"/>
                  <a:gd name="connsiteX7" fmla="*/ 421630 w 605879"/>
                  <a:gd name="connsiteY7" fmla="*/ 131441 h 437224"/>
                  <a:gd name="connsiteX8" fmla="*/ 423552 w 605879"/>
                  <a:gd name="connsiteY8" fmla="*/ 152274 h 437224"/>
                  <a:gd name="connsiteX9" fmla="*/ 275961 w 605879"/>
                  <a:gd name="connsiteY9" fmla="*/ 300986 h 437224"/>
                  <a:gd name="connsiteX10" fmla="*/ 408175 w 605879"/>
                  <a:gd name="connsiteY10" fmla="*/ 358277 h 437224"/>
                  <a:gd name="connsiteX11" fmla="*/ 418060 w 605879"/>
                  <a:gd name="connsiteY11" fmla="*/ 365267 h 437224"/>
                  <a:gd name="connsiteX12" fmla="*/ 488218 w 605879"/>
                  <a:gd name="connsiteY12" fmla="*/ 410360 h 437224"/>
                  <a:gd name="connsiteX13" fmla="*/ 474214 w 605879"/>
                  <a:gd name="connsiteY13" fmla="*/ 363348 h 437224"/>
                  <a:gd name="connsiteX14" fmla="*/ 482039 w 605879"/>
                  <a:gd name="connsiteY14" fmla="*/ 349916 h 437224"/>
                  <a:gd name="connsiteX15" fmla="*/ 583363 w 605879"/>
                  <a:gd name="connsiteY15" fmla="*/ 244928 h 437224"/>
                  <a:gd name="connsiteX16" fmla="*/ 421630 w 605879"/>
                  <a:gd name="connsiteY16" fmla="*/ 131441 h 437224"/>
                  <a:gd name="connsiteX17" fmla="*/ 75898 w 605879"/>
                  <a:gd name="connsiteY17" fmla="*/ 120173 h 437224"/>
                  <a:gd name="connsiteX18" fmla="*/ 340509 w 605879"/>
                  <a:gd name="connsiteY18" fmla="*/ 120173 h 437224"/>
                  <a:gd name="connsiteX19" fmla="*/ 351769 w 605879"/>
                  <a:gd name="connsiteY19" fmla="*/ 131428 h 437224"/>
                  <a:gd name="connsiteX20" fmla="*/ 340509 w 605879"/>
                  <a:gd name="connsiteY20" fmla="*/ 142683 h 437224"/>
                  <a:gd name="connsiteX21" fmla="*/ 75898 w 605879"/>
                  <a:gd name="connsiteY21" fmla="*/ 142683 h 437224"/>
                  <a:gd name="connsiteX22" fmla="*/ 64638 w 605879"/>
                  <a:gd name="connsiteY22" fmla="*/ 131428 h 437224"/>
                  <a:gd name="connsiteX23" fmla="*/ 75898 w 605879"/>
                  <a:gd name="connsiteY23" fmla="*/ 120173 h 437224"/>
                  <a:gd name="connsiteX24" fmla="*/ 210609 w 605879"/>
                  <a:gd name="connsiteY24" fmla="*/ 22478 h 437224"/>
                  <a:gd name="connsiteX25" fmla="*/ 22516 w 605879"/>
                  <a:gd name="connsiteY25" fmla="*/ 153508 h 437224"/>
                  <a:gd name="connsiteX26" fmla="*/ 139216 w 605879"/>
                  <a:gd name="connsiteY26" fmla="*/ 274807 h 437224"/>
                  <a:gd name="connsiteX27" fmla="*/ 147042 w 605879"/>
                  <a:gd name="connsiteY27" fmla="*/ 288102 h 437224"/>
                  <a:gd name="connsiteX28" fmla="*/ 130017 w 605879"/>
                  <a:gd name="connsiteY28" fmla="*/ 344297 h 437224"/>
                  <a:gd name="connsiteX29" fmla="*/ 214041 w 605879"/>
                  <a:gd name="connsiteY29" fmla="*/ 291254 h 437224"/>
                  <a:gd name="connsiteX30" fmla="*/ 223927 w 605879"/>
                  <a:gd name="connsiteY30" fmla="*/ 284264 h 437224"/>
                  <a:gd name="connsiteX31" fmla="*/ 398839 w 605879"/>
                  <a:gd name="connsiteY31" fmla="*/ 152960 h 437224"/>
                  <a:gd name="connsiteX32" fmla="*/ 369596 w 605879"/>
                  <a:gd name="connsiteY32" fmla="*/ 80592 h 437224"/>
                  <a:gd name="connsiteX33" fmla="*/ 210609 w 605879"/>
                  <a:gd name="connsiteY33" fmla="*/ 22478 h 437224"/>
                  <a:gd name="connsiteX34" fmla="*/ 210609 w 605879"/>
                  <a:gd name="connsiteY34" fmla="*/ 0 h 437224"/>
                  <a:gd name="connsiteX35" fmla="*/ 385796 w 605879"/>
                  <a:gd name="connsiteY35" fmla="*/ 64967 h 437224"/>
                  <a:gd name="connsiteX36" fmla="*/ 414079 w 605879"/>
                  <a:gd name="connsiteY36" fmla="*/ 109100 h 437224"/>
                  <a:gd name="connsiteX37" fmla="*/ 419845 w 605879"/>
                  <a:gd name="connsiteY37" fmla="*/ 108963 h 437224"/>
                  <a:gd name="connsiteX38" fmla="*/ 605879 w 605879"/>
                  <a:gd name="connsiteY38" fmla="*/ 244928 h 437224"/>
                  <a:gd name="connsiteX39" fmla="*/ 498515 w 605879"/>
                  <a:gd name="connsiteY39" fmla="*/ 368420 h 437224"/>
                  <a:gd name="connsiteX40" fmla="*/ 516088 w 605879"/>
                  <a:gd name="connsiteY40" fmla="*/ 414609 h 437224"/>
                  <a:gd name="connsiteX41" fmla="*/ 522953 w 605879"/>
                  <a:gd name="connsiteY41" fmla="*/ 428178 h 437224"/>
                  <a:gd name="connsiteX42" fmla="*/ 510185 w 605879"/>
                  <a:gd name="connsiteY42" fmla="*/ 437224 h 437224"/>
                  <a:gd name="connsiteX43" fmla="*/ 400487 w 605879"/>
                  <a:gd name="connsiteY43" fmla="*/ 380344 h 437224"/>
                  <a:gd name="connsiteX44" fmla="*/ 250836 w 605879"/>
                  <a:gd name="connsiteY44" fmla="*/ 304275 h 437224"/>
                  <a:gd name="connsiteX45" fmla="*/ 231752 w 605879"/>
                  <a:gd name="connsiteY45" fmla="*/ 306331 h 437224"/>
                  <a:gd name="connsiteX46" fmla="*/ 107639 w 605879"/>
                  <a:gd name="connsiteY46" fmla="*/ 371161 h 437224"/>
                  <a:gd name="connsiteX47" fmla="*/ 94596 w 605879"/>
                  <a:gd name="connsiteY47" fmla="*/ 361978 h 437224"/>
                  <a:gd name="connsiteX48" fmla="*/ 102009 w 605879"/>
                  <a:gd name="connsiteY48" fmla="*/ 348135 h 437224"/>
                  <a:gd name="connsiteX49" fmla="*/ 122741 w 605879"/>
                  <a:gd name="connsiteY49" fmla="*/ 293173 h 437224"/>
                  <a:gd name="connsiteX50" fmla="*/ 0 w 605879"/>
                  <a:gd name="connsiteY50" fmla="*/ 153508 h 437224"/>
                  <a:gd name="connsiteX51" fmla="*/ 210609 w 605879"/>
                  <a:gd name="connsiteY51" fmla="*/ 0 h 437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05879" h="437224">
                    <a:moveTo>
                      <a:pt x="91000" y="173662"/>
                    </a:moveTo>
                    <a:lnTo>
                      <a:pt x="331193" y="173662"/>
                    </a:lnTo>
                    <a:cubicBezTo>
                      <a:pt x="337373" y="173662"/>
                      <a:pt x="342454" y="178725"/>
                      <a:pt x="342454" y="184882"/>
                    </a:cubicBezTo>
                    <a:cubicBezTo>
                      <a:pt x="342454" y="191040"/>
                      <a:pt x="337373" y="196102"/>
                      <a:pt x="331193" y="196102"/>
                    </a:cubicBezTo>
                    <a:lnTo>
                      <a:pt x="91000" y="196102"/>
                    </a:lnTo>
                    <a:cubicBezTo>
                      <a:pt x="84683" y="196102"/>
                      <a:pt x="79739" y="191040"/>
                      <a:pt x="79739" y="184882"/>
                    </a:cubicBezTo>
                    <a:cubicBezTo>
                      <a:pt x="79739" y="178725"/>
                      <a:pt x="84683" y="173662"/>
                      <a:pt x="91000" y="173662"/>
                    </a:cubicBezTo>
                    <a:close/>
                    <a:moveTo>
                      <a:pt x="421630" y="131441"/>
                    </a:moveTo>
                    <a:cubicBezTo>
                      <a:pt x="423003" y="138294"/>
                      <a:pt x="423552" y="145284"/>
                      <a:pt x="423552" y="152274"/>
                    </a:cubicBezTo>
                    <a:cubicBezTo>
                      <a:pt x="423552" y="220668"/>
                      <a:pt x="362456" y="281249"/>
                      <a:pt x="275961" y="300986"/>
                    </a:cubicBezTo>
                    <a:cubicBezTo>
                      <a:pt x="302047" y="334017"/>
                      <a:pt x="350924" y="355536"/>
                      <a:pt x="408175" y="358277"/>
                    </a:cubicBezTo>
                    <a:cubicBezTo>
                      <a:pt x="412569" y="358551"/>
                      <a:pt x="416413" y="361293"/>
                      <a:pt x="418060" y="365267"/>
                    </a:cubicBezTo>
                    <a:cubicBezTo>
                      <a:pt x="427259" y="388019"/>
                      <a:pt x="463505" y="403370"/>
                      <a:pt x="488218" y="410360"/>
                    </a:cubicBezTo>
                    <a:cubicBezTo>
                      <a:pt x="483962" y="399944"/>
                      <a:pt x="479156" y="385004"/>
                      <a:pt x="474214" y="363348"/>
                    </a:cubicBezTo>
                    <a:cubicBezTo>
                      <a:pt x="472841" y="357455"/>
                      <a:pt x="476273" y="351698"/>
                      <a:pt x="482039" y="349916"/>
                    </a:cubicBezTo>
                    <a:cubicBezTo>
                      <a:pt x="543685" y="332236"/>
                      <a:pt x="583500" y="290980"/>
                      <a:pt x="583363" y="244928"/>
                    </a:cubicBezTo>
                    <a:cubicBezTo>
                      <a:pt x="583363" y="182839"/>
                      <a:pt x="511009" y="132126"/>
                      <a:pt x="421630" y="131441"/>
                    </a:cubicBezTo>
                    <a:close/>
                    <a:moveTo>
                      <a:pt x="75898" y="120173"/>
                    </a:moveTo>
                    <a:lnTo>
                      <a:pt x="340509" y="120173"/>
                    </a:lnTo>
                    <a:cubicBezTo>
                      <a:pt x="346826" y="120173"/>
                      <a:pt x="351769" y="125114"/>
                      <a:pt x="351769" y="131428"/>
                    </a:cubicBezTo>
                    <a:cubicBezTo>
                      <a:pt x="351769" y="137604"/>
                      <a:pt x="346826" y="142683"/>
                      <a:pt x="340509" y="142683"/>
                    </a:cubicBezTo>
                    <a:lnTo>
                      <a:pt x="75898" y="142683"/>
                    </a:lnTo>
                    <a:cubicBezTo>
                      <a:pt x="69719" y="142683"/>
                      <a:pt x="64638" y="137604"/>
                      <a:pt x="64638" y="131428"/>
                    </a:cubicBezTo>
                    <a:cubicBezTo>
                      <a:pt x="64638" y="125114"/>
                      <a:pt x="69719" y="120173"/>
                      <a:pt x="75898" y="120173"/>
                    </a:cubicBezTo>
                    <a:close/>
                    <a:moveTo>
                      <a:pt x="210609" y="22478"/>
                    </a:moveTo>
                    <a:cubicBezTo>
                      <a:pt x="106952" y="22478"/>
                      <a:pt x="22516" y="81277"/>
                      <a:pt x="22516" y="153508"/>
                    </a:cubicBezTo>
                    <a:cubicBezTo>
                      <a:pt x="22516" y="206688"/>
                      <a:pt x="68372" y="254385"/>
                      <a:pt x="139216" y="274807"/>
                    </a:cubicBezTo>
                    <a:cubicBezTo>
                      <a:pt x="144983" y="276452"/>
                      <a:pt x="148415" y="282208"/>
                      <a:pt x="147042" y="288102"/>
                    </a:cubicBezTo>
                    <a:cubicBezTo>
                      <a:pt x="140864" y="314966"/>
                      <a:pt x="135097" y="332647"/>
                      <a:pt x="130017" y="344297"/>
                    </a:cubicBezTo>
                    <a:cubicBezTo>
                      <a:pt x="158437" y="336622"/>
                      <a:pt x="203058" y="318667"/>
                      <a:pt x="214041" y="291254"/>
                    </a:cubicBezTo>
                    <a:cubicBezTo>
                      <a:pt x="215689" y="287280"/>
                      <a:pt x="219533" y="284538"/>
                      <a:pt x="223927" y="284264"/>
                    </a:cubicBezTo>
                    <a:cubicBezTo>
                      <a:pt x="320170" y="279604"/>
                      <a:pt x="395407" y="223135"/>
                      <a:pt x="398839" y="152960"/>
                    </a:cubicBezTo>
                    <a:cubicBezTo>
                      <a:pt x="400075" y="126918"/>
                      <a:pt x="389915" y="101836"/>
                      <a:pt x="369596" y="80592"/>
                    </a:cubicBezTo>
                    <a:cubicBezTo>
                      <a:pt x="334860" y="44133"/>
                      <a:pt x="275412" y="22478"/>
                      <a:pt x="210609" y="22478"/>
                    </a:cubicBezTo>
                    <a:close/>
                    <a:moveTo>
                      <a:pt x="210609" y="0"/>
                    </a:moveTo>
                    <a:cubicBezTo>
                      <a:pt x="281453" y="0"/>
                      <a:pt x="346942" y="24260"/>
                      <a:pt x="385796" y="64967"/>
                    </a:cubicBezTo>
                    <a:cubicBezTo>
                      <a:pt x="398702" y="78536"/>
                      <a:pt x="408175" y="93338"/>
                      <a:pt x="414079" y="109100"/>
                    </a:cubicBezTo>
                    <a:cubicBezTo>
                      <a:pt x="416001" y="108963"/>
                      <a:pt x="417923" y="108963"/>
                      <a:pt x="419845" y="108963"/>
                    </a:cubicBezTo>
                    <a:cubicBezTo>
                      <a:pt x="522404" y="108963"/>
                      <a:pt x="606016" y="169955"/>
                      <a:pt x="605879" y="244928"/>
                    </a:cubicBezTo>
                    <a:cubicBezTo>
                      <a:pt x="605879" y="298519"/>
                      <a:pt x="564141" y="346079"/>
                      <a:pt x="498515" y="368420"/>
                    </a:cubicBezTo>
                    <a:cubicBezTo>
                      <a:pt x="506066" y="398025"/>
                      <a:pt x="512931" y="412279"/>
                      <a:pt x="516088" y="414609"/>
                    </a:cubicBezTo>
                    <a:cubicBezTo>
                      <a:pt x="524601" y="418858"/>
                      <a:pt x="523228" y="426671"/>
                      <a:pt x="522953" y="428178"/>
                    </a:cubicBezTo>
                    <a:cubicBezTo>
                      <a:pt x="522541" y="429686"/>
                      <a:pt x="520207" y="437224"/>
                      <a:pt x="510185" y="437224"/>
                    </a:cubicBezTo>
                    <a:cubicBezTo>
                      <a:pt x="497828" y="437224"/>
                      <a:pt x="423689" y="421325"/>
                      <a:pt x="400487" y="380344"/>
                    </a:cubicBezTo>
                    <a:cubicBezTo>
                      <a:pt x="333899" y="375410"/>
                      <a:pt x="277746" y="346764"/>
                      <a:pt x="250836" y="304275"/>
                    </a:cubicBezTo>
                    <a:cubicBezTo>
                      <a:pt x="244521" y="305098"/>
                      <a:pt x="238205" y="305783"/>
                      <a:pt x="231752" y="306331"/>
                    </a:cubicBezTo>
                    <a:cubicBezTo>
                      <a:pt x="206216" y="353069"/>
                      <a:pt x="121643" y="371161"/>
                      <a:pt x="107639" y="371161"/>
                    </a:cubicBezTo>
                    <a:cubicBezTo>
                      <a:pt x="97616" y="371161"/>
                      <a:pt x="95145" y="364171"/>
                      <a:pt x="94596" y="361978"/>
                    </a:cubicBezTo>
                    <a:cubicBezTo>
                      <a:pt x="94184" y="360470"/>
                      <a:pt x="92948" y="352658"/>
                      <a:pt x="102009" y="348135"/>
                    </a:cubicBezTo>
                    <a:cubicBezTo>
                      <a:pt x="105030" y="345942"/>
                      <a:pt x="113130" y="331550"/>
                      <a:pt x="122741" y="293173"/>
                    </a:cubicBezTo>
                    <a:cubicBezTo>
                      <a:pt x="47778" y="268228"/>
                      <a:pt x="0" y="214226"/>
                      <a:pt x="0" y="153508"/>
                    </a:cubicBezTo>
                    <a:cubicBezTo>
                      <a:pt x="0" y="68804"/>
                      <a:pt x="94458" y="0"/>
                      <a:pt x="2106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  <p:sp>
            <p:nvSpPr>
              <p:cNvPr id="23" name="íṣļíḑê">
                <a:extLst>
                  <a:ext uri="{FF2B5EF4-FFF2-40B4-BE49-F238E27FC236}">
                    <a16:creationId xmlns:a16="http://schemas.microsoft.com/office/drawing/2014/main" id="{12EE3684-E9BF-4265-B9FB-57B7980C365A}"/>
                  </a:ext>
                </a:extLst>
              </p:cNvPr>
              <p:cNvSpPr/>
              <p:nvPr/>
            </p:nvSpPr>
            <p:spPr>
              <a:xfrm>
                <a:off x="6490019" y="5012283"/>
                <a:ext cx="577851" cy="577851"/>
              </a:xfrm>
              <a:prstGeom prst="roundRect">
                <a:avLst>
                  <a:gd name="adj" fmla="val 15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/>
              <a:p>
                <a:endParaRPr sz="1600"/>
              </a:p>
            </p:txBody>
          </p:sp>
          <p:sp>
            <p:nvSpPr>
              <p:cNvPr id="24" name="iṩļïḋe">
                <a:extLst>
                  <a:ext uri="{FF2B5EF4-FFF2-40B4-BE49-F238E27FC236}">
                    <a16:creationId xmlns:a16="http://schemas.microsoft.com/office/drawing/2014/main" id="{1D17F47D-4667-4BAB-AFB8-2F9A3FDD169F}"/>
                  </a:ext>
                </a:extLst>
              </p:cNvPr>
              <p:cNvSpPr/>
              <p:nvPr/>
            </p:nvSpPr>
            <p:spPr>
              <a:xfrm>
                <a:off x="6581922" y="5148457"/>
                <a:ext cx="412751" cy="290042"/>
              </a:xfrm>
              <a:custGeom>
                <a:avLst/>
                <a:gdLst>
                  <a:gd name="connsiteX0" fmla="*/ 450100 w 607639"/>
                  <a:gd name="connsiteY0" fmla="*/ 313203 h 426991"/>
                  <a:gd name="connsiteX1" fmla="*/ 450100 w 607639"/>
                  <a:gd name="connsiteY1" fmla="*/ 403167 h 426991"/>
                  <a:gd name="connsiteX2" fmla="*/ 585744 w 607639"/>
                  <a:gd name="connsiteY2" fmla="*/ 403167 h 426991"/>
                  <a:gd name="connsiteX3" fmla="*/ 586100 w 607639"/>
                  <a:gd name="connsiteY3" fmla="*/ 313203 h 426991"/>
                  <a:gd name="connsiteX4" fmla="*/ 530294 w 607639"/>
                  <a:gd name="connsiteY4" fmla="*/ 313203 h 426991"/>
                  <a:gd name="connsiteX5" fmla="*/ 530116 w 607639"/>
                  <a:gd name="connsiteY5" fmla="*/ 313203 h 426991"/>
                  <a:gd name="connsiteX6" fmla="*/ 529760 w 607639"/>
                  <a:gd name="connsiteY6" fmla="*/ 313203 h 426991"/>
                  <a:gd name="connsiteX7" fmla="*/ 450901 w 607639"/>
                  <a:gd name="connsiteY7" fmla="*/ 313203 h 426991"/>
                  <a:gd name="connsiteX8" fmla="*/ 236309 w 607639"/>
                  <a:gd name="connsiteY8" fmla="*/ 313203 h 426991"/>
                  <a:gd name="connsiteX9" fmla="*/ 236309 w 607639"/>
                  <a:gd name="connsiteY9" fmla="*/ 403167 h 426991"/>
                  <a:gd name="connsiteX10" fmla="*/ 371953 w 607639"/>
                  <a:gd name="connsiteY10" fmla="*/ 403167 h 426991"/>
                  <a:gd name="connsiteX11" fmla="*/ 372754 w 607639"/>
                  <a:gd name="connsiteY11" fmla="*/ 313203 h 426991"/>
                  <a:gd name="connsiteX12" fmla="*/ 237110 w 607639"/>
                  <a:gd name="connsiteY12" fmla="*/ 313203 h 426991"/>
                  <a:gd name="connsiteX13" fmla="*/ 22519 w 607639"/>
                  <a:gd name="connsiteY13" fmla="*/ 313203 h 426991"/>
                  <a:gd name="connsiteX14" fmla="*/ 22519 w 607639"/>
                  <a:gd name="connsiteY14" fmla="*/ 403167 h 426991"/>
                  <a:gd name="connsiteX15" fmla="*/ 158163 w 607639"/>
                  <a:gd name="connsiteY15" fmla="*/ 403167 h 426991"/>
                  <a:gd name="connsiteX16" fmla="*/ 158964 w 607639"/>
                  <a:gd name="connsiteY16" fmla="*/ 313203 h 426991"/>
                  <a:gd name="connsiteX17" fmla="*/ 91498 w 607639"/>
                  <a:gd name="connsiteY17" fmla="*/ 313203 h 426991"/>
                  <a:gd name="connsiteX18" fmla="*/ 91231 w 607639"/>
                  <a:gd name="connsiteY18" fmla="*/ 313203 h 426991"/>
                  <a:gd name="connsiteX19" fmla="*/ 90964 w 607639"/>
                  <a:gd name="connsiteY19" fmla="*/ 313203 h 426991"/>
                  <a:gd name="connsiteX20" fmla="*/ 23320 w 607639"/>
                  <a:gd name="connsiteY20" fmla="*/ 313203 h 426991"/>
                  <a:gd name="connsiteX21" fmla="*/ 91409 w 607639"/>
                  <a:gd name="connsiteY21" fmla="*/ 224751 h 426991"/>
                  <a:gd name="connsiteX22" fmla="*/ 530294 w 607639"/>
                  <a:gd name="connsiteY22" fmla="*/ 224751 h 426991"/>
                  <a:gd name="connsiteX23" fmla="*/ 540084 w 607639"/>
                  <a:gd name="connsiteY23" fmla="*/ 234530 h 426991"/>
                  <a:gd name="connsiteX24" fmla="*/ 540084 w 607639"/>
                  <a:gd name="connsiteY24" fmla="*/ 292135 h 426991"/>
                  <a:gd name="connsiteX25" fmla="*/ 586456 w 607639"/>
                  <a:gd name="connsiteY25" fmla="*/ 292135 h 426991"/>
                  <a:gd name="connsiteX26" fmla="*/ 607639 w 607639"/>
                  <a:gd name="connsiteY26" fmla="*/ 313203 h 426991"/>
                  <a:gd name="connsiteX27" fmla="*/ 607639 w 607639"/>
                  <a:gd name="connsiteY27" fmla="*/ 403167 h 426991"/>
                  <a:gd name="connsiteX28" fmla="*/ 586456 w 607639"/>
                  <a:gd name="connsiteY28" fmla="*/ 426991 h 426991"/>
                  <a:gd name="connsiteX29" fmla="*/ 451524 w 607639"/>
                  <a:gd name="connsiteY29" fmla="*/ 426991 h 426991"/>
                  <a:gd name="connsiteX30" fmla="*/ 427582 w 607639"/>
                  <a:gd name="connsiteY30" fmla="*/ 403167 h 426991"/>
                  <a:gd name="connsiteX31" fmla="*/ 427582 w 607639"/>
                  <a:gd name="connsiteY31" fmla="*/ 313203 h 426991"/>
                  <a:gd name="connsiteX32" fmla="*/ 451524 w 607639"/>
                  <a:gd name="connsiteY32" fmla="*/ 292135 h 426991"/>
                  <a:gd name="connsiteX33" fmla="*/ 517566 w 607639"/>
                  <a:gd name="connsiteY33" fmla="*/ 292135 h 426991"/>
                  <a:gd name="connsiteX34" fmla="*/ 517566 w 607639"/>
                  <a:gd name="connsiteY34" fmla="*/ 247242 h 426991"/>
                  <a:gd name="connsiteX35" fmla="*/ 315079 w 607639"/>
                  <a:gd name="connsiteY35" fmla="*/ 247242 h 426991"/>
                  <a:gd name="connsiteX36" fmla="*/ 315079 w 607639"/>
                  <a:gd name="connsiteY36" fmla="*/ 292135 h 426991"/>
                  <a:gd name="connsiteX37" fmla="*/ 372665 w 607639"/>
                  <a:gd name="connsiteY37" fmla="*/ 292135 h 426991"/>
                  <a:gd name="connsiteX38" fmla="*/ 393849 w 607639"/>
                  <a:gd name="connsiteY38" fmla="*/ 313203 h 426991"/>
                  <a:gd name="connsiteX39" fmla="*/ 393849 w 607639"/>
                  <a:gd name="connsiteY39" fmla="*/ 403167 h 426991"/>
                  <a:gd name="connsiteX40" fmla="*/ 372665 w 607639"/>
                  <a:gd name="connsiteY40" fmla="*/ 426991 h 426991"/>
                  <a:gd name="connsiteX41" fmla="*/ 237733 w 607639"/>
                  <a:gd name="connsiteY41" fmla="*/ 426991 h 426991"/>
                  <a:gd name="connsiteX42" fmla="*/ 213791 w 607639"/>
                  <a:gd name="connsiteY42" fmla="*/ 403167 h 426991"/>
                  <a:gd name="connsiteX43" fmla="*/ 213791 w 607639"/>
                  <a:gd name="connsiteY43" fmla="*/ 313203 h 426991"/>
                  <a:gd name="connsiteX44" fmla="*/ 237733 w 607639"/>
                  <a:gd name="connsiteY44" fmla="*/ 292135 h 426991"/>
                  <a:gd name="connsiteX45" fmla="*/ 292561 w 607639"/>
                  <a:gd name="connsiteY45" fmla="*/ 292135 h 426991"/>
                  <a:gd name="connsiteX46" fmla="*/ 292561 w 607639"/>
                  <a:gd name="connsiteY46" fmla="*/ 247242 h 426991"/>
                  <a:gd name="connsiteX47" fmla="*/ 101288 w 607639"/>
                  <a:gd name="connsiteY47" fmla="*/ 247242 h 426991"/>
                  <a:gd name="connsiteX48" fmla="*/ 101288 w 607639"/>
                  <a:gd name="connsiteY48" fmla="*/ 292135 h 426991"/>
                  <a:gd name="connsiteX49" fmla="*/ 158875 w 607639"/>
                  <a:gd name="connsiteY49" fmla="*/ 292135 h 426991"/>
                  <a:gd name="connsiteX50" fmla="*/ 180058 w 607639"/>
                  <a:gd name="connsiteY50" fmla="*/ 313203 h 426991"/>
                  <a:gd name="connsiteX51" fmla="*/ 180058 w 607639"/>
                  <a:gd name="connsiteY51" fmla="*/ 403167 h 426991"/>
                  <a:gd name="connsiteX52" fmla="*/ 158875 w 607639"/>
                  <a:gd name="connsiteY52" fmla="*/ 426991 h 426991"/>
                  <a:gd name="connsiteX53" fmla="*/ 24032 w 607639"/>
                  <a:gd name="connsiteY53" fmla="*/ 426991 h 426991"/>
                  <a:gd name="connsiteX54" fmla="*/ 0 w 607639"/>
                  <a:gd name="connsiteY54" fmla="*/ 403167 h 426991"/>
                  <a:gd name="connsiteX55" fmla="*/ 0 w 607639"/>
                  <a:gd name="connsiteY55" fmla="*/ 313203 h 426991"/>
                  <a:gd name="connsiteX56" fmla="*/ 24032 w 607639"/>
                  <a:gd name="connsiteY56" fmla="*/ 292135 h 426991"/>
                  <a:gd name="connsiteX57" fmla="*/ 78770 w 607639"/>
                  <a:gd name="connsiteY57" fmla="*/ 292135 h 426991"/>
                  <a:gd name="connsiteX58" fmla="*/ 78770 w 607639"/>
                  <a:gd name="connsiteY58" fmla="*/ 234530 h 426991"/>
                  <a:gd name="connsiteX59" fmla="*/ 91409 w 607639"/>
                  <a:gd name="connsiteY59" fmla="*/ 224751 h 426991"/>
                  <a:gd name="connsiteX60" fmla="*/ 236326 w 607639"/>
                  <a:gd name="connsiteY60" fmla="*/ 21066 h 426991"/>
                  <a:gd name="connsiteX61" fmla="*/ 236326 w 607639"/>
                  <a:gd name="connsiteY61" fmla="*/ 111021 h 426991"/>
                  <a:gd name="connsiteX62" fmla="*/ 371758 w 607639"/>
                  <a:gd name="connsiteY62" fmla="*/ 111021 h 426991"/>
                  <a:gd name="connsiteX63" fmla="*/ 372380 w 607639"/>
                  <a:gd name="connsiteY63" fmla="*/ 21066 h 426991"/>
                  <a:gd name="connsiteX64" fmla="*/ 237127 w 607639"/>
                  <a:gd name="connsiteY64" fmla="*/ 21066 h 426991"/>
                  <a:gd name="connsiteX65" fmla="*/ 237750 w 607639"/>
                  <a:gd name="connsiteY65" fmla="*/ 0 h 426991"/>
                  <a:gd name="connsiteX66" fmla="*/ 372647 w 607639"/>
                  <a:gd name="connsiteY66" fmla="*/ 0 h 426991"/>
                  <a:gd name="connsiteX67" fmla="*/ 393825 w 607639"/>
                  <a:gd name="connsiteY67" fmla="*/ 21066 h 426991"/>
                  <a:gd name="connsiteX68" fmla="*/ 393825 w 607639"/>
                  <a:gd name="connsiteY68" fmla="*/ 111021 h 426991"/>
                  <a:gd name="connsiteX69" fmla="*/ 372647 w 607639"/>
                  <a:gd name="connsiteY69" fmla="*/ 134843 h 426991"/>
                  <a:gd name="connsiteX70" fmla="*/ 315076 w 607639"/>
                  <a:gd name="connsiteY70" fmla="*/ 134843 h 426991"/>
                  <a:gd name="connsiteX71" fmla="*/ 315076 w 607639"/>
                  <a:gd name="connsiteY71" fmla="*/ 191020 h 426991"/>
                  <a:gd name="connsiteX72" fmla="*/ 292563 w 607639"/>
                  <a:gd name="connsiteY72" fmla="*/ 191020 h 426991"/>
                  <a:gd name="connsiteX73" fmla="*/ 292563 w 607639"/>
                  <a:gd name="connsiteY73" fmla="*/ 134843 h 426991"/>
                  <a:gd name="connsiteX74" fmla="*/ 237750 w 607639"/>
                  <a:gd name="connsiteY74" fmla="*/ 134843 h 426991"/>
                  <a:gd name="connsiteX75" fmla="*/ 213813 w 607639"/>
                  <a:gd name="connsiteY75" fmla="*/ 111021 h 426991"/>
                  <a:gd name="connsiteX76" fmla="*/ 213813 w 607639"/>
                  <a:gd name="connsiteY76" fmla="*/ 21066 h 426991"/>
                  <a:gd name="connsiteX77" fmla="*/ 237750 w 607639"/>
                  <a:gd name="connsiteY77" fmla="*/ 0 h 42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607639" h="426991">
                    <a:moveTo>
                      <a:pt x="450100" y="313203"/>
                    </a:moveTo>
                    <a:lnTo>
                      <a:pt x="450100" y="403167"/>
                    </a:lnTo>
                    <a:lnTo>
                      <a:pt x="585744" y="403167"/>
                    </a:lnTo>
                    <a:lnTo>
                      <a:pt x="586100" y="313203"/>
                    </a:lnTo>
                    <a:lnTo>
                      <a:pt x="530294" y="313203"/>
                    </a:lnTo>
                    <a:cubicBezTo>
                      <a:pt x="530294" y="313203"/>
                      <a:pt x="530116" y="313203"/>
                      <a:pt x="530116" y="313203"/>
                    </a:cubicBezTo>
                    <a:cubicBezTo>
                      <a:pt x="530027" y="313203"/>
                      <a:pt x="529849" y="313203"/>
                      <a:pt x="529760" y="313203"/>
                    </a:cubicBezTo>
                    <a:lnTo>
                      <a:pt x="450901" y="313203"/>
                    </a:lnTo>
                    <a:close/>
                    <a:moveTo>
                      <a:pt x="236309" y="313203"/>
                    </a:moveTo>
                    <a:lnTo>
                      <a:pt x="236309" y="403167"/>
                    </a:lnTo>
                    <a:lnTo>
                      <a:pt x="371953" y="403167"/>
                    </a:lnTo>
                    <a:lnTo>
                      <a:pt x="372754" y="313203"/>
                    </a:lnTo>
                    <a:lnTo>
                      <a:pt x="237110" y="313203"/>
                    </a:lnTo>
                    <a:close/>
                    <a:moveTo>
                      <a:pt x="22519" y="313203"/>
                    </a:moveTo>
                    <a:lnTo>
                      <a:pt x="22519" y="403167"/>
                    </a:lnTo>
                    <a:lnTo>
                      <a:pt x="158163" y="403167"/>
                    </a:lnTo>
                    <a:lnTo>
                      <a:pt x="158964" y="313203"/>
                    </a:lnTo>
                    <a:lnTo>
                      <a:pt x="91498" y="313203"/>
                    </a:lnTo>
                    <a:cubicBezTo>
                      <a:pt x="91409" y="313203"/>
                      <a:pt x="91320" y="313203"/>
                      <a:pt x="91231" y="313203"/>
                    </a:cubicBezTo>
                    <a:cubicBezTo>
                      <a:pt x="91231" y="313203"/>
                      <a:pt x="90964" y="313203"/>
                      <a:pt x="90964" y="313203"/>
                    </a:cubicBezTo>
                    <a:lnTo>
                      <a:pt x="23320" y="313203"/>
                    </a:lnTo>
                    <a:close/>
                    <a:moveTo>
                      <a:pt x="91409" y="224751"/>
                    </a:moveTo>
                    <a:lnTo>
                      <a:pt x="530294" y="224751"/>
                    </a:lnTo>
                    <a:cubicBezTo>
                      <a:pt x="536435" y="224751"/>
                      <a:pt x="540084" y="228396"/>
                      <a:pt x="540084" y="234530"/>
                    </a:cubicBezTo>
                    <a:lnTo>
                      <a:pt x="540084" y="292135"/>
                    </a:lnTo>
                    <a:lnTo>
                      <a:pt x="586456" y="292135"/>
                    </a:lnTo>
                    <a:cubicBezTo>
                      <a:pt x="598917" y="292135"/>
                      <a:pt x="607639" y="300847"/>
                      <a:pt x="607639" y="313203"/>
                    </a:cubicBezTo>
                    <a:lnTo>
                      <a:pt x="607639" y="403167"/>
                    </a:lnTo>
                    <a:cubicBezTo>
                      <a:pt x="607639" y="415524"/>
                      <a:pt x="598917" y="426991"/>
                      <a:pt x="586456" y="426991"/>
                    </a:cubicBezTo>
                    <a:lnTo>
                      <a:pt x="451524" y="426991"/>
                    </a:lnTo>
                    <a:cubicBezTo>
                      <a:pt x="439152" y="426991"/>
                      <a:pt x="427582" y="415524"/>
                      <a:pt x="427582" y="403167"/>
                    </a:cubicBezTo>
                    <a:lnTo>
                      <a:pt x="427582" y="313203"/>
                    </a:lnTo>
                    <a:cubicBezTo>
                      <a:pt x="427582" y="300847"/>
                      <a:pt x="439152" y="292135"/>
                      <a:pt x="451524" y="292135"/>
                    </a:cubicBezTo>
                    <a:lnTo>
                      <a:pt x="517566" y="292135"/>
                    </a:lnTo>
                    <a:lnTo>
                      <a:pt x="517566" y="247242"/>
                    </a:lnTo>
                    <a:lnTo>
                      <a:pt x="315079" y="247242"/>
                    </a:lnTo>
                    <a:lnTo>
                      <a:pt x="315079" y="292135"/>
                    </a:lnTo>
                    <a:lnTo>
                      <a:pt x="372665" y="292135"/>
                    </a:lnTo>
                    <a:cubicBezTo>
                      <a:pt x="385126" y="292135"/>
                      <a:pt x="393849" y="300847"/>
                      <a:pt x="393849" y="313203"/>
                    </a:cubicBezTo>
                    <a:lnTo>
                      <a:pt x="393849" y="403167"/>
                    </a:lnTo>
                    <a:cubicBezTo>
                      <a:pt x="393849" y="415524"/>
                      <a:pt x="385126" y="426991"/>
                      <a:pt x="372665" y="426991"/>
                    </a:cubicBezTo>
                    <a:lnTo>
                      <a:pt x="237733" y="426991"/>
                    </a:lnTo>
                    <a:cubicBezTo>
                      <a:pt x="225362" y="426991"/>
                      <a:pt x="213791" y="415524"/>
                      <a:pt x="213791" y="403167"/>
                    </a:cubicBezTo>
                    <a:lnTo>
                      <a:pt x="213791" y="313203"/>
                    </a:lnTo>
                    <a:cubicBezTo>
                      <a:pt x="213791" y="300847"/>
                      <a:pt x="225362" y="292135"/>
                      <a:pt x="237733" y="292135"/>
                    </a:cubicBezTo>
                    <a:lnTo>
                      <a:pt x="292561" y="292135"/>
                    </a:lnTo>
                    <a:lnTo>
                      <a:pt x="292561" y="247242"/>
                    </a:lnTo>
                    <a:lnTo>
                      <a:pt x="101288" y="247242"/>
                    </a:lnTo>
                    <a:lnTo>
                      <a:pt x="101288" y="292135"/>
                    </a:lnTo>
                    <a:lnTo>
                      <a:pt x="158875" y="292135"/>
                    </a:lnTo>
                    <a:cubicBezTo>
                      <a:pt x="171335" y="292135"/>
                      <a:pt x="180058" y="300847"/>
                      <a:pt x="180058" y="313203"/>
                    </a:cubicBezTo>
                    <a:lnTo>
                      <a:pt x="180058" y="403167"/>
                    </a:lnTo>
                    <a:cubicBezTo>
                      <a:pt x="180058" y="415524"/>
                      <a:pt x="171335" y="426991"/>
                      <a:pt x="158875" y="426991"/>
                    </a:cubicBezTo>
                    <a:lnTo>
                      <a:pt x="24032" y="426991"/>
                    </a:lnTo>
                    <a:cubicBezTo>
                      <a:pt x="11571" y="426991"/>
                      <a:pt x="0" y="415524"/>
                      <a:pt x="0" y="403167"/>
                    </a:cubicBezTo>
                    <a:lnTo>
                      <a:pt x="0" y="313203"/>
                    </a:lnTo>
                    <a:cubicBezTo>
                      <a:pt x="0" y="300847"/>
                      <a:pt x="11571" y="292135"/>
                      <a:pt x="24032" y="292135"/>
                    </a:cubicBezTo>
                    <a:lnTo>
                      <a:pt x="78770" y="292135"/>
                    </a:lnTo>
                    <a:lnTo>
                      <a:pt x="78770" y="234530"/>
                    </a:lnTo>
                    <a:cubicBezTo>
                      <a:pt x="78770" y="228396"/>
                      <a:pt x="85178" y="224751"/>
                      <a:pt x="91409" y="224751"/>
                    </a:cubicBezTo>
                    <a:close/>
                    <a:moveTo>
                      <a:pt x="236326" y="21066"/>
                    </a:moveTo>
                    <a:lnTo>
                      <a:pt x="236326" y="111021"/>
                    </a:lnTo>
                    <a:lnTo>
                      <a:pt x="371758" y="111021"/>
                    </a:lnTo>
                    <a:lnTo>
                      <a:pt x="372380" y="21066"/>
                    </a:lnTo>
                    <a:lnTo>
                      <a:pt x="237127" y="21066"/>
                    </a:lnTo>
                    <a:close/>
                    <a:moveTo>
                      <a:pt x="237750" y="0"/>
                    </a:moveTo>
                    <a:lnTo>
                      <a:pt x="372647" y="0"/>
                    </a:lnTo>
                    <a:cubicBezTo>
                      <a:pt x="385105" y="0"/>
                      <a:pt x="393825" y="8711"/>
                      <a:pt x="393825" y="21066"/>
                    </a:cubicBezTo>
                    <a:lnTo>
                      <a:pt x="393825" y="111021"/>
                    </a:lnTo>
                    <a:cubicBezTo>
                      <a:pt x="393825" y="123376"/>
                      <a:pt x="385105" y="134843"/>
                      <a:pt x="372647" y="134843"/>
                    </a:cubicBezTo>
                    <a:lnTo>
                      <a:pt x="315076" y="134843"/>
                    </a:lnTo>
                    <a:lnTo>
                      <a:pt x="315076" y="191020"/>
                    </a:lnTo>
                    <a:lnTo>
                      <a:pt x="292563" y="191020"/>
                    </a:lnTo>
                    <a:lnTo>
                      <a:pt x="292563" y="134843"/>
                    </a:lnTo>
                    <a:lnTo>
                      <a:pt x="237750" y="134843"/>
                    </a:lnTo>
                    <a:cubicBezTo>
                      <a:pt x="225381" y="134843"/>
                      <a:pt x="213813" y="123376"/>
                      <a:pt x="213813" y="111021"/>
                    </a:cubicBezTo>
                    <a:lnTo>
                      <a:pt x="213813" y="21066"/>
                    </a:lnTo>
                    <a:cubicBezTo>
                      <a:pt x="213813" y="8711"/>
                      <a:pt x="225381" y="0"/>
                      <a:pt x="23775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BD45C10B-1A47-4B7A-8920-82C9FFD9D648}"/>
                  </a:ext>
                </a:extLst>
              </p:cNvPr>
              <p:cNvCxnSpPr/>
              <p:nvPr/>
            </p:nvCxnSpPr>
            <p:spPr>
              <a:xfrm>
                <a:off x="6788297" y="2549769"/>
                <a:ext cx="0" cy="398209"/>
              </a:xfrm>
              <a:prstGeom prst="line">
                <a:avLst/>
              </a:prstGeom>
              <a:ln w="3175" cap="rnd">
                <a:solidFill>
                  <a:schemeClr val="tx1">
                    <a:lumMod val="40000"/>
                    <a:lumOff val="60000"/>
                  </a:schemeClr>
                </a:solidFill>
                <a:round/>
                <a:headEnd type="oval"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13990590-83DF-46E6-84DC-C515BC0E6A31}"/>
                  </a:ext>
                </a:extLst>
              </p:cNvPr>
              <p:cNvCxnSpPr/>
              <p:nvPr/>
            </p:nvCxnSpPr>
            <p:spPr>
              <a:xfrm>
                <a:off x="6788297" y="4418483"/>
                <a:ext cx="0" cy="398209"/>
              </a:xfrm>
              <a:prstGeom prst="line">
                <a:avLst/>
              </a:prstGeom>
              <a:ln w="3175" cap="rnd">
                <a:solidFill>
                  <a:schemeClr val="tx1">
                    <a:lumMod val="40000"/>
                    <a:lumOff val="60000"/>
                  </a:schemeClr>
                </a:solidFill>
                <a:round/>
                <a:headEnd type="oval"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îSľïḋè">
              <a:extLst>
                <a:ext uri="{FF2B5EF4-FFF2-40B4-BE49-F238E27FC236}">
                  <a16:creationId xmlns:a16="http://schemas.microsoft.com/office/drawing/2014/main" id="{A210EE61-D0AF-4451-AE78-B370F9352250}"/>
                </a:ext>
              </a:extLst>
            </p:cNvPr>
            <p:cNvGrpSpPr/>
            <p:nvPr/>
          </p:nvGrpSpPr>
          <p:grpSpPr>
            <a:xfrm>
              <a:off x="7708899" y="1314000"/>
              <a:ext cx="3811589" cy="1633978"/>
              <a:chOff x="600814" y="3564001"/>
              <a:chExt cx="3096344" cy="1633978"/>
            </a:xfrm>
          </p:grpSpPr>
          <p:sp>
            <p:nvSpPr>
              <p:cNvPr id="17" name="iS1îḑè">
                <a:extLst>
                  <a:ext uri="{FF2B5EF4-FFF2-40B4-BE49-F238E27FC236}">
                    <a16:creationId xmlns:a16="http://schemas.microsoft.com/office/drawing/2014/main" id="{CA8BC219-79D5-468F-9F0D-6663633932BA}"/>
                  </a:ext>
                </a:extLst>
              </p:cNvPr>
              <p:cNvSpPr txBox="1"/>
              <p:nvPr/>
            </p:nvSpPr>
            <p:spPr>
              <a:xfrm>
                <a:off x="600814" y="4035821"/>
                <a:ext cx="3096344" cy="1162158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altLang="zh-CN" sz="9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altLang="zh-CN" sz="9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8" name="ïṧľïḋé">
                <a:extLst>
                  <a:ext uri="{FF2B5EF4-FFF2-40B4-BE49-F238E27FC236}">
                    <a16:creationId xmlns:a16="http://schemas.microsoft.com/office/drawing/2014/main" id="{0B93D96E-96FB-4A03-8000-262EB2965A90}"/>
                  </a:ext>
                </a:extLst>
              </p:cNvPr>
              <p:cNvSpPr txBox="1"/>
              <p:nvPr/>
            </p:nvSpPr>
            <p:spPr>
              <a:xfrm>
                <a:off x="600814" y="3564001"/>
                <a:ext cx="3096344" cy="471820"/>
              </a:xfrm>
              <a:prstGeom prst="rect">
                <a:avLst/>
              </a:prstGeom>
              <a:noFill/>
            </p:spPr>
            <p:txBody>
              <a:bodyPr wrap="square" rtlCol="0" anchor="ctr">
                <a:normAutofit/>
              </a:bodyPr>
              <a:lstStyle/>
              <a:p>
                <a:r>
                  <a:rPr lang="en-US" altLang="zh-CN" sz="1400" b="1" dirty="0"/>
                  <a:t>Text here</a:t>
                </a:r>
                <a:endParaRPr lang="zh-CN" altLang="en-US" sz="1400" b="1" dirty="0"/>
              </a:p>
            </p:txBody>
          </p:sp>
        </p:grpSp>
        <p:grpSp>
          <p:nvGrpSpPr>
            <p:cNvPr id="8" name="íṥľïde">
              <a:extLst>
                <a:ext uri="{FF2B5EF4-FFF2-40B4-BE49-F238E27FC236}">
                  <a16:creationId xmlns:a16="http://schemas.microsoft.com/office/drawing/2014/main" id="{85064947-85FF-42B7-80A3-A4FBE4CDECE1}"/>
                </a:ext>
              </a:extLst>
            </p:cNvPr>
            <p:cNvGrpSpPr/>
            <p:nvPr/>
          </p:nvGrpSpPr>
          <p:grpSpPr>
            <a:xfrm>
              <a:off x="7708899" y="4539127"/>
              <a:ext cx="3811589" cy="1604498"/>
              <a:chOff x="600814" y="3564001"/>
              <a:chExt cx="3096344" cy="1604498"/>
            </a:xfrm>
          </p:grpSpPr>
          <p:sp>
            <p:nvSpPr>
              <p:cNvPr id="15" name="ïslîḑe">
                <a:extLst>
                  <a:ext uri="{FF2B5EF4-FFF2-40B4-BE49-F238E27FC236}">
                    <a16:creationId xmlns:a16="http://schemas.microsoft.com/office/drawing/2014/main" id="{2CB53DA7-49AF-4200-B586-E05DD899BC19}"/>
                  </a:ext>
                </a:extLst>
              </p:cNvPr>
              <p:cNvSpPr txBox="1"/>
              <p:nvPr/>
            </p:nvSpPr>
            <p:spPr>
              <a:xfrm>
                <a:off x="600814" y="4035821"/>
                <a:ext cx="3096344" cy="1132678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altLang="zh-CN" sz="9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altLang="zh-CN" sz="9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6" name="iṡľiḑe">
                <a:extLst>
                  <a:ext uri="{FF2B5EF4-FFF2-40B4-BE49-F238E27FC236}">
                    <a16:creationId xmlns:a16="http://schemas.microsoft.com/office/drawing/2014/main" id="{33ED6563-0C45-436E-80DD-230B3B26EFE5}"/>
                  </a:ext>
                </a:extLst>
              </p:cNvPr>
              <p:cNvSpPr txBox="1"/>
              <p:nvPr/>
            </p:nvSpPr>
            <p:spPr>
              <a:xfrm>
                <a:off x="600814" y="3564001"/>
                <a:ext cx="3096344" cy="471820"/>
              </a:xfrm>
              <a:prstGeom prst="rect">
                <a:avLst/>
              </a:prstGeom>
              <a:noFill/>
            </p:spPr>
            <p:txBody>
              <a:bodyPr wrap="square" rtlCol="0" anchor="ctr">
                <a:normAutofit/>
              </a:bodyPr>
              <a:lstStyle/>
              <a:p>
                <a:r>
                  <a:rPr lang="en-US" altLang="zh-CN" sz="1400" b="1" dirty="0"/>
                  <a:t>Text here</a:t>
                </a:r>
                <a:endParaRPr lang="zh-CN" altLang="en-US" sz="1400" b="1" dirty="0"/>
              </a:p>
            </p:txBody>
          </p:sp>
        </p:grpSp>
        <p:grpSp>
          <p:nvGrpSpPr>
            <p:cNvPr id="9" name="ïṩḷíḑe">
              <a:extLst>
                <a:ext uri="{FF2B5EF4-FFF2-40B4-BE49-F238E27FC236}">
                  <a16:creationId xmlns:a16="http://schemas.microsoft.com/office/drawing/2014/main" id="{FDE4A504-CBEB-4FD4-A3D0-2EB8218266EC}"/>
                </a:ext>
              </a:extLst>
            </p:cNvPr>
            <p:cNvGrpSpPr/>
            <p:nvPr/>
          </p:nvGrpSpPr>
          <p:grpSpPr>
            <a:xfrm>
              <a:off x="7712626" y="3256219"/>
              <a:ext cx="3748827" cy="906499"/>
              <a:chOff x="3155538" y="4871732"/>
              <a:chExt cx="3492795" cy="906499"/>
            </a:xfrm>
          </p:grpSpPr>
          <p:sp>
            <p:nvSpPr>
              <p:cNvPr id="13" name="ísḻíḍé">
                <a:extLst>
                  <a:ext uri="{FF2B5EF4-FFF2-40B4-BE49-F238E27FC236}">
                    <a16:creationId xmlns:a16="http://schemas.microsoft.com/office/drawing/2014/main" id="{4B6275ED-A875-4AC7-8C36-BB2BD3997D8B}"/>
                  </a:ext>
                </a:extLst>
              </p:cNvPr>
              <p:cNvSpPr/>
              <p:nvPr/>
            </p:nvSpPr>
            <p:spPr bwMode="auto">
              <a:xfrm>
                <a:off x="3155538" y="5222871"/>
                <a:ext cx="3492795" cy="5553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rIns="90000" anchor="t" anchorCtr="0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000" dirty="0"/>
                  <a:t>Copy paste fonts. Choose the only option to retain text……</a:t>
                </a:r>
              </a:p>
            </p:txBody>
          </p:sp>
          <p:sp>
            <p:nvSpPr>
              <p:cNvPr id="14" name="ïsḷîḋê">
                <a:extLst>
                  <a:ext uri="{FF2B5EF4-FFF2-40B4-BE49-F238E27FC236}">
                    <a16:creationId xmlns:a16="http://schemas.microsoft.com/office/drawing/2014/main" id="{15BBE488-873D-485E-8BD9-6AFB61971BFD}"/>
                  </a:ext>
                </a:extLst>
              </p:cNvPr>
              <p:cNvSpPr txBox="1"/>
              <p:nvPr/>
            </p:nvSpPr>
            <p:spPr bwMode="auto">
              <a:xfrm>
                <a:off x="3155538" y="4871732"/>
                <a:ext cx="3492795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rIns="9000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800" b="1" dirty="0">
                    <a:solidFill>
                      <a:schemeClr val="accent1"/>
                    </a:solidFill>
                  </a:rPr>
                  <a:t>Text here</a:t>
                </a:r>
              </a:p>
            </p:txBody>
          </p:sp>
        </p:grpSp>
        <p:sp>
          <p:nvSpPr>
            <p:cNvPr id="10" name="iṩ1iḋé">
              <a:extLst>
                <a:ext uri="{FF2B5EF4-FFF2-40B4-BE49-F238E27FC236}">
                  <a16:creationId xmlns:a16="http://schemas.microsoft.com/office/drawing/2014/main" id="{B711F57B-A51B-44C2-AD2E-6AA949F3E59D}"/>
                </a:ext>
              </a:extLst>
            </p:cNvPr>
            <p:cNvSpPr txBox="1"/>
            <p:nvPr/>
          </p:nvSpPr>
          <p:spPr>
            <a:xfrm>
              <a:off x="673103" y="2644794"/>
              <a:ext cx="4635497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sp>
          <p:nvSpPr>
            <p:cNvPr id="11" name="ïṥľiḍè">
              <a:extLst>
                <a:ext uri="{FF2B5EF4-FFF2-40B4-BE49-F238E27FC236}">
                  <a16:creationId xmlns:a16="http://schemas.microsoft.com/office/drawing/2014/main" id="{96E22C69-F0CF-44AF-A474-C355F58D12F6}"/>
                </a:ext>
              </a:extLst>
            </p:cNvPr>
            <p:cNvSpPr txBox="1"/>
            <p:nvPr/>
          </p:nvSpPr>
          <p:spPr>
            <a:xfrm>
              <a:off x="673102" y="3496955"/>
              <a:ext cx="4635498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CE3376FA-7FCD-4813-A733-F295D36916D8}"/>
                </a:ext>
              </a:extLst>
            </p:cNvPr>
            <p:cNvCxnSpPr/>
            <p:nvPr/>
          </p:nvCxnSpPr>
          <p:spPr>
            <a:xfrm>
              <a:off x="5740400" y="1123950"/>
              <a:ext cx="0" cy="501967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3103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AA7C175-3BC7-41F6-A855-546078C30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A140AC-7BBF-4C32-BD63-D30086AF6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17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381092F-F005-443A-9BEC-00315158A106}"/>
              </a:ext>
            </a:extLst>
          </p:cNvPr>
          <p:cNvGrpSpPr>
            <a:grpSpLocks noChangeAspect="1"/>
          </p:cNvGrpSpPr>
          <p:nvPr/>
        </p:nvGrpSpPr>
        <p:grpSpPr>
          <a:xfrm>
            <a:off x="-349249" y="1736313"/>
            <a:ext cx="13835856" cy="5121687"/>
            <a:chOff x="-342899" y="1729963"/>
            <a:chExt cx="13835856" cy="5121687"/>
          </a:xfrm>
        </p:grpSpPr>
        <p:grpSp>
          <p:nvGrpSpPr>
            <p:cNvPr id="6" name="îṧľi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667F11C9-6A06-4A66-A0A3-69F20341D35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-342899" y="1732562"/>
              <a:ext cx="13835856" cy="5119088"/>
              <a:chOff x="-342900" y="1732562"/>
              <a:chExt cx="13835857" cy="5119088"/>
            </a:xfrm>
          </p:grpSpPr>
          <p:grpSp>
            <p:nvGrpSpPr>
              <p:cNvPr id="17" name="íSļiḋé">
                <a:extLst>
                  <a:ext uri="{FF2B5EF4-FFF2-40B4-BE49-F238E27FC236}">
                    <a16:creationId xmlns:a16="http://schemas.microsoft.com/office/drawing/2014/main" id="{BF42ACFB-5108-4AC9-9A64-A6485748C6A8}"/>
                  </a:ext>
                </a:extLst>
              </p:cNvPr>
              <p:cNvGrpSpPr/>
              <p:nvPr/>
            </p:nvGrpSpPr>
            <p:grpSpPr>
              <a:xfrm>
                <a:off x="-342900" y="2629694"/>
                <a:ext cx="13835857" cy="1371600"/>
                <a:chOff x="-342900" y="2629694"/>
                <a:chExt cx="13835857" cy="1371600"/>
              </a:xfrm>
            </p:grpSpPr>
            <p:sp>
              <p:nvSpPr>
                <p:cNvPr id="40" name="iSlîḋe">
                  <a:extLst>
                    <a:ext uri="{FF2B5EF4-FFF2-40B4-BE49-F238E27FC236}">
                      <a16:creationId xmlns:a16="http://schemas.microsoft.com/office/drawing/2014/main" id="{019C2DBE-CCA2-4462-99A3-BC65B62A2797}"/>
                    </a:ext>
                  </a:extLst>
                </p:cNvPr>
                <p:cNvSpPr/>
                <p:nvPr/>
              </p:nvSpPr>
              <p:spPr bwMode="auto">
                <a:xfrm>
                  <a:off x="7015957" y="2629694"/>
                  <a:ext cx="6477000" cy="137160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12" y="17898"/>
                      </a:moveTo>
                      <a:lnTo>
                        <a:pt x="640" y="17898"/>
                      </a:lnTo>
                      <a:lnTo>
                        <a:pt x="231" y="17898"/>
                      </a:lnTo>
                      <a:cubicBezTo>
                        <a:pt x="231" y="17898"/>
                        <a:pt x="312" y="17898"/>
                        <a:pt x="312" y="17898"/>
                      </a:cubicBezTo>
                      <a:close/>
                      <a:moveTo>
                        <a:pt x="347" y="17076"/>
                      </a:moveTo>
                      <a:lnTo>
                        <a:pt x="347" y="17076"/>
                      </a:lnTo>
                      <a:cubicBezTo>
                        <a:pt x="347" y="17076"/>
                        <a:pt x="347" y="17076"/>
                        <a:pt x="347" y="17076"/>
                      </a:cubicBezTo>
                      <a:close/>
                      <a:moveTo>
                        <a:pt x="5018" y="17276"/>
                      </a:moveTo>
                      <a:lnTo>
                        <a:pt x="5012" y="17276"/>
                      </a:lnTo>
                      <a:lnTo>
                        <a:pt x="5005" y="17276"/>
                      </a:lnTo>
                      <a:lnTo>
                        <a:pt x="5005" y="17229"/>
                      </a:lnTo>
                      <a:lnTo>
                        <a:pt x="5162" y="17229"/>
                      </a:lnTo>
                      <a:lnTo>
                        <a:pt x="5162" y="17276"/>
                      </a:lnTo>
                      <a:lnTo>
                        <a:pt x="5157" y="17277"/>
                      </a:lnTo>
                      <a:lnTo>
                        <a:pt x="5153" y="17277"/>
                      </a:lnTo>
                      <a:lnTo>
                        <a:pt x="5153" y="17295"/>
                      </a:lnTo>
                      <a:lnTo>
                        <a:pt x="5151" y="17295"/>
                      </a:lnTo>
                      <a:lnTo>
                        <a:pt x="5148" y="17295"/>
                      </a:lnTo>
                      <a:lnTo>
                        <a:pt x="5148" y="17872"/>
                      </a:lnTo>
                      <a:lnTo>
                        <a:pt x="5021" y="17872"/>
                      </a:lnTo>
                      <a:lnTo>
                        <a:pt x="5021" y="17277"/>
                      </a:lnTo>
                      <a:cubicBezTo>
                        <a:pt x="5021" y="17277"/>
                        <a:pt x="5018" y="17276"/>
                        <a:pt x="5018" y="17276"/>
                      </a:cubicBezTo>
                      <a:close/>
                      <a:moveTo>
                        <a:pt x="10180" y="14353"/>
                      </a:moveTo>
                      <a:lnTo>
                        <a:pt x="10184" y="14352"/>
                      </a:lnTo>
                      <a:lnTo>
                        <a:pt x="10210" y="14352"/>
                      </a:lnTo>
                      <a:lnTo>
                        <a:pt x="10211" y="14352"/>
                      </a:lnTo>
                      <a:lnTo>
                        <a:pt x="10213" y="14352"/>
                      </a:lnTo>
                      <a:lnTo>
                        <a:pt x="10215" y="14352"/>
                      </a:lnTo>
                      <a:lnTo>
                        <a:pt x="10217" y="14353"/>
                      </a:lnTo>
                      <a:lnTo>
                        <a:pt x="10219" y="14353"/>
                      </a:lnTo>
                      <a:lnTo>
                        <a:pt x="10222" y="14353"/>
                      </a:lnTo>
                      <a:lnTo>
                        <a:pt x="10224" y="14352"/>
                      </a:lnTo>
                      <a:lnTo>
                        <a:pt x="10226" y="14352"/>
                      </a:lnTo>
                      <a:lnTo>
                        <a:pt x="10228" y="14352"/>
                      </a:lnTo>
                      <a:lnTo>
                        <a:pt x="10229" y="14352"/>
                      </a:lnTo>
                      <a:lnTo>
                        <a:pt x="10230" y="14104"/>
                      </a:lnTo>
                      <a:lnTo>
                        <a:pt x="10576" y="12121"/>
                      </a:lnTo>
                      <a:lnTo>
                        <a:pt x="10579" y="12125"/>
                      </a:lnTo>
                      <a:lnTo>
                        <a:pt x="10583" y="12119"/>
                      </a:lnTo>
                      <a:lnTo>
                        <a:pt x="10895" y="13911"/>
                      </a:lnTo>
                      <a:lnTo>
                        <a:pt x="10928" y="14103"/>
                      </a:lnTo>
                      <a:lnTo>
                        <a:pt x="10928" y="14350"/>
                      </a:lnTo>
                      <a:lnTo>
                        <a:pt x="10928" y="14351"/>
                      </a:lnTo>
                      <a:lnTo>
                        <a:pt x="10929" y="14351"/>
                      </a:lnTo>
                      <a:lnTo>
                        <a:pt x="10931" y="14351"/>
                      </a:lnTo>
                      <a:lnTo>
                        <a:pt x="10933" y="14351"/>
                      </a:lnTo>
                      <a:lnTo>
                        <a:pt x="10935" y="14351"/>
                      </a:lnTo>
                      <a:lnTo>
                        <a:pt x="10938" y="14351"/>
                      </a:lnTo>
                      <a:lnTo>
                        <a:pt x="10940" y="14351"/>
                      </a:lnTo>
                      <a:lnTo>
                        <a:pt x="10942" y="14351"/>
                      </a:lnTo>
                      <a:lnTo>
                        <a:pt x="10944" y="14351"/>
                      </a:lnTo>
                      <a:lnTo>
                        <a:pt x="10946" y="14351"/>
                      </a:lnTo>
                      <a:lnTo>
                        <a:pt x="10947" y="14351"/>
                      </a:lnTo>
                      <a:lnTo>
                        <a:pt x="10947" y="14350"/>
                      </a:lnTo>
                      <a:lnTo>
                        <a:pt x="10947" y="14351"/>
                      </a:lnTo>
                      <a:lnTo>
                        <a:pt x="10973" y="14350"/>
                      </a:lnTo>
                      <a:lnTo>
                        <a:pt x="10977" y="14351"/>
                      </a:lnTo>
                      <a:lnTo>
                        <a:pt x="10977" y="17290"/>
                      </a:lnTo>
                      <a:lnTo>
                        <a:pt x="10968" y="17293"/>
                      </a:lnTo>
                      <a:lnTo>
                        <a:pt x="10914" y="17293"/>
                      </a:lnTo>
                      <a:lnTo>
                        <a:pt x="10914" y="17243"/>
                      </a:lnTo>
                      <a:lnTo>
                        <a:pt x="10854" y="17184"/>
                      </a:lnTo>
                      <a:lnTo>
                        <a:pt x="10854" y="17129"/>
                      </a:lnTo>
                      <a:lnTo>
                        <a:pt x="10801" y="17087"/>
                      </a:lnTo>
                      <a:lnTo>
                        <a:pt x="10801" y="17053"/>
                      </a:lnTo>
                      <a:lnTo>
                        <a:pt x="10666" y="16966"/>
                      </a:lnTo>
                      <a:lnTo>
                        <a:pt x="10666" y="16943"/>
                      </a:lnTo>
                      <a:lnTo>
                        <a:pt x="10632" y="16927"/>
                      </a:lnTo>
                      <a:lnTo>
                        <a:pt x="10606" y="16916"/>
                      </a:lnTo>
                      <a:lnTo>
                        <a:pt x="10606" y="16882"/>
                      </a:lnTo>
                      <a:lnTo>
                        <a:pt x="10555" y="16846"/>
                      </a:lnTo>
                      <a:lnTo>
                        <a:pt x="10504" y="16883"/>
                      </a:lnTo>
                      <a:lnTo>
                        <a:pt x="10504" y="16916"/>
                      </a:lnTo>
                      <a:lnTo>
                        <a:pt x="10475" y="16928"/>
                      </a:lnTo>
                      <a:lnTo>
                        <a:pt x="10443" y="16946"/>
                      </a:lnTo>
                      <a:lnTo>
                        <a:pt x="10443" y="16968"/>
                      </a:lnTo>
                      <a:lnTo>
                        <a:pt x="10444" y="16969"/>
                      </a:lnTo>
                      <a:lnTo>
                        <a:pt x="10308" y="17060"/>
                      </a:lnTo>
                      <a:lnTo>
                        <a:pt x="10308" y="17094"/>
                      </a:lnTo>
                      <a:lnTo>
                        <a:pt x="10255" y="17137"/>
                      </a:lnTo>
                      <a:lnTo>
                        <a:pt x="10255" y="17191"/>
                      </a:lnTo>
                      <a:lnTo>
                        <a:pt x="10194" y="17252"/>
                      </a:lnTo>
                      <a:lnTo>
                        <a:pt x="10194" y="17301"/>
                      </a:lnTo>
                      <a:lnTo>
                        <a:pt x="10176" y="17301"/>
                      </a:lnTo>
                      <a:cubicBezTo>
                        <a:pt x="10176" y="17301"/>
                        <a:pt x="10180" y="14353"/>
                        <a:pt x="10180" y="14353"/>
                      </a:cubicBezTo>
                      <a:close/>
                      <a:moveTo>
                        <a:pt x="10183" y="12056"/>
                      </a:moveTo>
                      <a:lnTo>
                        <a:pt x="10555" y="12057"/>
                      </a:lnTo>
                      <a:lnTo>
                        <a:pt x="10555" y="12092"/>
                      </a:lnTo>
                      <a:lnTo>
                        <a:pt x="10558" y="12097"/>
                      </a:lnTo>
                      <a:lnTo>
                        <a:pt x="10558" y="12095"/>
                      </a:lnTo>
                      <a:lnTo>
                        <a:pt x="10559" y="12095"/>
                      </a:lnTo>
                      <a:lnTo>
                        <a:pt x="10211" y="14087"/>
                      </a:lnTo>
                      <a:lnTo>
                        <a:pt x="10211" y="14088"/>
                      </a:lnTo>
                      <a:lnTo>
                        <a:pt x="10212" y="14090"/>
                      </a:lnTo>
                      <a:lnTo>
                        <a:pt x="10213" y="14093"/>
                      </a:lnTo>
                      <a:lnTo>
                        <a:pt x="10215" y="14095"/>
                      </a:lnTo>
                      <a:lnTo>
                        <a:pt x="10217" y="14098"/>
                      </a:lnTo>
                      <a:lnTo>
                        <a:pt x="10215" y="14098"/>
                      </a:lnTo>
                      <a:lnTo>
                        <a:pt x="10213" y="14098"/>
                      </a:lnTo>
                      <a:lnTo>
                        <a:pt x="10212" y="14098"/>
                      </a:lnTo>
                      <a:lnTo>
                        <a:pt x="10211" y="14099"/>
                      </a:lnTo>
                      <a:lnTo>
                        <a:pt x="10210" y="14099"/>
                      </a:lnTo>
                      <a:lnTo>
                        <a:pt x="10185" y="14099"/>
                      </a:lnTo>
                      <a:lnTo>
                        <a:pt x="10180" y="14099"/>
                      </a:lnTo>
                      <a:cubicBezTo>
                        <a:pt x="10180" y="14099"/>
                        <a:pt x="10183" y="12056"/>
                        <a:pt x="10183" y="12056"/>
                      </a:cubicBezTo>
                      <a:close/>
                      <a:moveTo>
                        <a:pt x="10607" y="12075"/>
                      </a:moveTo>
                      <a:lnTo>
                        <a:pt x="10607" y="12058"/>
                      </a:lnTo>
                      <a:lnTo>
                        <a:pt x="10977" y="12059"/>
                      </a:lnTo>
                      <a:lnTo>
                        <a:pt x="10977" y="14041"/>
                      </a:lnTo>
                      <a:lnTo>
                        <a:pt x="10977" y="14098"/>
                      </a:lnTo>
                      <a:lnTo>
                        <a:pt x="10972" y="14098"/>
                      </a:lnTo>
                      <a:lnTo>
                        <a:pt x="10947" y="14098"/>
                      </a:lnTo>
                      <a:lnTo>
                        <a:pt x="10945" y="14098"/>
                      </a:lnTo>
                      <a:lnTo>
                        <a:pt x="10944" y="14098"/>
                      </a:lnTo>
                      <a:lnTo>
                        <a:pt x="10942" y="14098"/>
                      </a:lnTo>
                      <a:lnTo>
                        <a:pt x="10940" y="14097"/>
                      </a:lnTo>
                      <a:lnTo>
                        <a:pt x="10942" y="14094"/>
                      </a:lnTo>
                      <a:lnTo>
                        <a:pt x="10944" y="14092"/>
                      </a:lnTo>
                      <a:lnTo>
                        <a:pt x="10945" y="14089"/>
                      </a:lnTo>
                      <a:lnTo>
                        <a:pt x="10946" y="14087"/>
                      </a:lnTo>
                      <a:lnTo>
                        <a:pt x="10946" y="14086"/>
                      </a:lnTo>
                      <a:lnTo>
                        <a:pt x="10604" y="12087"/>
                      </a:lnTo>
                      <a:cubicBezTo>
                        <a:pt x="10604" y="12087"/>
                        <a:pt x="10607" y="12075"/>
                        <a:pt x="10607" y="12075"/>
                      </a:cubicBezTo>
                      <a:close/>
                      <a:moveTo>
                        <a:pt x="20123" y="18565"/>
                      </a:moveTo>
                      <a:lnTo>
                        <a:pt x="20128" y="18580"/>
                      </a:lnTo>
                      <a:lnTo>
                        <a:pt x="20128" y="18565"/>
                      </a:lnTo>
                      <a:lnTo>
                        <a:pt x="20128" y="18417"/>
                      </a:lnTo>
                      <a:lnTo>
                        <a:pt x="20123" y="18405"/>
                      </a:lnTo>
                      <a:lnTo>
                        <a:pt x="20123" y="18388"/>
                      </a:lnTo>
                      <a:lnTo>
                        <a:pt x="20128" y="18399"/>
                      </a:lnTo>
                      <a:lnTo>
                        <a:pt x="20128" y="18388"/>
                      </a:lnTo>
                      <a:lnTo>
                        <a:pt x="20128" y="18237"/>
                      </a:lnTo>
                      <a:lnTo>
                        <a:pt x="20124" y="18231"/>
                      </a:lnTo>
                      <a:lnTo>
                        <a:pt x="20135" y="18231"/>
                      </a:lnTo>
                      <a:lnTo>
                        <a:pt x="20135" y="18415"/>
                      </a:lnTo>
                      <a:lnTo>
                        <a:pt x="20138" y="18422"/>
                      </a:lnTo>
                      <a:lnTo>
                        <a:pt x="20138" y="18612"/>
                      </a:lnTo>
                      <a:lnTo>
                        <a:pt x="20129" y="18612"/>
                      </a:lnTo>
                      <a:lnTo>
                        <a:pt x="20128" y="18608"/>
                      </a:lnTo>
                      <a:lnTo>
                        <a:pt x="20128" y="18609"/>
                      </a:lnTo>
                      <a:lnTo>
                        <a:pt x="20128" y="18612"/>
                      </a:lnTo>
                      <a:lnTo>
                        <a:pt x="20128" y="18608"/>
                      </a:lnTo>
                      <a:lnTo>
                        <a:pt x="20123" y="18592"/>
                      </a:lnTo>
                      <a:cubicBezTo>
                        <a:pt x="20123" y="18592"/>
                        <a:pt x="20123" y="18565"/>
                        <a:pt x="20123" y="18565"/>
                      </a:cubicBezTo>
                      <a:close/>
                      <a:moveTo>
                        <a:pt x="20178" y="16567"/>
                      </a:moveTo>
                      <a:lnTo>
                        <a:pt x="20178" y="16521"/>
                      </a:lnTo>
                      <a:lnTo>
                        <a:pt x="20178" y="16535"/>
                      </a:lnTo>
                      <a:lnTo>
                        <a:pt x="20178" y="16723"/>
                      </a:lnTo>
                      <a:cubicBezTo>
                        <a:pt x="20178" y="16723"/>
                        <a:pt x="20178" y="16567"/>
                        <a:pt x="20178" y="16567"/>
                      </a:cubicBezTo>
                      <a:close/>
                      <a:moveTo>
                        <a:pt x="20178" y="16399"/>
                      </a:moveTo>
                      <a:lnTo>
                        <a:pt x="20178" y="16399"/>
                      </a:lnTo>
                      <a:lnTo>
                        <a:pt x="20178" y="16444"/>
                      </a:lnTo>
                      <a:cubicBezTo>
                        <a:pt x="20178" y="16444"/>
                        <a:pt x="20178" y="16399"/>
                        <a:pt x="20178" y="16399"/>
                      </a:cubicBezTo>
                      <a:close/>
                      <a:moveTo>
                        <a:pt x="21301" y="17689"/>
                      </a:moveTo>
                      <a:lnTo>
                        <a:pt x="21301" y="17689"/>
                      </a:lnTo>
                      <a:cubicBezTo>
                        <a:pt x="21301" y="17689"/>
                        <a:pt x="21301" y="17689"/>
                        <a:pt x="21301" y="17689"/>
                      </a:cubicBezTo>
                      <a:close/>
                      <a:moveTo>
                        <a:pt x="21502" y="18612"/>
                      </a:moveTo>
                      <a:lnTo>
                        <a:pt x="21503" y="18210"/>
                      </a:lnTo>
                      <a:lnTo>
                        <a:pt x="21486" y="18208"/>
                      </a:lnTo>
                      <a:lnTo>
                        <a:pt x="21466" y="18209"/>
                      </a:lnTo>
                      <a:lnTo>
                        <a:pt x="21422" y="18205"/>
                      </a:lnTo>
                      <a:lnTo>
                        <a:pt x="21422" y="17867"/>
                      </a:lnTo>
                      <a:lnTo>
                        <a:pt x="21301" y="17865"/>
                      </a:lnTo>
                      <a:lnTo>
                        <a:pt x="21301" y="17736"/>
                      </a:lnTo>
                      <a:lnTo>
                        <a:pt x="21309" y="17730"/>
                      </a:lnTo>
                      <a:lnTo>
                        <a:pt x="21310" y="17730"/>
                      </a:lnTo>
                      <a:lnTo>
                        <a:pt x="21311" y="17729"/>
                      </a:lnTo>
                      <a:lnTo>
                        <a:pt x="21311" y="17727"/>
                      </a:lnTo>
                      <a:lnTo>
                        <a:pt x="21312" y="17725"/>
                      </a:lnTo>
                      <a:lnTo>
                        <a:pt x="21312" y="17723"/>
                      </a:lnTo>
                      <a:lnTo>
                        <a:pt x="21312" y="17722"/>
                      </a:lnTo>
                      <a:lnTo>
                        <a:pt x="21312" y="17719"/>
                      </a:lnTo>
                      <a:lnTo>
                        <a:pt x="21312" y="17717"/>
                      </a:lnTo>
                      <a:lnTo>
                        <a:pt x="21311" y="17716"/>
                      </a:lnTo>
                      <a:lnTo>
                        <a:pt x="21311" y="17714"/>
                      </a:lnTo>
                      <a:lnTo>
                        <a:pt x="21310" y="17713"/>
                      </a:lnTo>
                      <a:lnTo>
                        <a:pt x="21309" y="17712"/>
                      </a:lnTo>
                      <a:lnTo>
                        <a:pt x="21301" y="17709"/>
                      </a:lnTo>
                      <a:lnTo>
                        <a:pt x="21301" y="17705"/>
                      </a:lnTo>
                      <a:lnTo>
                        <a:pt x="21302" y="17704"/>
                      </a:lnTo>
                      <a:lnTo>
                        <a:pt x="21303" y="17702"/>
                      </a:lnTo>
                      <a:lnTo>
                        <a:pt x="21303" y="17700"/>
                      </a:lnTo>
                      <a:lnTo>
                        <a:pt x="21303" y="17699"/>
                      </a:lnTo>
                      <a:lnTo>
                        <a:pt x="21303" y="17697"/>
                      </a:lnTo>
                      <a:lnTo>
                        <a:pt x="21303" y="17695"/>
                      </a:lnTo>
                      <a:lnTo>
                        <a:pt x="21303" y="17693"/>
                      </a:lnTo>
                      <a:lnTo>
                        <a:pt x="21303" y="17691"/>
                      </a:lnTo>
                      <a:lnTo>
                        <a:pt x="21302" y="17690"/>
                      </a:lnTo>
                      <a:lnTo>
                        <a:pt x="21302" y="17689"/>
                      </a:lnTo>
                      <a:lnTo>
                        <a:pt x="21301" y="17688"/>
                      </a:lnTo>
                      <a:lnTo>
                        <a:pt x="21302" y="17607"/>
                      </a:lnTo>
                      <a:lnTo>
                        <a:pt x="21382" y="17607"/>
                      </a:lnTo>
                      <a:lnTo>
                        <a:pt x="21389" y="17581"/>
                      </a:lnTo>
                      <a:lnTo>
                        <a:pt x="21303" y="17422"/>
                      </a:lnTo>
                      <a:lnTo>
                        <a:pt x="21310" y="17422"/>
                      </a:lnTo>
                      <a:lnTo>
                        <a:pt x="21317" y="17391"/>
                      </a:lnTo>
                      <a:lnTo>
                        <a:pt x="21233" y="17231"/>
                      </a:lnTo>
                      <a:lnTo>
                        <a:pt x="21233" y="17225"/>
                      </a:lnTo>
                      <a:lnTo>
                        <a:pt x="21233" y="17219"/>
                      </a:lnTo>
                      <a:lnTo>
                        <a:pt x="21232" y="17213"/>
                      </a:lnTo>
                      <a:lnTo>
                        <a:pt x="21232" y="17206"/>
                      </a:lnTo>
                      <a:lnTo>
                        <a:pt x="21232" y="17199"/>
                      </a:lnTo>
                      <a:lnTo>
                        <a:pt x="21232" y="17193"/>
                      </a:lnTo>
                      <a:lnTo>
                        <a:pt x="21232" y="17186"/>
                      </a:lnTo>
                      <a:lnTo>
                        <a:pt x="21232" y="17179"/>
                      </a:lnTo>
                      <a:lnTo>
                        <a:pt x="21232" y="17172"/>
                      </a:lnTo>
                      <a:lnTo>
                        <a:pt x="21232" y="17165"/>
                      </a:lnTo>
                      <a:lnTo>
                        <a:pt x="21232" y="17158"/>
                      </a:lnTo>
                      <a:lnTo>
                        <a:pt x="21232" y="17151"/>
                      </a:lnTo>
                      <a:lnTo>
                        <a:pt x="21232" y="17149"/>
                      </a:lnTo>
                      <a:lnTo>
                        <a:pt x="21232" y="17147"/>
                      </a:lnTo>
                      <a:lnTo>
                        <a:pt x="21232" y="17145"/>
                      </a:lnTo>
                      <a:lnTo>
                        <a:pt x="21232" y="17143"/>
                      </a:lnTo>
                      <a:lnTo>
                        <a:pt x="21232" y="17140"/>
                      </a:lnTo>
                      <a:lnTo>
                        <a:pt x="21232" y="17138"/>
                      </a:lnTo>
                      <a:lnTo>
                        <a:pt x="21232" y="17135"/>
                      </a:lnTo>
                      <a:lnTo>
                        <a:pt x="21232" y="17132"/>
                      </a:lnTo>
                      <a:lnTo>
                        <a:pt x="21232" y="17129"/>
                      </a:lnTo>
                      <a:lnTo>
                        <a:pt x="21232" y="17126"/>
                      </a:lnTo>
                      <a:lnTo>
                        <a:pt x="21232" y="17123"/>
                      </a:lnTo>
                      <a:lnTo>
                        <a:pt x="21232" y="17120"/>
                      </a:lnTo>
                      <a:lnTo>
                        <a:pt x="21229" y="16905"/>
                      </a:lnTo>
                      <a:lnTo>
                        <a:pt x="21229" y="16862"/>
                      </a:lnTo>
                      <a:lnTo>
                        <a:pt x="21225" y="16862"/>
                      </a:lnTo>
                      <a:lnTo>
                        <a:pt x="21204" y="16878"/>
                      </a:lnTo>
                      <a:lnTo>
                        <a:pt x="20994" y="16879"/>
                      </a:lnTo>
                      <a:lnTo>
                        <a:pt x="20784" y="16879"/>
                      </a:lnTo>
                      <a:lnTo>
                        <a:pt x="20763" y="16863"/>
                      </a:lnTo>
                      <a:lnTo>
                        <a:pt x="20759" y="16863"/>
                      </a:lnTo>
                      <a:lnTo>
                        <a:pt x="20758" y="16906"/>
                      </a:lnTo>
                      <a:lnTo>
                        <a:pt x="20748" y="17120"/>
                      </a:lnTo>
                      <a:lnTo>
                        <a:pt x="20748" y="17123"/>
                      </a:lnTo>
                      <a:lnTo>
                        <a:pt x="20748" y="17126"/>
                      </a:lnTo>
                      <a:lnTo>
                        <a:pt x="20748" y="17129"/>
                      </a:lnTo>
                      <a:lnTo>
                        <a:pt x="20748" y="17132"/>
                      </a:lnTo>
                      <a:lnTo>
                        <a:pt x="20747" y="17135"/>
                      </a:lnTo>
                      <a:lnTo>
                        <a:pt x="20747" y="17138"/>
                      </a:lnTo>
                      <a:lnTo>
                        <a:pt x="20747" y="17140"/>
                      </a:lnTo>
                      <a:lnTo>
                        <a:pt x="20747" y="17143"/>
                      </a:lnTo>
                      <a:lnTo>
                        <a:pt x="20747" y="17145"/>
                      </a:lnTo>
                      <a:lnTo>
                        <a:pt x="20746" y="17147"/>
                      </a:lnTo>
                      <a:lnTo>
                        <a:pt x="20746" y="17149"/>
                      </a:lnTo>
                      <a:lnTo>
                        <a:pt x="20746" y="17151"/>
                      </a:lnTo>
                      <a:lnTo>
                        <a:pt x="20746" y="17158"/>
                      </a:lnTo>
                      <a:lnTo>
                        <a:pt x="20746" y="17165"/>
                      </a:lnTo>
                      <a:lnTo>
                        <a:pt x="20746" y="17172"/>
                      </a:lnTo>
                      <a:lnTo>
                        <a:pt x="20746" y="17179"/>
                      </a:lnTo>
                      <a:lnTo>
                        <a:pt x="20746" y="17186"/>
                      </a:lnTo>
                      <a:lnTo>
                        <a:pt x="20745" y="17193"/>
                      </a:lnTo>
                      <a:lnTo>
                        <a:pt x="20745" y="17199"/>
                      </a:lnTo>
                      <a:lnTo>
                        <a:pt x="20745" y="17206"/>
                      </a:lnTo>
                      <a:lnTo>
                        <a:pt x="20745" y="17213"/>
                      </a:lnTo>
                      <a:lnTo>
                        <a:pt x="20744" y="17219"/>
                      </a:lnTo>
                      <a:lnTo>
                        <a:pt x="20744" y="17225"/>
                      </a:lnTo>
                      <a:lnTo>
                        <a:pt x="20744" y="17231"/>
                      </a:lnTo>
                      <a:lnTo>
                        <a:pt x="20746" y="17231"/>
                      </a:lnTo>
                      <a:lnTo>
                        <a:pt x="20649" y="17391"/>
                      </a:lnTo>
                      <a:lnTo>
                        <a:pt x="20657" y="17420"/>
                      </a:lnTo>
                      <a:lnTo>
                        <a:pt x="20666" y="17420"/>
                      </a:lnTo>
                      <a:lnTo>
                        <a:pt x="20567" y="17579"/>
                      </a:lnTo>
                      <a:lnTo>
                        <a:pt x="20575" y="17605"/>
                      </a:lnTo>
                      <a:lnTo>
                        <a:pt x="20667" y="17606"/>
                      </a:lnTo>
                      <a:lnTo>
                        <a:pt x="20667" y="17707"/>
                      </a:lnTo>
                      <a:lnTo>
                        <a:pt x="20661" y="17710"/>
                      </a:lnTo>
                      <a:lnTo>
                        <a:pt x="20660" y="17710"/>
                      </a:lnTo>
                      <a:lnTo>
                        <a:pt x="20659" y="17712"/>
                      </a:lnTo>
                      <a:lnTo>
                        <a:pt x="20658" y="17712"/>
                      </a:lnTo>
                      <a:lnTo>
                        <a:pt x="20658" y="17714"/>
                      </a:lnTo>
                      <a:lnTo>
                        <a:pt x="20658" y="17716"/>
                      </a:lnTo>
                      <a:lnTo>
                        <a:pt x="20657" y="17717"/>
                      </a:lnTo>
                      <a:lnTo>
                        <a:pt x="20657" y="17719"/>
                      </a:lnTo>
                      <a:lnTo>
                        <a:pt x="20657" y="17722"/>
                      </a:lnTo>
                      <a:lnTo>
                        <a:pt x="20658" y="17723"/>
                      </a:lnTo>
                      <a:lnTo>
                        <a:pt x="20658" y="17725"/>
                      </a:lnTo>
                      <a:lnTo>
                        <a:pt x="20658" y="17726"/>
                      </a:lnTo>
                      <a:lnTo>
                        <a:pt x="20659" y="17728"/>
                      </a:lnTo>
                      <a:lnTo>
                        <a:pt x="20660" y="17728"/>
                      </a:lnTo>
                      <a:lnTo>
                        <a:pt x="20667" y="17734"/>
                      </a:lnTo>
                      <a:lnTo>
                        <a:pt x="20667" y="17836"/>
                      </a:lnTo>
                      <a:lnTo>
                        <a:pt x="20530" y="17833"/>
                      </a:lnTo>
                      <a:lnTo>
                        <a:pt x="20531" y="16684"/>
                      </a:lnTo>
                      <a:lnTo>
                        <a:pt x="20531" y="16508"/>
                      </a:lnTo>
                      <a:lnTo>
                        <a:pt x="20531" y="16475"/>
                      </a:lnTo>
                      <a:lnTo>
                        <a:pt x="20531" y="16333"/>
                      </a:lnTo>
                      <a:lnTo>
                        <a:pt x="20531" y="16300"/>
                      </a:lnTo>
                      <a:lnTo>
                        <a:pt x="20531" y="16151"/>
                      </a:lnTo>
                      <a:lnTo>
                        <a:pt x="20485" y="16152"/>
                      </a:lnTo>
                      <a:lnTo>
                        <a:pt x="20485" y="15975"/>
                      </a:lnTo>
                      <a:lnTo>
                        <a:pt x="20255" y="15978"/>
                      </a:lnTo>
                      <a:lnTo>
                        <a:pt x="20239" y="16051"/>
                      </a:lnTo>
                      <a:lnTo>
                        <a:pt x="20239" y="16224"/>
                      </a:lnTo>
                      <a:lnTo>
                        <a:pt x="20178" y="16224"/>
                      </a:lnTo>
                      <a:lnTo>
                        <a:pt x="20163" y="16317"/>
                      </a:lnTo>
                      <a:lnTo>
                        <a:pt x="20163" y="16482"/>
                      </a:lnTo>
                      <a:lnTo>
                        <a:pt x="20163" y="16641"/>
                      </a:lnTo>
                      <a:lnTo>
                        <a:pt x="20163" y="16800"/>
                      </a:lnTo>
                      <a:lnTo>
                        <a:pt x="20162" y="17801"/>
                      </a:lnTo>
                      <a:lnTo>
                        <a:pt x="20134" y="17801"/>
                      </a:lnTo>
                      <a:lnTo>
                        <a:pt x="20093" y="17800"/>
                      </a:lnTo>
                      <a:lnTo>
                        <a:pt x="20050" y="17800"/>
                      </a:lnTo>
                      <a:lnTo>
                        <a:pt x="20008" y="17801"/>
                      </a:lnTo>
                      <a:lnTo>
                        <a:pt x="19970" y="17802"/>
                      </a:lnTo>
                      <a:lnTo>
                        <a:pt x="19948" y="17802"/>
                      </a:lnTo>
                      <a:lnTo>
                        <a:pt x="19948" y="15890"/>
                      </a:lnTo>
                      <a:lnTo>
                        <a:pt x="19948" y="15715"/>
                      </a:lnTo>
                      <a:lnTo>
                        <a:pt x="19874" y="15716"/>
                      </a:lnTo>
                      <a:lnTo>
                        <a:pt x="19873" y="15668"/>
                      </a:lnTo>
                      <a:lnTo>
                        <a:pt x="19873" y="15567"/>
                      </a:lnTo>
                      <a:lnTo>
                        <a:pt x="19871" y="15474"/>
                      </a:lnTo>
                      <a:lnTo>
                        <a:pt x="19642" y="15480"/>
                      </a:lnTo>
                      <a:lnTo>
                        <a:pt x="19642" y="15632"/>
                      </a:lnTo>
                      <a:lnTo>
                        <a:pt x="19612" y="15632"/>
                      </a:lnTo>
                      <a:lnTo>
                        <a:pt x="19612" y="15781"/>
                      </a:lnTo>
                      <a:lnTo>
                        <a:pt x="19612" y="15813"/>
                      </a:lnTo>
                      <a:lnTo>
                        <a:pt x="19612" y="15955"/>
                      </a:lnTo>
                      <a:lnTo>
                        <a:pt x="19612" y="15988"/>
                      </a:lnTo>
                      <a:lnTo>
                        <a:pt x="19612" y="16162"/>
                      </a:lnTo>
                      <a:lnTo>
                        <a:pt x="19613" y="17799"/>
                      </a:lnTo>
                      <a:lnTo>
                        <a:pt x="19420" y="17804"/>
                      </a:lnTo>
                      <a:lnTo>
                        <a:pt x="19420" y="17720"/>
                      </a:lnTo>
                      <a:lnTo>
                        <a:pt x="19388" y="17705"/>
                      </a:lnTo>
                      <a:lnTo>
                        <a:pt x="19262" y="17698"/>
                      </a:lnTo>
                      <a:lnTo>
                        <a:pt x="19262" y="17585"/>
                      </a:lnTo>
                      <a:lnTo>
                        <a:pt x="18986" y="17561"/>
                      </a:lnTo>
                      <a:lnTo>
                        <a:pt x="18986" y="17301"/>
                      </a:lnTo>
                      <a:lnTo>
                        <a:pt x="18860" y="17282"/>
                      </a:lnTo>
                      <a:lnTo>
                        <a:pt x="18836" y="17286"/>
                      </a:lnTo>
                      <a:lnTo>
                        <a:pt x="18780" y="10503"/>
                      </a:lnTo>
                      <a:lnTo>
                        <a:pt x="18780" y="10493"/>
                      </a:lnTo>
                      <a:lnTo>
                        <a:pt x="18784" y="10491"/>
                      </a:lnTo>
                      <a:lnTo>
                        <a:pt x="18788" y="10484"/>
                      </a:lnTo>
                      <a:lnTo>
                        <a:pt x="18792" y="10436"/>
                      </a:lnTo>
                      <a:lnTo>
                        <a:pt x="18795" y="10400"/>
                      </a:lnTo>
                      <a:lnTo>
                        <a:pt x="18800" y="10361"/>
                      </a:lnTo>
                      <a:lnTo>
                        <a:pt x="18813" y="10314"/>
                      </a:lnTo>
                      <a:lnTo>
                        <a:pt x="18823" y="10275"/>
                      </a:lnTo>
                      <a:lnTo>
                        <a:pt x="18834" y="10242"/>
                      </a:lnTo>
                      <a:lnTo>
                        <a:pt x="18840" y="10232"/>
                      </a:lnTo>
                      <a:lnTo>
                        <a:pt x="18855" y="10216"/>
                      </a:lnTo>
                      <a:lnTo>
                        <a:pt x="18869" y="10200"/>
                      </a:lnTo>
                      <a:lnTo>
                        <a:pt x="18878" y="10184"/>
                      </a:lnTo>
                      <a:lnTo>
                        <a:pt x="18878" y="10170"/>
                      </a:lnTo>
                      <a:lnTo>
                        <a:pt x="18877" y="10101"/>
                      </a:lnTo>
                      <a:lnTo>
                        <a:pt x="18889" y="10049"/>
                      </a:lnTo>
                      <a:lnTo>
                        <a:pt x="18891" y="10044"/>
                      </a:lnTo>
                      <a:lnTo>
                        <a:pt x="18891" y="9974"/>
                      </a:lnTo>
                      <a:lnTo>
                        <a:pt x="18903" y="9915"/>
                      </a:lnTo>
                      <a:lnTo>
                        <a:pt x="18906" y="9911"/>
                      </a:lnTo>
                      <a:lnTo>
                        <a:pt x="18906" y="9825"/>
                      </a:lnTo>
                      <a:lnTo>
                        <a:pt x="18918" y="9759"/>
                      </a:lnTo>
                      <a:lnTo>
                        <a:pt x="18920" y="9754"/>
                      </a:lnTo>
                      <a:lnTo>
                        <a:pt x="18920" y="9662"/>
                      </a:lnTo>
                      <a:lnTo>
                        <a:pt x="18937" y="9599"/>
                      </a:lnTo>
                      <a:lnTo>
                        <a:pt x="18940" y="9593"/>
                      </a:lnTo>
                      <a:lnTo>
                        <a:pt x="18940" y="9500"/>
                      </a:lnTo>
                      <a:lnTo>
                        <a:pt x="18936" y="9475"/>
                      </a:lnTo>
                      <a:lnTo>
                        <a:pt x="18922" y="9458"/>
                      </a:lnTo>
                      <a:lnTo>
                        <a:pt x="18922" y="9442"/>
                      </a:lnTo>
                      <a:lnTo>
                        <a:pt x="18923" y="9442"/>
                      </a:lnTo>
                      <a:lnTo>
                        <a:pt x="18935" y="9417"/>
                      </a:lnTo>
                      <a:lnTo>
                        <a:pt x="18932" y="9391"/>
                      </a:lnTo>
                      <a:lnTo>
                        <a:pt x="18913" y="9368"/>
                      </a:lnTo>
                      <a:lnTo>
                        <a:pt x="18902" y="9362"/>
                      </a:lnTo>
                      <a:lnTo>
                        <a:pt x="18902" y="9311"/>
                      </a:lnTo>
                      <a:lnTo>
                        <a:pt x="18899" y="9289"/>
                      </a:lnTo>
                      <a:lnTo>
                        <a:pt x="18898" y="9288"/>
                      </a:lnTo>
                      <a:lnTo>
                        <a:pt x="18898" y="9285"/>
                      </a:lnTo>
                      <a:lnTo>
                        <a:pt x="18898" y="9279"/>
                      </a:lnTo>
                      <a:lnTo>
                        <a:pt x="18897" y="9272"/>
                      </a:lnTo>
                      <a:lnTo>
                        <a:pt x="18896" y="9266"/>
                      </a:lnTo>
                      <a:lnTo>
                        <a:pt x="18894" y="9261"/>
                      </a:lnTo>
                      <a:lnTo>
                        <a:pt x="18892" y="9258"/>
                      </a:lnTo>
                      <a:lnTo>
                        <a:pt x="18890" y="9257"/>
                      </a:lnTo>
                      <a:lnTo>
                        <a:pt x="18888" y="9257"/>
                      </a:lnTo>
                      <a:lnTo>
                        <a:pt x="18882" y="9259"/>
                      </a:lnTo>
                      <a:lnTo>
                        <a:pt x="18880" y="9261"/>
                      </a:lnTo>
                      <a:lnTo>
                        <a:pt x="18878" y="9264"/>
                      </a:lnTo>
                      <a:lnTo>
                        <a:pt x="18878" y="9266"/>
                      </a:lnTo>
                      <a:lnTo>
                        <a:pt x="18854" y="9252"/>
                      </a:lnTo>
                      <a:lnTo>
                        <a:pt x="18848" y="9250"/>
                      </a:lnTo>
                      <a:lnTo>
                        <a:pt x="18848" y="9249"/>
                      </a:lnTo>
                      <a:lnTo>
                        <a:pt x="18848" y="9248"/>
                      </a:lnTo>
                      <a:lnTo>
                        <a:pt x="18847" y="9247"/>
                      </a:lnTo>
                      <a:lnTo>
                        <a:pt x="18847" y="9246"/>
                      </a:lnTo>
                      <a:lnTo>
                        <a:pt x="18846" y="9246"/>
                      </a:lnTo>
                      <a:lnTo>
                        <a:pt x="18845" y="9246"/>
                      </a:lnTo>
                      <a:lnTo>
                        <a:pt x="18844" y="9246"/>
                      </a:lnTo>
                      <a:lnTo>
                        <a:pt x="18844" y="9247"/>
                      </a:lnTo>
                      <a:lnTo>
                        <a:pt x="18843" y="9248"/>
                      </a:lnTo>
                      <a:lnTo>
                        <a:pt x="18825" y="9242"/>
                      </a:lnTo>
                      <a:lnTo>
                        <a:pt x="18824" y="9238"/>
                      </a:lnTo>
                      <a:lnTo>
                        <a:pt x="18822" y="9235"/>
                      </a:lnTo>
                      <a:lnTo>
                        <a:pt x="18820" y="9233"/>
                      </a:lnTo>
                      <a:lnTo>
                        <a:pt x="18818" y="9233"/>
                      </a:lnTo>
                      <a:lnTo>
                        <a:pt x="18812" y="9235"/>
                      </a:lnTo>
                      <a:lnTo>
                        <a:pt x="18810" y="9237"/>
                      </a:lnTo>
                      <a:lnTo>
                        <a:pt x="18810" y="9238"/>
                      </a:lnTo>
                      <a:lnTo>
                        <a:pt x="18777" y="9232"/>
                      </a:lnTo>
                      <a:lnTo>
                        <a:pt x="18779" y="9230"/>
                      </a:lnTo>
                      <a:lnTo>
                        <a:pt x="18782" y="9225"/>
                      </a:lnTo>
                      <a:lnTo>
                        <a:pt x="18784" y="9218"/>
                      </a:lnTo>
                      <a:lnTo>
                        <a:pt x="18785" y="9210"/>
                      </a:lnTo>
                      <a:lnTo>
                        <a:pt x="18785" y="9200"/>
                      </a:lnTo>
                      <a:lnTo>
                        <a:pt x="18785" y="9191"/>
                      </a:lnTo>
                      <a:lnTo>
                        <a:pt x="18783" y="9182"/>
                      </a:lnTo>
                      <a:lnTo>
                        <a:pt x="18782" y="9174"/>
                      </a:lnTo>
                      <a:lnTo>
                        <a:pt x="18779" y="9168"/>
                      </a:lnTo>
                      <a:lnTo>
                        <a:pt x="18777" y="9163"/>
                      </a:lnTo>
                      <a:lnTo>
                        <a:pt x="18774" y="9161"/>
                      </a:lnTo>
                      <a:lnTo>
                        <a:pt x="18771" y="9161"/>
                      </a:lnTo>
                      <a:lnTo>
                        <a:pt x="18770" y="9161"/>
                      </a:lnTo>
                      <a:lnTo>
                        <a:pt x="18770" y="9086"/>
                      </a:lnTo>
                      <a:lnTo>
                        <a:pt x="18772" y="9085"/>
                      </a:lnTo>
                      <a:lnTo>
                        <a:pt x="18781" y="9076"/>
                      </a:lnTo>
                      <a:lnTo>
                        <a:pt x="18785" y="9067"/>
                      </a:lnTo>
                      <a:lnTo>
                        <a:pt x="18785" y="9015"/>
                      </a:lnTo>
                      <a:lnTo>
                        <a:pt x="18783" y="9005"/>
                      </a:lnTo>
                      <a:lnTo>
                        <a:pt x="18776" y="8997"/>
                      </a:lnTo>
                      <a:lnTo>
                        <a:pt x="18772" y="8994"/>
                      </a:lnTo>
                      <a:lnTo>
                        <a:pt x="18771" y="8992"/>
                      </a:lnTo>
                      <a:lnTo>
                        <a:pt x="18771" y="8990"/>
                      </a:lnTo>
                      <a:lnTo>
                        <a:pt x="18771" y="8989"/>
                      </a:lnTo>
                      <a:lnTo>
                        <a:pt x="18770" y="8988"/>
                      </a:lnTo>
                      <a:lnTo>
                        <a:pt x="18769" y="8986"/>
                      </a:lnTo>
                      <a:lnTo>
                        <a:pt x="18768" y="8986"/>
                      </a:lnTo>
                      <a:lnTo>
                        <a:pt x="18768" y="8987"/>
                      </a:lnTo>
                      <a:lnTo>
                        <a:pt x="18767" y="8988"/>
                      </a:lnTo>
                      <a:lnTo>
                        <a:pt x="18766" y="8989"/>
                      </a:lnTo>
                      <a:lnTo>
                        <a:pt x="18766" y="8990"/>
                      </a:lnTo>
                      <a:lnTo>
                        <a:pt x="18765" y="8989"/>
                      </a:lnTo>
                      <a:lnTo>
                        <a:pt x="18759" y="8987"/>
                      </a:lnTo>
                      <a:lnTo>
                        <a:pt x="18760" y="8984"/>
                      </a:lnTo>
                      <a:lnTo>
                        <a:pt x="18762" y="8978"/>
                      </a:lnTo>
                      <a:lnTo>
                        <a:pt x="18763" y="8972"/>
                      </a:lnTo>
                      <a:lnTo>
                        <a:pt x="18763" y="8966"/>
                      </a:lnTo>
                      <a:lnTo>
                        <a:pt x="18763" y="8959"/>
                      </a:lnTo>
                      <a:lnTo>
                        <a:pt x="18762" y="8952"/>
                      </a:lnTo>
                      <a:lnTo>
                        <a:pt x="18761" y="8946"/>
                      </a:lnTo>
                      <a:lnTo>
                        <a:pt x="18760" y="8943"/>
                      </a:lnTo>
                      <a:lnTo>
                        <a:pt x="18769" y="8937"/>
                      </a:lnTo>
                      <a:lnTo>
                        <a:pt x="18778" y="8928"/>
                      </a:lnTo>
                      <a:lnTo>
                        <a:pt x="18782" y="8919"/>
                      </a:lnTo>
                      <a:lnTo>
                        <a:pt x="18782" y="8903"/>
                      </a:lnTo>
                      <a:lnTo>
                        <a:pt x="18780" y="8894"/>
                      </a:lnTo>
                      <a:lnTo>
                        <a:pt x="18776" y="8889"/>
                      </a:lnTo>
                      <a:lnTo>
                        <a:pt x="18776" y="8888"/>
                      </a:lnTo>
                      <a:lnTo>
                        <a:pt x="18776" y="8886"/>
                      </a:lnTo>
                      <a:lnTo>
                        <a:pt x="18775" y="8886"/>
                      </a:lnTo>
                      <a:lnTo>
                        <a:pt x="18775" y="8885"/>
                      </a:lnTo>
                      <a:lnTo>
                        <a:pt x="18774" y="8884"/>
                      </a:lnTo>
                      <a:lnTo>
                        <a:pt x="18773" y="8884"/>
                      </a:lnTo>
                      <a:lnTo>
                        <a:pt x="18773" y="8885"/>
                      </a:lnTo>
                      <a:lnTo>
                        <a:pt x="18772" y="8885"/>
                      </a:lnTo>
                      <a:lnTo>
                        <a:pt x="18773" y="8882"/>
                      </a:lnTo>
                      <a:lnTo>
                        <a:pt x="18774" y="8876"/>
                      </a:lnTo>
                      <a:lnTo>
                        <a:pt x="18774" y="8869"/>
                      </a:lnTo>
                      <a:lnTo>
                        <a:pt x="18774" y="8862"/>
                      </a:lnTo>
                      <a:lnTo>
                        <a:pt x="18773" y="8855"/>
                      </a:lnTo>
                      <a:lnTo>
                        <a:pt x="18772" y="8850"/>
                      </a:lnTo>
                      <a:lnTo>
                        <a:pt x="18770" y="8845"/>
                      </a:lnTo>
                      <a:lnTo>
                        <a:pt x="18769" y="8842"/>
                      </a:lnTo>
                      <a:lnTo>
                        <a:pt x="18766" y="8840"/>
                      </a:lnTo>
                      <a:lnTo>
                        <a:pt x="18764" y="8840"/>
                      </a:lnTo>
                      <a:lnTo>
                        <a:pt x="18759" y="8842"/>
                      </a:lnTo>
                      <a:lnTo>
                        <a:pt x="18757" y="8844"/>
                      </a:lnTo>
                      <a:lnTo>
                        <a:pt x="18755" y="8848"/>
                      </a:lnTo>
                      <a:lnTo>
                        <a:pt x="18754" y="8853"/>
                      </a:lnTo>
                      <a:lnTo>
                        <a:pt x="18753" y="8859"/>
                      </a:lnTo>
                      <a:lnTo>
                        <a:pt x="18752" y="8866"/>
                      </a:lnTo>
                      <a:lnTo>
                        <a:pt x="18752" y="8872"/>
                      </a:lnTo>
                      <a:lnTo>
                        <a:pt x="18753" y="8874"/>
                      </a:lnTo>
                      <a:lnTo>
                        <a:pt x="18747" y="8872"/>
                      </a:lnTo>
                      <a:lnTo>
                        <a:pt x="18730" y="8870"/>
                      </a:lnTo>
                      <a:lnTo>
                        <a:pt x="18730" y="8842"/>
                      </a:lnTo>
                      <a:lnTo>
                        <a:pt x="18740" y="8840"/>
                      </a:lnTo>
                      <a:lnTo>
                        <a:pt x="18756" y="8834"/>
                      </a:lnTo>
                      <a:lnTo>
                        <a:pt x="18769" y="8826"/>
                      </a:lnTo>
                      <a:lnTo>
                        <a:pt x="18778" y="8817"/>
                      </a:lnTo>
                      <a:lnTo>
                        <a:pt x="18782" y="8807"/>
                      </a:lnTo>
                      <a:lnTo>
                        <a:pt x="18782" y="8794"/>
                      </a:lnTo>
                      <a:lnTo>
                        <a:pt x="18780" y="8784"/>
                      </a:lnTo>
                      <a:lnTo>
                        <a:pt x="18775" y="8777"/>
                      </a:lnTo>
                      <a:lnTo>
                        <a:pt x="18775" y="8776"/>
                      </a:lnTo>
                      <a:lnTo>
                        <a:pt x="18775" y="8774"/>
                      </a:lnTo>
                      <a:lnTo>
                        <a:pt x="18775" y="8772"/>
                      </a:lnTo>
                      <a:lnTo>
                        <a:pt x="18774" y="8771"/>
                      </a:lnTo>
                      <a:lnTo>
                        <a:pt x="18774" y="8769"/>
                      </a:lnTo>
                      <a:lnTo>
                        <a:pt x="18773" y="8768"/>
                      </a:lnTo>
                      <a:lnTo>
                        <a:pt x="18772" y="8768"/>
                      </a:lnTo>
                      <a:lnTo>
                        <a:pt x="18771" y="8768"/>
                      </a:lnTo>
                      <a:lnTo>
                        <a:pt x="18770" y="8769"/>
                      </a:lnTo>
                      <a:lnTo>
                        <a:pt x="18770" y="8770"/>
                      </a:lnTo>
                      <a:lnTo>
                        <a:pt x="18769" y="8772"/>
                      </a:lnTo>
                      <a:lnTo>
                        <a:pt x="18769" y="8773"/>
                      </a:lnTo>
                      <a:lnTo>
                        <a:pt x="18762" y="8768"/>
                      </a:lnTo>
                      <a:lnTo>
                        <a:pt x="18747" y="8762"/>
                      </a:lnTo>
                      <a:lnTo>
                        <a:pt x="18745" y="8762"/>
                      </a:lnTo>
                      <a:lnTo>
                        <a:pt x="18746" y="8761"/>
                      </a:lnTo>
                      <a:lnTo>
                        <a:pt x="18746" y="8759"/>
                      </a:lnTo>
                      <a:lnTo>
                        <a:pt x="18746" y="8757"/>
                      </a:lnTo>
                      <a:lnTo>
                        <a:pt x="18746" y="8756"/>
                      </a:lnTo>
                      <a:lnTo>
                        <a:pt x="18746" y="8754"/>
                      </a:lnTo>
                      <a:lnTo>
                        <a:pt x="18745" y="8752"/>
                      </a:lnTo>
                      <a:lnTo>
                        <a:pt x="18745" y="8750"/>
                      </a:lnTo>
                      <a:lnTo>
                        <a:pt x="18744" y="8750"/>
                      </a:lnTo>
                      <a:lnTo>
                        <a:pt x="18743" y="8750"/>
                      </a:lnTo>
                      <a:lnTo>
                        <a:pt x="18742" y="8750"/>
                      </a:lnTo>
                      <a:lnTo>
                        <a:pt x="18742" y="8749"/>
                      </a:lnTo>
                      <a:lnTo>
                        <a:pt x="18743" y="8748"/>
                      </a:lnTo>
                      <a:lnTo>
                        <a:pt x="18743" y="8747"/>
                      </a:lnTo>
                      <a:lnTo>
                        <a:pt x="18743" y="8745"/>
                      </a:lnTo>
                      <a:lnTo>
                        <a:pt x="18743" y="8743"/>
                      </a:lnTo>
                      <a:lnTo>
                        <a:pt x="18743" y="8741"/>
                      </a:lnTo>
                      <a:lnTo>
                        <a:pt x="18743" y="8739"/>
                      </a:lnTo>
                      <a:lnTo>
                        <a:pt x="18743" y="8737"/>
                      </a:lnTo>
                      <a:lnTo>
                        <a:pt x="18742" y="8736"/>
                      </a:lnTo>
                      <a:lnTo>
                        <a:pt x="18742" y="8735"/>
                      </a:lnTo>
                      <a:lnTo>
                        <a:pt x="18742" y="8712"/>
                      </a:lnTo>
                      <a:lnTo>
                        <a:pt x="18741" y="8707"/>
                      </a:lnTo>
                      <a:lnTo>
                        <a:pt x="18741" y="8620"/>
                      </a:lnTo>
                      <a:lnTo>
                        <a:pt x="18727" y="8615"/>
                      </a:lnTo>
                      <a:lnTo>
                        <a:pt x="18726" y="7947"/>
                      </a:lnTo>
                      <a:lnTo>
                        <a:pt x="18730" y="7944"/>
                      </a:lnTo>
                      <a:lnTo>
                        <a:pt x="18730" y="7927"/>
                      </a:lnTo>
                      <a:lnTo>
                        <a:pt x="18718" y="7922"/>
                      </a:lnTo>
                      <a:lnTo>
                        <a:pt x="18716" y="7237"/>
                      </a:lnTo>
                      <a:lnTo>
                        <a:pt x="18720" y="7233"/>
                      </a:lnTo>
                      <a:lnTo>
                        <a:pt x="18720" y="7221"/>
                      </a:lnTo>
                      <a:lnTo>
                        <a:pt x="18713" y="7217"/>
                      </a:lnTo>
                      <a:lnTo>
                        <a:pt x="18712" y="6827"/>
                      </a:lnTo>
                      <a:lnTo>
                        <a:pt x="18719" y="6821"/>
                      </a:lnTo>
                      <a:lnTo>
                        <a:pt x="18718" y="6517"/>
                      </a:lnTo>
                      <a:lnTo>
                        <a:pt x="18712" y="6514"/>
                      </a:lnTo>
                      <a:lnTo>
                        <a:pt x="18712" y="6470"/>
                      </a:lnTo>
                      <a:lnTo>
                        <a:pt x="18705" y="6467"/>
                      </a:lnTo>
                      <a:lnTo>
                        <a:pt x="18704" y="6198"/>
                      </a:lnTo>
                      <a:lnTo>
                        <a:pt x="18702" y="6197"/>
                      </a:lnTo>
                      <a:lnTo>
                        <a:pt x="18697" y="6202"/>
                      </a:lnTo>
                      <a:lnTo>
                        <a:pt x="18697" y="6472"/>
                      </a:lnTo>
                      <a:lnTo>
                        <a:pt x="18690" y="6479"/>
                      </a:lnTo>
                      <a:lnTo>
                        <a:pt x="18690" y="6521"/>
                      </a:lnTo>
                      <a:lnTo>
                        <a:pt x="18685" y="6527"/>
                      </a:lnTo>
                      <a:lnTo>
                        <a:pt x="18685" y="6831"/>
                      </a:lnTo>
                      <a:lnTo>
                        <a:pt x="18691" y="6833"/>
                      </a:lnTo>
                      <a:lnTo>
                        <a:pt x="18692" y="7224"/>
                      </a:lnTo>
                      <a:lnTo>
                        <a:pt x="18685" y="7231"/>
                      </a:lnTo>
                      <a:lnTo>
                        <a:pt x="18685" y="7243"/>
                      </a:lnTo>
                      <a:lnTo>
                        <a:pt x="18688" y="7245"/>
                      </a:lnTo>
                      <a:lnTo>
                        <a:pt x="18689" y="7928"/>
                      </a:lnTo>
                      <a:lnTo>
                        <a:pt x="18677" y="7938"/>
                      </a:lnTo>
                      <a:lnTo>
                        <a:pt x="18677" y="7955"/>
                      </a:lnTo>
                      <a:lnTo>
                        <a:pt x="18681" y="7956"/>
                      </a:lnTo>
                      <a:lnTo>
                        <a:pt x="18682" y="8622"/>
                      </a:lnTo>
                      <a:lnTo>
                        <a:pt x="18668" y="8632"/>
                      </a:lnTo>
                      <a:lnTo>
                        <a:pt x="18668" y="8711"/>
                      </a:lnTo>
                      <a:lnTo>
                        <a:pt x="18667" y="8714"/>
                      </a:lnTo>
                      <a:lnTo>
                        <a:pt x="18667" y="8729"/>
                      </a:lnTo>
                      <a:lnTo>
                        <a:pt x="18666" y="8732"/>
                      </a:lnTo>
                      <a:lnTo>
                        <a:pt x="18665" y="8739"/>
                      </a:lnTo>
                      <a:lnTo>
                        <a:pt x="18665" y="8745"/>
                      </a:lnTo>
                      <a:lnTo>
                        <a:pt x="18665" y="8752"/>
                      </a:lnTo>
                      <a:lnTo>
                        <a:pt x="18666" y="8759"/>
                      </a:lnTo>
                      <a:lnTo>
                        <a:pt x="18667" y="8761"/>
                      </a:lnTo>
                      <a:lnTo>
                        <a:pt x="18667" y="8765"/>
                      </a:lnTo>
                      <a:lnTo>
                        <a:pt x="18653" y="8771"/>
                      </a:lnTo>
                      <a:lnTo>
                        <a:pt x="18650" y="8772"/>
                      </a:lnTo>
                      <a:lnTo>
                        <a:pt x="18650" y="8770"/>
                      </a:lnTo>
                      <a:lnTo>
                        <a:pt x="18649" y="8764"/>
                      </a:lnTo>
                      <a:lnTo>
                        <a:pt x="18648" y="8757"/>
                      </a:lnTo>
                      <a:lnTo>
                        <a:pt x="18647" y="8753"/>
                      </a:lnTo>
                      <a:lnTo>
                        <a:pt x="18645" y="8750"/>
                      </a:lnTo>
                      <a:lnTo>
                        <a:pt x="18643" y="8748"/>
                      </a:lnTo>
                      <a:lnTo>
                        <a:pt x="18640" y="8748"/>
                      </a:lnTo>
                      <a:lnTo>
                        <a:pt x="18635" y="8750"/>
                      </a:lnTo>
                      <a:lnTo>
                        <a:pt x="18633" y="8752"/>
                      </a:lnTo>
                      <a:lnTo>
                        <a:pt x="18631" y="8756"/>
                      </a:lnTo>
                      <a:lnTo>
                        <a:pt x="18630" y="8761"/>
                      </a:lnTo>
                      <a:lnTo>
                        <a:pt x="18629" y="8767"/>
                      </a:lnTo>
                      <a:lnTo>
                        <a:pt x="18629" y="8774"/>
                      </a:lnTo>
                      <a:lnTo>
                        <a:pt x="18629" y="8780"/>
                      </a:lnTo>
                      <a:lnTo>
                        <a:pt x="18629" y="8787"/>
                      </a:lnTo>
                      <a:lnTo>
                        <a:pt x="18630" y="8791"/>
                      </a:lnTo>
                      <a:lnTo>
                        <a:pt x="18627" y="8798"/>
                      </a:lnTo>
                      <a:lnTo>
                        <a:pt x="18627" y="8811"/>
                      </a:lnTo>
                      <a:lnTo>
                        <a:pt x="18629" y="8820"/>
                      </a:lnTo>
                      <a:lnTo>
                        <a:pt x="18636" y="8829"/>
                      </a:lnTo>
                      <a:lnTo>
                        <a:pt x="18648" y="8836"/>
                      </a:lnTo>
                      <a:lnTo>
                        <a:pt x="18663" y="8842"/>
                      </a:lnTo>
                      <a:lnTo>
                        <a:pt x="18679" y="8845"/>
                      </a:lnTo>
                      <a:lnTo>
                        <a:pt x="18679" y="8872"/>
                      </a:lnTo>
                      <a:lnTo>
                        <a:pt x="18669" y="8874"/>
                      </a:lnTo>
                      <a:lnTo>
                        <a:pt x="18653" y="8881"/>
                      </a:lnTo>
                      <a:lnTo>
                        <a:pt x="18650" y="8883"/>
                      </a:lnTo>
                      <a:lnTo>
                        <a:pt x="18650" y="8882"/>
                      </a:lnTo>
                      <a:lnTo>
                        <a:pt x="18650" y="8875"/>
                      </a:lnTo>
                      <a:lnTo>
                        <a:pt x="18649" y="8868"/>
                      </a:lnTo>
                      <a:lnTo>
                        <a:pt x="18648" y="8862"/>
                      </a:lnTo>
                      <a:lnTo>
                        <a:pt x="18646" y="8858"/>
                      </a:lnTo>
                      <a:lnTo>
                        <a:pt x="18644" y="8855"/>
                      </a:lnTo>
                      <a:lnTo>
                        <a:pt x="18642" y="8853"/>
                      </a:lnTo>
                      <a:lnTo>
                        <a:pt x="18640" y="8853"/>
                      </a:lnTo>
                      <a:lnTo>
                        <a:pt x="18634" y="8855"/>
                      </a:lnTo>
                      <a:lnTo>
                        <a:pt x="18632" y="8857"/>
                      </a:lnTo>
                      <a:lnTo>
                        <a:pt x="18631" y="8861"/>
                      </a:lnTo>
                      <a:lnTo>
                        <a:pt x="18629" y="8866"/>
                      </a:lnTo>
                      <a:lnTo>
                        <a:pt x="18628" y="8872"/>
                      </a:lnTo>
                      <a:lnTo>
                        <a:pt x="18628" y="8878"/>
                      </a:lnTo>
                      <a:lnTo>
                        <a:pt x="18628" y="8885"/>
                      </a:lnTo>
                      <a:lnTo>
                        <a:pt x="18629" y="8892"/>
                      </a:lnTo>
                      <a:lnTo>
                        <a:pt x="18630" y="8898"/>
                      </a:lnTo>
                      <a:lnTo>
                        <a:pt x="18630" y="8900"/>
                      </a:lnTo>
                      <a:lnTo>
                        <a:pt x="18628" y="8907"/>
                      </a:lnTo>
                      <a:lnTo>
                        <a:pt x="18628" y="8922"/>
                      </a:lnTo>
                      <a:lnTo>
                        <a:pt x="18629" y="8932"/>
                      </a:lnTo>
                      <a:lnTo>
                        <a:pt x="18636" y="8940"/>
                      </a:lnTo>
                      <a:lnTo>
                        <a:pt x="18648" y="8947"/>
                      </a:lnTo>
                      <a:lnTo>
                        <a:pt x="18663" y="8953"/>
                      </a:lnTo>
                      <a:lnTo>
                        <a:pt x="18680" y="8956"/>
                      </a:lnTo>
                      <a:lnTo>
                        <a:pt x="18680" y="8983"/>
                      </a:lnTo>
                      <a:lnTo>
                        <a:pt x="18668" y="8985"/>
                      </a:lnTo>
                      <a:lnTo>
                        <a:pt x="18651" y="8992"/>
                      </a:lnTo>
                      <a:lnTo>
                        <a:pt x="18638" y="9000"/>
                      </a:lnTo>
                      <a:lnTo>
                        <a:pt x="18629" y="9009"/>
                      </a:lnTo>
                      <a:lnTo>
                        <a:pt x="18625" y="9019"/>
                      </a:lnTo>
                      <a:lnTo>
                        <a:pt x="18625" y="9071"/>
                      </a:lnTo>
                      <a:lnTo>
                        <a:pt x="18627" y="9080"/>
                      </a:lnTo>
                      <a:lnTo>
                        <a:pt x="18634" y="9088"/>
                      </a:lnTo>
                      <a:lnTo>
                        <a:pt x="18640" y="9092"/>
                      </a:lnTo>
                      <a:lnTo>
                        <a:pt x="18640" y="9238"/>
                      </a:lnTo>
                      <a:lnTo>
                        <a:pt x="18614" y="9243"/>
                      </a:lnTo>
                      <a:lnTo>
                        <a:pt x="18588" y="9252"/>
                      </a:lnTo>
                      <a:lnTo>
                        <a:pt x="18588" y="9245"/>
                      </a:lnTo>
                      <a:lnTo>
                        <a:pt x="18587" y="9239"/>
                      </a:lnTo>
                      <a:lnTo>
                        <a:pt x="18585" y="9234"/>
                      </a:lnTo>
                      <a:lnTo>
                        <a:pt x="18583" y="9230"/>
                      </a:lnTo>
                      <a:lnTo>
                        <a:pt x="18580" y="9225"/>
                      </a:lnTo>
                      <a:lnTo>
                        <a:pt x="18578" y="9223"/>
                      </a:lnTo>
                      <a:lnTo>
                        <a:pt x="18575" y="9223"/>
                      </a:lnTo>
                      <a:lnTo>
                        <a:pt x="18573" y="9224"/>
                      </a:lnTo>
                      <a:lnTo>
                        <a:pt x="18570" y="9227"/>
                      </a:lnTo>
                      <a:lnTo>
                        <a:pt x="18568" y="9232"/>
                      </a:lnTo>
                      <a:lnTo>
                        <a:pt x="18567" y="9237"/>
                      </a:lnTo>
                      <a:lnTo>
                        <a:pt x="18566" y="9244"/>
                      </a:lnTo>
                      <a:lnTo>
                        <a:pt x="18565" y="9250"/>
                      </a:lnTo>
                      <a:lnTo>
                        <a:pt x="18566" y="9258"/>
                      </a:lnTo>
                      <a:lnTo>
                        <a:pt x="18566" y="9261"/>
                      </a:lnTo>
                      <a:lnTo>
                        <a:pt x="18539" y="9276"/>
                      </a:lnTo>
                      <a:lnTo>
                        <a:pt x="18517" y="9297"/>
                      </a:lnTo>
                      <a:lnTo>
                        <a:pt x="18509" y="9320"/>
                      </a:lnTo>
                      <a:lnTo>
                        <a:pt x="18509" y="9378"/>
                      </a:lnTo>
                      <a:lnTo>
                        <a:pt x="18486" y="9401"/>
                      </a:lnTo>
                      <a:lnTo>
                        <a:pt x="18477" y="9426"/>
                      </a:lnTo>
                      <a:lnTo>
                        <a:pt x="18483" y="9451"/>
                      </a:lnTo>
                      <a:lnTo>
                        <a:pt x="18490" y="9458"/>
                      </a:lnTo>
                      <a:lnTo>
                        <a:pt x="18490" y="9477"/>
                      </a:lnTo>
                      <a:lnTo>
                        <a:pt x="18482" y="9485"/>
                      </a:lnTo>
                      <a:lnTo>
                        <a:pt x="18472" y="9510"/>
                      </a:lnTo>
                      <a:lnTo>
                        <a:pt x="18472" y="9603"/>
                      </a:lnTo>
                      <a:lnTo>
                        <a:pt x="18474" y="9609"/>
                      </a:lnTo>
                      <a:lnTo>
                        <a:pt x="18477" y="9620"/>
                      </a:lnTo>
                      <a:lnTo>
                        <a:pt x="18479" y="9626"/>
                      </a:lnTo>
                      <a:lnTo>
                        <a:pt x="18479" y="9627"/>
                      </a:lnTo>
                      <a:lnTo>
                        <a:pt x="18492" y="9673"/>
                      </a:lnTo>
                      <a:lnTo>
                        <a:pt x="18492" y="9762"/>
                      </a:lnTo>
                      <a:lnTo>
                        <a:pt x="18493" y="9767"/>
                      </a:lnTo>
                      <a:lnTo>
                        <a:pt x="18507" y="9832"/>
                      </a:lnTo>
                      <a:lnTo>
                        <a:pt x="18507" y="9918"/>
                      </a:lnTo>
                      <a:lnTo>
                        <a:pt x="18508" y="9922"/>
                      </a:lnTo>
                      <a:lnTo>
                        <a:pt x="18522" y="9981"/>
                      </a:lnTo>
                      <a:lnTo>
                        <a:pt x="18522" y="10051"/>
                      </a:lnTo>
                      <a:lnTo>
                        <a:pt x="18523" y="10055"/>
                      </a:lnTo>
                      <a:lnTo>
                        <a:pt x="18536" y="10107"/>
                      </a:lnTo>
                      <a:lnTo>
                        <a:pt x="18536" y="10176"/>
                      </a:lnTo>
                      <a:lnTo>
                        <a:pt x="18536" y="10190"/>
                      </a:lnTo>
                      <a:lnTo>
                        <a:pt x="18540" y="10205"/>
                      </a:lnTo>
                      <a:lnTo>
                        <a:pt x="18555" y="10220"/>
                      </a:lnTo>
                      <a:lnTo>
                        <a:pt x="18570" y="10237"/>
                      </a:lnTo>
                      <a:lnTo>
                        <a:pt x="18582" y="10254"/>
                      </a:lnTo>
                      <a:lnTo>
                        <a:pt x="18593" y="10285"/>
                      </a:lnTo>
                      <a:lnTo>
                        <a:pt x="18601" y="10318"/>
                      </a:lnTo>
                      <a:lnTo>
                        <a:pt x="18614" y="10364"/>
                      </a:lnTo>
                      <a:lnTo>
                        <a:pt x="18619" y="10403"/>
                      </a:lnTo>
                      <a:lnTo>
                        <a:pt x="18622" y="10438"/>
                      </a:lnTo>
                      <a:lnTo>
                        <a:pt x="18626" y="10487"/>
                      </a:lnTo>
                      <a:lnTo>
                        <a:pt x="18628" y="10493"/>
                      </a:lnTo>
                      <a:lnTo>
                        <a:pt x="18634" y="10498"/>
                      </a:lnTo>
                      <a:lnTo>
                        <a:pt x="18634" y="10505"/>
                      </a:lnTo>
                      <a:lnTo>
                        <a:pt x="18603" y="16449"/>
                      </a:lnTo>
                      <a:lnTo>
                        <a:pt x="18339" y="16362"/>
                      </a:lnTo>
                      <a:lnTo>
                        <a:pt x="18334" y="12821"/>
                      </a:lnTo>
                      <a:lnTo>
                        <a:pt x="18298" y="12571"/>
                      </a:lnTo>
                      <a:lnTo>
                        <a:pt x="18013" y="12431"/>
                      </a:lnTo>
                      <a:lnTo>
                        <a:pt x="17495" y="12483"/>
                      </a:lnTo>
                      <a:lnTo>
                        <a:pt x="17274" y="12694"/>
                      </a:lnTo>
                      <a:lnTo>
                        <a:pt x="17250" y="17995"/>
                      </a:lnTo>
                      <a:lnTo>
                        <a:pt x="17009" y="17994"/>
                      </a:lnTo>
                      <a:lnTo>
                        <a:pt x="17113" y="17522"/>
                      </a:lnTo>
                      <a:lnTo>
                        <a:pt x="17115" y="13072"/>
                      </a:lnTo>
                      <a:lnTo>
                        <a:pt x="17045" y="12758"/>
                      </a:lnTo>
                      <a:lnTo>
                        <a:pt x="17045" y="12233"/>
                      </a:lnTo>
                      <a:lnTo>
                        <a:pt x="17115" y="11889"/>
                      </a:lnTo>
                      <a:lnTo>
                        <a:pt x="16673" y="11760"/>
                      </a:lnTo>
                      <a:lnTo>
                        <a:pt x="16645" y="11667"/>
                      </a:lnTo>
                      <a:lnTo>
                        <a:pt x="16427" y="11603"/>
                      </a:lnTo>
                      <a:lnTo>
                        <a:pt x="16398" y="11626"/>
                      </a:lnTo>
                      <a:lnTo>
                        <a:pt x="16398" y="11662"/>
                      </a:lnTo>
                      <a:lnTo>
                        <a:pt x="16369" y="11653"/>
                      </a:lnTo>
                      <a:lnTo>
                        <a:pt x="16263" y="11740"/>
                      </a:lnTo>
                      <a:lnTo>
                        <a:pt x="16208" y="11784"/>
                      </a:lnTo>
                      <a:lnTo>
                        <a:pt x="16208" y="11921"/>
                      </a:lnTo>
                      <a:lnTo>
                        <a:pt x="16186" y="11939"/>
                      </a:lnTo>
                      <a:lnTo>
                        <a:pt x="16187" y="14030"/>
                      </a:lnTo>
                      <a:lnTo>
                        <a:pt x="16117" y="14030"/>
                      </a:lnTo>
                      <a:lnTo>
                        <a:pt x="16115" y="11946"/>
                      </a:lnTo>
                      <a:lnTo>
                        <a:pt x="16085" y="11506"/>
                      </a:lnTo>
                      <a:lnTo>
                        <a:pt x="16048" y="11501"/>
                      </a:lnTo>
                      <a:lnTo>
                        <a:pt x="16048" y="11488"/>
                      </a:lnTo>
                      <a:lnTo>
                        <a:pt x="16080" y="11390"/>
                      </a:lnTo>
                      <a:lnTo>
                        <a:pt x="16114" y="10754"/>
                      </a:lnTo>
                      <a:lnTo>
                        <a:pt x="15532" y="10668"/>
                      </a:lnTo>
                      <a:lnTo>
                        <a:pt x="15463" y="11084"/>
                      </a:lnTo>
                      <a:lnTo>
                        <a:pt x="15464" y="11577"/>
                      </a:lnTo>
                      <a:lnTo>
                        <a:pt x="15487" y="11580"/>
                      </a:lnTo>
                      <a:lnTo>
                        <a:pt x="15464" y="11701"/>
                      </a:lnTo>
                      <a:lnTo>
                        <a:pt x="15470" y="16611"/>
                      </a:lnTo>
                      <a:lnTo>
                        <a:pt x="15432" y="16608"/>
                      </a:lnTo>
                      <a:lnTo>
                        <a:pt x="15408" y="16613"/>
                      </a:lnTo>
                      <a:lnTo>
                        <a:pt x="15379" y="16611"/>
                      </a:lnTo>
                      <a:lnTo>
                        <a:pt x="15332" y="16621"/>
                      </a:lnTo>
                      <a:lnTo>
                        <a:pt x="15327" y="12900"/>
                      </a:lnTo>
                      <a:lnTo>
                        <a:pt x="15317" y="12887"/>
                      </a:lnTo>
                      <a:lnTo>
                        <a:pt x="15317" y="12771"/>
                      </a:lnTo>
                      <a:lnTo>
                        <a:pt x="15326" y="12771"/>
                      </a:lnTo>
                      <a:lnTo>
                        <a:pt x="15326" y="12256"/>
                      </a:lnTo>
                      <a:lnTo>
                        <a:pt x="15316" y="12240"/>
                      </a:lnTo>
                      <a:lnTo>
                        <a:pt x="15316" y="12154"/>
                      </a:lnTo>
                      <a:lnTo>
                        <a:pt x="15265" y="12060"/>
                      </a:lnTo>
                      <a:lnTo>
                        <a:pt x="15253" y="12060"/>
                      </a:lnTo>
                      <a:lnTo>
                        <a:pt x="15253" y="11982"/>
                      </a:lnTo>
                      <a:lnTo>
                        <a:pt x="15225" y="11930"/>
                      </a:lnTo>
                      <a:lnTo>
                        <a:pt x="15171" y="11830"/>
                      </a:lnTo>
                      <a:lnTo>
                        <a:pt x="15158" y="11830"/>
                      </a:lnTo>
                      <a:lnTo>
                        <a:pt x="15158" y="11799"/>
                      </a:lnTo>
                      <a:lnTo>
                        <a:pt x="15143" y="11771"/>
                      </a:lnTo>
                      <a:lnTo>
                        <a:pt x="14883" y="11776"/>
                      </a:lnTo>
                      <a:lnTo>
                        <a:pt x="14858" y="11927"/>
                      </a:lnTo>
                      <a:lnTo>
                        <a:pt x="14523" y="11932"/>
                      </a:lnTo>
                      <a:lnTo>
                        <a:pt x="14598" y="12583"/>
                      </a:lnTo>
                      <a:lnTo>
                        <a:pt x="14602" y="12587"/>
                      </a:lnTo>
                      <a:lnTo>
                        <a:pt x="14602" y="12710"/>
                      </a:lnTo>
                      <a:lnTo>
                        <a:pt x="14589" y="12710"/>
                      </a:lnTo>
                      <a:lnTo>
                        <a:pt x="14526" y="13209"/>
                      </a:lnTo>
                      <a:lnTo>
                        <a:pt x="14533" y="16644"/>
                      </a:lnTo>
                      <a:lnTo>
                        <a:pt x="14243" y="16624"/>
                      </a:lnTo>
                      <a:lnTo>
                        <a:pt x="14243" y="16582"/>
                      </a:lnTo>
                      <a:lnTo>
                        <a:pt x="14241" y="16268"/>
                      </a:lnTo>
                      <a:lnTo>
                        <a:pt x="14231" y="16267"/>
                      </a:lnTo>
                      <a:lnTo>
                        <a:pt x="14226" y="16175"/>
                      </a:lnTo>
                      <a:lnTo>
                        <a:pt x="14216" y="16174"/>
                      </a:lnTo>
                      <a:lnTo>
                        <a:pt x="14215" y="16167"/>
                      </a:lnTo>
                      <a:lnTo>
                        <a:pt x="14122" y="16157"/>
                      </a:lnTo>
                      <a:lnTo>
                        <a:pt x="14027" y="16148"/>
                      </a:lnTo>
                      <a:lnTo>
                        <a:pt x="14012" y="16154"/>
                      </a:lnTo>
                      <a:lnTo>
                        <a:pt x="13987" y="16151"/>
                      </a:lnTo>
                      <a:lnTo>
                        <a:pt x="13941" y="16171"/>
                      </a:lnTo>
                      <a:lnTo>
                        <a:pt x="13935" y="16174"/>
                      </a:lnTo>
                      <a:lnTo>
                        <a:pt x="13891" y="16192"/>
                      </a:lnTo>
                      <a:lnTo>
                        <a:pt x="13886" y="16292"/>
                      </a:lnTo>
                      <a:lnTo>
                        <a:pt x="13878" y="16295"/>
                      </a:lnTo>
                      <a:lnTo>
                        <a:pt x="13879" y="16597"/>
                      </a:lnTo>
                      <a:lnTo>
                        <a:pt x="13879" y="16601"/>
                      </a:lnTo>
                      <a:lnTo>
                        <a:pt x="13823" y="16597"/>
                      </a:lnTo>
                      <a:lnTo>
                        <a:pt x="13640" y="16586"/>
                      </a:lnTo>
                      <a:lnTo>
                        <a:pt x="13571" y="16582"/>
                      </a:lnTo>
                      <a:lnTo>
                        <a:pt x="13593" y="12714"/>
                      </a:lnTo>
                      <a:lnTo>
                        <a:pt x="13381" y="12714"/>
                      </a:lnTo>
                      <a:lnTo>
                        <a:pt x="13355" y="12714"/>
                      </a:lnTo>
                      <a:lnTo>
                        <a:pt x="13357" y="12056"/>
                      </a:lnTo>
                      <a:lnTo>
                        <a:pt x="13104" y="12058"/>
                      </a:lnTo>
                      <a:lnTo>
                        <a:pt x="13104" y="12714"/>
                      </a:lnTo>
                      <a:lnTo>
                        <a:pt x="12951" y="12714"/>
                      </a:lnTo>
                      <a:lnTo>
                        <a:pt x="12955" y="16565"/>
                      </a:lnTo>
                      <a:lnTo>
                        <a:pt x="12808" y="16566"/>
                      </a:lnTo>
                      <a:lnTo>
                        <a:pt x="12670" y="16568"/>
                      </a:lnTo>
                      <a:lnTo>
                        <a:pt x="12700" y="16364"/>
                      </a:lnTo>
                      <a:lnTo>
                        <a:pt x="12744" y="16019"/>
                      </a:lnTo>
                      <a:lnTo>
                        <a:pt x="12781" y="15667"/>
                      </a:lnTo>
                      <a:lnTo>
                        <a:pt x="12810" y="15310"/>
                      </a:lnTo>
                      <a:lnTo>
                        <a:pt x="12832" y="14946"/>
                      </a:lnTo>
                      <a:lnTo>
                        <a:pt x="12846" y="14580"/>
                      </a:lnTo>
                      <a:lnTo>
                        <a:pt x="12853" y="14211"/>
                      </a:lnTo>
                      <a:lnTo>
                        <a:pt x="12851" y="13841"/>
                      </a:lnTo>
                      <a:lnTo>
                        <a:pt x="12843" y="13472"/>
                      </a:lnTo>
                      <a:lnTo>
                        <a:pt x="12826" y="13103"/>
                      </a:lnTo>
                      <a:lnTo>
                        <a:pt x="12802" y="12737"/>
                      </a:lnTo>
                      <a:lnTo>
                        <a:pt x="12770" y="12375"/>
                      </a:lnTo>
                      <a:lnTo>
                        <a:pt x="12770" y="12317"/>
                      </a:lnTo>
                      <a:lnTo>
                        <a:pt x="12760" y="12291"/>
                      </a:lnTo>
                      <a:lnTo>
                        <a:pt x="12732" y="12266"/>
                      </a:lnTo>
                      <a:lnTo>
                        <a:pt x="12705" y="12252"/>
                      </a:lnTo>
                      <a:lnTo>
                        <a:pt x="12704" y="11573"/>
                      </a:lnTo>
                      <a:lnTo>
                        <a:pt x="12692" y="11553"/>
                      </a:lnTo>
                      <a:lnTo>
                        <a:pt x="12682" y="11552"/>
                      </a:lnTo>
                      <a:lnTo>
                        <a:pt x="12681" y="10550"/>
                      </a:lnTo>
                      <a:lnTo>
                        <a:pt x="12663" y="10542"/>
                      </a:lnTo>
                      <a:lnTo>
                        <a:pt x="12645" y="10548"/>
                      </a:lnTo>
                      <a:lnTo>
                        <a:pt x="12645" y="10561"/>
                      </a:lnTo>
                      <a:lnTo>
                        <a:pt x="12646" y="11550"/>
                      </a:lnTo>
                      <a:lnTo>
                        <a:pt x="12624" y="11562"/>
                      </a:lnTo>
                      <a:lnTo>
                        <a:pt x="12624" y="12226"/>
                      </a:lnTo>
                      <a:lnTo>
                        <a:pt x="12569" y="12216"/>
                      </a:lnTo>
                      <a:lnTo>
                        <a:pt x="12501" y="12211"/>
                      </a:lnTo>
                      <a:lnTo>
                        <a:pt x="12467" y="12213"/>
                      </a:lnTo>
                      <a:lnTo>
                        <a:pt x="12465" y="11474"/>
                      </a:lnTo>
                      <a:lnTo>
                        <a:pt x="12439" y="11464"/>
                      </a:lnTo>
                      <a:lnTo>
                        <a:pt x="12436" y="10118"/>
                      </a:lnTo>
                      <a:lnTo>
                        <a:pt x="12415" y="10108"/>
                      </a:lnTo>
                      <a:lnTo>
                        <a:pt x="12394" y="10115"/>
                      </a:lnTo>
                      <a:lnTo>
                        <a:pt x="12393" y="10131"/>
                      </a:lnTo>
                      <a:lnTo>
                        <a:pt x="12396" y="11461"/>
                      </a:lnTo>
                      <a:lnTo>
                        <a:pt x="12370" y="11466"/>
                      </a:lnTo>
                      <a:lnTo>
                        <a:pt x="12367" y="11493"/>
                      </a:lnTo>
                      <a:lnTo>
                        <a:pt x="12369" y="12226"/>
                      </a:lnTo>
                      <a:lnTo>
                        <a:pt x="12321" y="12241"/>
                      </a:lnTo>
                      <a:lnTo>
                        <a:pt x="12284" y="12261"/>
                      </a:lnTo>
                      <a:lnTo>
                        <a:pt x="12264" y="12286"/>
                      </a:lnTo>
                      <a:lnTo>
                        <a:pt x="12261" y="12312"/>
                      </a:lnTo>
                      <a:lnTo>
                        <a:pt x="12261" y="12370"/>
                      </a:lnTo>
                      <a:lnTo>
                        <a:pt x="12231" y="12732"/>
                      </a:lnTo>
                      <a:lnTo>
                        <a:pt x="12207" y="13099"/>
                      </a:lnTo>
                      <a:lnTo>
                        <a:pt x="12192" y="13468"/>
                      </a:lnTo>
                      <a:lnTo>
                        <a:pt x="12184" y="13838"/>
                      </a:lnTo>
                      <a:lnTo>
                        <a:pt x="12184" y="14209"/>
                      </a:lnTo>
                      <a:lnTo>
                        <a:pt x="12192" y="14579"/>
                      </a:lnTo>
                      <a:lnTo>
                        <a:pt x="12207" y="14946"/>
                      </a:lnTo>
                      <a:lnTo>
                        <a:pt x="12230" y="15310"/>
                      </a:lnTo>
                      <a:lnTo>
                        <a:pt x="12261" y="15668"/>
                      </a:lnTo>
                      <a:lnTo>
                        <a:pt x="12298" y="16020"/>
                      </a:lnTo>
                      <a:lnTo>
                        <a:pt x="12344" y="16366"/>
                      </a:lnTo>
                      <a:lnTo>
                        <a:pt x="12360" y="16474"/>
                      </a:lnTo>
                      <a:lnTo>
                        <a:pt x="12349" y="16474"/>
                      </a:lnTo>
                      <a:lnTo>
                        <a:pt x="12349" y="16520"/>
                      </a:lnTo>
                      <a:lnTo>
                        <a:pt x="12336" y="16520"/>
                      </a:lnTo>
                      <a:lnTo>
                        <a:pt x="12334" y="16799"/>
                      </a:lnTo>
                      <a:lnTo>
                        <a:pt x="12332" y="17130"/>
                      </a:lnTo>
                      <a:lnTo>
                        <a:pt x="12321" y="17219"/>
                      </a:lnTo>
                      <a:lnTo>
                        <a:pt x="12300" y="17395"/>
                      </a:lnTo>
                      <a:lnTo>
                        <a:pt x="12295" y="17443"/>
                      </a:lnTo>
                      <a:lnTo>
                        <a:pt x="12295" y="17318"/>
                      </a:lnTo>
                      <a:lnTo>
                        <a:pt x="11860" y="17231"/>
                      </a:lnTo>
                      <a:lnTo>
                        <a:pt x="11849" y="8856"/>
                      </a:lnTo>
                      <a:lnTo>
                        <a:pt x="11872" y="8848"/>
                      </a:lnTo>
                      <a:lnTo>
                        <a:pt x="11871" y="8604"/>
                      </a:lnTo>
                      <a:lnTo>
                        <a:pt x="11825" y="8590"/>
                      </a:lnTo>
                      <a:lnTo>
                        <a:pt x="11823" y="6665"/>
                      </a:lnTo>
                      <a:lnTo>
                        <a:pt x="11846" y="6653"/>
                      </a:lnTo>
                      <a:lnTo>
                        <a:pt x="11845" y="6411"/>
                      </a:lnTo>
                      <a:lnTo>
                        <a:pt x="11788" y="6386"/>
                      </a:lnTo>
                      <a:lnTo>
                        <a:pt x="11787" y="6352"/>
                      </a:lnTo>
                      <a:lnTo>
                        <a:pt x="11785" y="6343"/>
                      </a:lnTo>
                      <a:lnTo>
                        <a:pt x="11777" y="6335"/>
                      </a:lnTo>
                      <a:lnTo>
                        <a:pt x="11758" y="5157"/>
                      </a:lnTo>
                      <a:lnTo>
                        <a:pt x="11770" y="5150"/>
                      </a:lnTo>
                      <a:lnTo>
                        <a:pt x="11769" y="4909"/>
                      </a:lnTo>
                      <a:lnTo>
                        <a:pt x="11721" y="4884"/>
                      </a:lnTo>
                      <a:lnTo>
                        <a:pt x="11721" y="4850"/>
                      </a:lnTo>
                      <a:lnTo>
                        <a:pt x="11719" y="4841"/>
                      </a:lnTo>
                      <a:lnTo>
                        <a:pt x="11712" y="4833"/>
                      </a:lnTo>
                      <a:lnTo>
                        <a:pt x="11706" y="4829"/>
                      </a:lnTo>
                      <a:lnTo>
                        <a:pt x="11687" y="4168"/>
                      </a:lnTo>
                      <a:lnTo>
                        <a:pt x="11695" y="4163"/>
                      </a:lnTo>
                      <a:lnTo>
                        <a:pt x="11695" y="3922"/>
                      </a:lnTo>
                      <a:lnTo>
                        <a:pt x="11656" y="3900"/>
                      </a:lnTo>
                      <a:lnTo>
                        <a:pt x="11656" y="3870"/>
                      </a:lnTo>
                      <a:lnTo>
                        <a:pt x="11654" y="3863"/>
                      </a:lnTo>
                      <a:lnTo>
                        <a:pt x="11649" y="3855"/>
                      </a:lnTo>
                      <a:lnTo>
                        <a:pt x="11641" y="3849"/>
                      </a:lnTo>
                      <a:lnTo>
                        <a:pt x="11635" y="3846"/>
                      </a:lnTo>
                      <a:lnTo>
                        <a:pt x="11634" y="3846"/>
                      </a:lnTo>
                      <a:lnTo>
                        <a:pt x="11614" y="3330"/>
                      </a:lnTo>
                      <a:lnTo>
                        <a:pt x="11586" y="3314"/>
                      </a:lnTo>
                      <a:lnTo>
                        <a:pt x="11586" y="3307"/>
                      </a:lnTo>
                      <a:lnTo>
                        <a:pt x="11625" y="3330"/>
                      </a:lnTo>
                      <a:lnTo>
                        <a:pt x="11624" y="3090"/>
                      </a:lnTo>
                      <a:lnTo>
                        <a:pt x="11595" y="3072"/>
                      </a:lnTo>
                      <a:lnTo>
                        <a:pt x="11595" y="3048"/>
                      </a:lnTo>
                      <a:lnTo>
                        <a:pt x="11593" y="3041"/>
                      </a:lnTo>
                      <a:lnTo>
                        <a:pt x="11589" y="3036"/>
                      </a:lnTo>
                      <a:lnTo>
                        <a:pt x="11583" y="3031"/>
                      </a:lnTo>
                      <a:lnTo>
                        <a:pt x="11576" y="3027"/>
                      </a:lnTo>
                      <a:lnTo>
                        <a:pt x="11567" y="3025"/>
                      </a:lnTo>
                      <a:lnTo>
                        <a:pt x="11562" y="3025"/>
                      </a:lnTo>
                      <a:lnTo>
                        <a:pt x="11550" y="2690"/>
                      </a:lnTo>
                      <a:lnTo>
                        <a:pt x="11521" y="2591"/>
                      </a:lnTo>
                      <a:lnTo>
                        <a:pt x="11517" y="2402"/>
                      </a:lnTo>
                      <a:lnTo>
                        <a:pt x="11483" y="2328"/>
                      </a:lnTo>
                      <a:lnTo>
                        <a:pt x="11479" y="2165"/>
                      </a:lnTo>
                      <a:lnTo>
                        <a:pt x="11469" y="2150"/>
                      </a:lnTo>
                      <a:lnTo>
                        <a:pt x="11469" y="2149"/>
                      </a:lnTo>
                      <a:lnTo>
                        <a:pt x="11469" y="2147"/>
                      </a:lnTo>
                      <a:lnTo>
                        <a:pt x="11467" y="2145"/>
                      </a:lnTo>
                      <a:lnTo>
                        <a:pt x="11456" y="2129"/>
                      </a:lnTo>
                      <a:lnTo>
                        <a:pt x="11456" y="2127"/>
                      </a:lnTo>
                      <a:lnTo>
                        <a:pt x="11454" y="2124"/>
                      </a:lnTo>
                      <a:lnTo>
                        <a:pt x="11454" y="1990"/>
                      </a:lnTo>
                      <a:lnTo>
                        <a:pt x="11448" y="1985"/>
                      </a:lnTo>
                      <a:lnTo>
                        <a:pt x="11448" y="1979"/>
                      </a:lnTo>
                      <a:lnTo>
                        <a:pt x="11447" y="1978"/>
                      </a:lnTo>
                      <a:lnTo>
                        <a:pt x="11446" y="1977"/>
                      </a:lnTo>
                      <a:lnTo>
                        <a:pt x="11446" y="1974"/>
                      </a:lnTo>
                      <a:lnTo>
                        <a:pt x="11446" y="1972"/>
                      </a:lnTo>
                      <a:lnTo>
                        <a:pt x="11441" y="1972"/>
                      </a:lnTo>
                      <a:lnTo>
                        <a:pt x="11441" y="1962"/>
                      </a:lnTo>
                      <a:lnTo>
                        <a:pt x="11441" y="1960"/>
                      </a:lnTo>
                      <a:lnTo>
                        <a:pt x="11435" y="1960"/>
                      </a:lnTo>
                      <a:lnTo>
                        <a:pt x="11435" y="1841"/>
                      </a:lnTo>
                      <a:lnTo>
                        <a:pt x="11435" y="1839"/>
                      </a:lnTo>
                      <a:lnTo>
                        <a:pt x="11429" y="1839"/>
                      </a:lnTo>
                      <a:lnTo>
                        <a:pt x="11429" y="1811"/>
                      </a:lnTo>
                      <a:lnTo>
                        <a:pt x="11434" y="1807"/>
                      </a:lnTo>
                      <a:lnTo>
                        <a:pt x="11439" y="1801"/>
                      </a:lnTo>
                      <a:lnTo>
                        <a:pt x="11441" y="1794"/>
                      </a:lnTo>
                      <a:lnTo>
                        <a:pt x="11443" y="1788"/>
                      </a:lnTo>
                      <a:lnTo>
                        <a:pt x="11443" y="1786"/>
                      </a:lnTo>
                      <a:lnTo>
                        <a:pt x="11445" y="1781"/>
                      </a:lnTo>
                      <a:lnTo>
                        <a:pt x="11447" y="1774"/>
                      </a:lnTo>
                      <a:lnTo>
                        <a:pt x="11447" y="1771"/>
                      </a:lnTo>
                      <a:lnTo>
                        <a:pt x="11449" y="1768"/>
                      </a:lnTo>
                      <a:lnTo>
                        <a:pt x="11450" y="1761"/>
                      </a:lnTo>
                      <a:lnTo>
                        <a:pt x="11450" y="1757"/>
                      </a:lnTo>
                      <a:lnTo>
                        <a:pt x="11451" y="1754"/>
                      </a:lnTo>
                      <a:lnTo>
                        <a:pt x="11452" y="1748"/>
                      </a:lnTo>
                      <a:lnTo>
                        <a:pt x="11452" y="1743"/>
                      </a:lnTo>
                      <a:lnTo>
                        <a:pt x="11453" y="1741"/>
                      </a:lnTo>
                      <a:lnTo>
                        <a:pt x="11453" y="1734"/>
                      </a:lnTo>
                      <a:lnTo>
                        <a:pt x="11453" y="1728"/>
                      </a:lnTo>
                      <a:lnTo>
                        <a:pt x="11453" y="1727"/>
                      </a:lnTo>
                      <a:lnTo>
                        <a:pt x="11453" y="1721"/>
                      </a:lnTo>
                      <a:lnTo>
                        <a:pt x="11454" y="1714"/>
                      </a:lnTo>
                      <a:lnTo>
                        <a:pt x="11454" y="1711"/>
                      </a:lnTo>
                      <a:lnTo>
                        <a:pt x="11454" y="1701"/>
                      </a:lnTo>
                      <a:lnTo>
                        <a:pt x="11454" y="1697"/>
                      </a:lnTo>
                      <a:lnTo>
                        <a:pt x="11453" y="1696"/>
                      </a:lnTo>
                      <a:lnTo>
                        <a:pt x="11454" y="1691"/>
                      </a:lnTo>
                      <a:lnTo>
                        <a:pt x="11453" y="1684"/>
                      </a:lnTo>
                      <a:lnTo>
                        <a:pt x="11453" y="1683"/>
                      </a:lnTo>
                      <a:lnTo>
                        <a:pt x="11453" y="1677"/>
                      </a:lnTo>
                      <a:lnTo>
                        <a:pt x="11453" y="1670"/>
                      </a:lnTo>
                      <a:lnTo>
                        <a:pt x="11452" y="1667"/>
                      </a:lnTo>
                      <a:lnTo>
                        <a:pt x="11452" y="1664"/>
                      </a:lnTo>
                      <a:lnTo>
                        <a:pt x="11451" y="1657"/>
                      </a:lnTo>
                      <a:lnTo>
                        <a:pt x="11450" y="1653"/>
                      </a:lnTo>
                      <a:lnTo>
                        <a:pt x="11450" y="1650"/>
                      </a:lnTo>
                      <a:lnTo>
                        <a:pt x="11449" y="1644"/>
                      </a:lnTo>
                      <a:lnTo>
                        <a:pt x="11447" y="1639"/>
                      </a:lnTo>
                      <a:lnTo>
                        <a:pt x="11447" y="1637"/>
                      </a:lnTo>
                      <a:lnTo>
                        <a:pt x="11445" y="1630"/>
                      </a:lnTo>
                      <a:lnTo>
                        <a:pt x="11443" y="1624"/>
                      </a:lnTo>
                      <a:lnTo>
                        <a:pt x="11441" y="1617"/>
                      </a:lnTo>
                      <a:lnTo>
                        <a:pt x="11439" y="1610"/>
                      </a:lnTo>
                      <a:lnTo>
                        <a:pt x="11438" y="1609"/>
                      </a:lnTo>
                      <a:lnTo>
                        <a:pt x="11437" y="1604"/>
                      </a:lnTo>
                      <a:lnTo>
                        <a:pt x="11434" y="1599"/>
                      </a:lnTo>
                      <a:lnTo>
                        <a:pt x="11430" y="1594"/>
                      </a:lnTo>
                      <a:lnTo>
                        <a:pt x="11426" y="1590"/>
                      </a:lnTo>
                      <a:lnTo>
                        <a:pt x="11409" y="148"/>
                      </a:lnTo>
                      <a:lnTo>
                        <a:pt x="11411" y="147"/>
                      </a:lnTo>
                      <a:lnTo>
                        <a:pt x="11412" y="146"/>
                      </a:lnTo>
                      <a:lnTo>
                        <a:pt x="11413" y="144"/>
                      </a:lnTo>
                      <a:lnTo>
                        <a:pt x="11416" y="139"/>
                      </a:lnTo>
                      <a:lnTo>
                        <a:pt x="11416" y="137"/>
                      </a:lnTo>
                      <a:lnTo>
                        <a:pt x="11419" y="130"/>
                      </a:lnTo>
                      <a:lnTo>
                        <a:pt x="11420" y="121"/>
                      </a:lnTo>
                      <a:lnTo>
                        <a:pt x="11420" y="112"/>
                      </a:lnTo>
                      <a:lnTo>
                        <a:pt x="11420" y="109"/>
                      </a:lnTo>
                      <a:lnTo>
                        <a:pt x="11420" y="99"/>
                      </a:lnTo>
                      <a:lnTo>
                        <a:pt x="11418" y="90"/>
                      </a:lnTo>
                      <a:lnTo>
                        <a:pt x="11417" y="88"/>
                      </a:lnTo>
                      <a:lnTo>
                        <a:pt x="11415" y="81"/>
                      </a:lnTo>
                      <a:lnTo>
                        <a:pt x="11412" y="77"/>
                      </a:lnTo>
                      <a:lnTo>
                        <a:pt x="11412" y="75"/>
                      </a:lnTo>
                      <a:lnTo>
                        <a:pt x="11410" y="74"/>
                      </a:lnTo>
                      <a:lnTo>
                        <a:pt x="11408" y="73"/>
                      </a:lnTo>
                      <a:lnTo>
                        <a:pt x="11407" y="73"/>
                      </a:lnTo>
                      <a:lnTo>
                        <a:pt x="11406" y="73"/>
                      </a:lnTo>
                      <a:lnTo>
                        <a:pt x="11405" y="73"/>
                      </a:lnTo>
                      <a:lnTo>
                        <a:pt x="11404" y="73"/>
                      </a:lnTo>
                      <a:lnTo>
                        <a:pt x="11402" y="74"/>
                      </a:lnTo>
                      <a:lnTo>
                        <a:pt x="11401" y="76"/>
                      </a:lnTo>
                      <a:lnTo>
                        <a:pt x="11400" y="77"/>
                      </a:lnTo>
                      <a:lnTo>
                        <a:pt x="11397" y="81"/>
                      </a:lnTo>
                      <a:lnTo>
                        <a:pt x="11395" y="88"/>
                      </a:lnTo>
                      <a:lnTo>
                        <a:pt x="11394" y="91"/>
                      </a:lnTo>
                      <a:lnTo>
                        <a:pt x="11393" y="100"/>
                      </a:lnTo>
                      <a:lnTo>
                        <a:pt x="11392" y="109"/>
                      </a:lnTo>
                      <a:lnTo>
                        <a:pt x="11392" y="112"/>
                      </a:lnTo>
                      <a:lnTo>
                        <a:pt x="11392" y="122"/>
                      </a:lnTo>
                      <a:lnTo>
                        <a:pt x="11394" y="130"/>
                      </a:lnTo>
                      <a:lnTo>
                        <a:pt x="11395" y="133"/>
                      </a:lnTo>
                      <a:lnTo>
                        <a:pt x="11397" y="139"/>
                      </a:lnTo>
                      <a:lnTo>
                        <a:pt x="11399" y="144"/>
                      </a:lnTo>
                      <a:lnTo>
                        <a:pt x="11400" y="146"/>
                      </a:lnTo>
                      <a:lnTo>
                        <a:pt x="11402" y="147"/>
                      </a:lnTo>
                      <a:lnTo>
                        <a:pt x="11403" y="148"/>
                      </a:lnTo>
                      <a:lnTo>
                        <a:pt x="11388" y="1591"/>
                      </a:lnTo>
                      <a:lnTo>
                        <a:pt x="11385" y="1594"/>
                      </a:lnTo>
                      <a:lnTo>
                        <a:pt x="11381" y="1599"/>
                      </a:lnTo>
                      <a:lnTo>
                        <a:pt x="11378" y="1605"/>
                      </a:lnTo>
                      <a:lnTo>
                        <a:pt x="11376" y="1611"/>
                      </a:lnTo>
                      <a:lnTo>
                        <a:pt x="11373" y="1618"/>
                      </a:lnTo>
                      <a:lnTo>
                        <a:pt x="11371" y="1624"/>
                      </a:lnTo>
                      <a:lnTo>
                        <a:pt x="11371" y="1626"/>
                      </a:lnTo>
                      <a:lnTo>
                        <a:pt x="11369" y="1631"/>
                      </a:lnTo>
                      <a:lnTo>
                        <a:pt x="11367" y="1638"/>
                      </a:lnTo>
                      <a:lnTo>
                        <a:pt x="11367" y="1641"/>
                      </a:lnTo>
                      <a:lnTo>
                        <a:pt x="11366" y="1644"/>
                      </a:lnTo>
                      <a:lnTo>
                        <a:pt x="11365" y="1651"/>
                      </a:lnTo>
                      <a:lnTo>
                        <a:pt x="11365" y="1655"/>
                      </a:lnTo>
                      <a:lnTo>
                        <a:pt x="11364" y="1658"/>
                      </a:lnTo>
                      <a:lnTo>
                        <a:pt x="11363" y="1664"/>
                      </a:lnTo>
                      <a:lnTo>
                        <a:pt x="11363" y="1669"/>
                      </a:lnTo>
                      <a:lnTo>
                        <a:pt x="11362" y="1671"/>
                      </a:lnTo>
                      <a:lnTo>
                        <a:pt x="11362" y="1678"/>
                      </a:lnTo>
                      <a:lnTo>
                        <a:pt x="11362" y="1684"/>
                      </a:lnTo>
                      <a:lnTo>
                        <a:pt x="11361" y="1685"/>
                      </a:lnTo>
                      <a:lnTo>
                        <a:pt x="11361" y="1691"/>
                      </a:lnTo>
                      <a:lnTo>
                        <a:pt x="11361" y="1698"/>
                      </a:lnTo>
                      <a:lnTo>
                        <a:pt x="11360" y="1702"/>
                      </a:lnTo>
                      <a:lnTo>
                        <a:pt x="11360" y="1711"/>
                      </a:lnTo>
                      <a:lnTo>
                        <a:pt x="11360" y="1715"/>
                      </a:lnTo>
                      <a:lnTo>
                        <a:pt x="11361" y="1716"/>
                      </a:lnTo>
                      <a:lnTo>
                        <a:pt x="11361" y="1721"/>
                      </a:lnTo>
                      <a:lnTo>
                        <a:pt x="11361" y="1728"/>
                      </a:lnTo>
                      <a:lnTo>
                        <a:pt x="11362" y="1730"/>
                      </a:lnTo>
                      <a:lnTo>
                        <a:pt x="11362" y="1735"/>
                      </a:lnTo>
                      <a:lnTo>
                        <a:pt x="11362" y="1742"/>
                      </a:lnTo>
                      <a:lnTo>
                        <a:pt x="11363" y="1744"/>
                      </a:lnTo>
                      <a:lnTo>
                        <a:pt x="11363" y="1748"/>
                      </a:lnTo>
                      <a:lnTo>
                        <a:pt x="11364" y="1755"/>
                      </a:lnTo>
                      <a:lnTo>
                        <a:pt x="11365" y="1759"/>
                      </a:lnTo>
                      <a:lnTo>
                        <a:pt x="11365" y="1762"/>
                      </a:lnTo>
                      <a:lnTo>
                        <a:pt x="11366" y="1768"/>
                      </a:lnTo>
                      <a:lnTo>
                        <a:pt x="11367" y="1773"/>
                      </a:lnTo>
                      <a:lnTo>
                        <a:pt x="11367" y="1775"/>
                      </a:lnTo>
                      <a:lnTo>
                        <a:pt x="11369" y="1782"/>
                      </a:lnTo>
                      <a:lnTo>
                        <a:pt x="11371" y="1788"/>
                      </a:lnTo>
                      <a:lnTo>
                        <a:pt x="11373" y="1795"/>
                      </a:lnTo>
                      <a:lnTo>
                        <a:pt x="11375" y="1802"/>
                      </a:lnTo>
                      <a:lnTo>
                        <a:pt x="11380" y="1808"/>
                      </a:lnTo>
                      <a:lnTo>
                        <a:pt x="11386" y="1812"/>
                      </a:lnTo>
                      <a:lnTo>
                        <a:pt x="11385" y="1841"/>
                      </a:lnTo>
                      <a:lnTo>
                        <a:pt x="11380" y="1842"/>
                      </a:lnTo>
                      <a:lnTo>
                        <a:pt x="11380" y="1955"/>
                      </a:lnTo>
                      <a:lnTo>
                        <a:pt x="11378" y="1957"/>
                      </a:lnTo>
                      <a:lnTo>
                        <a:pt x="11378" y="1963"/>
                      </a:lnTo>
                      <a:lnTo>
                        <a:pt x="11374" y="1964"/>
                      </a:lnTo>
                      <a:lnTo>
                        <a:pt x="11374" y="1969"/>
                      </a:lnTo>
                      <a:lnTo>
                        <a:pt x="11373" y="1969"/>
                      </a:lnTo>
                      <a:lnTo>
                        <a:pt x="11373" y="1976"/>
                      </a:lnTo>
                      <a:lnTo>
                        <a:pt x="11369" y="1977"/>
                      </a:lnTo>
                      <a:lnTo>
                        <a:pt x="11369" y="1979"/>
                      </a:lnTo>
                      <a:lnTo>
                        <a:pt x="11368" y="1980"/>
                      </a:lnTo>
                      <a:lnTo>
                        <a:pt x="11367" y="1981"/>
                      </a:lnTo>
                      <a:lnTo>
                        <a:pt x="11366" y="1983"/>
                      </a:lnTo>
                      <a:lnTo>
                        <a:pt x="11366" y="1984"/>
                      </a:lnTo>
                      <a:lnTo>
                        <a:pt x="11366" y="1990"/>
                      </a:lnTo>
                      <a:lnTo>
                        <a:pt x="11361" y="1995"/>
                      </a:lnTo>
                      <a:lnTo>
                        <a:pt x="11361" y="2124"/>
                      </a:lnTo>
                      <a:lnTo>
                        <a:pt x="11354" y="2133"/>
                      </a:lnTo>
                      <a:lnTo>
                        <a:pt x="11354" y="2138"/>
                      </a:lnTo>
                      <a:lnTo>
                        <a:pt x="11345" y="2151"/>
                      </a:lnTo>
                      <a:lnTo>
                        <a:pt x="11344" y="2154"/>
                      </a:lnTo>
                      <a:lnTo>
                        <a:pt x="11344" y="2156"/>
                      </a:lnTo>
                      <a:lnTo>
                        <a:pt x="11344" y="2160"/>
                      </a:lnTo>
                      <a:lnTo>
                        <a:pt x="11336" y="2172"/>
                      </a:lnTo>
                      <a:lnTo>
                        <a:pt x="11333" y="2336"/>
                      </a:lnTo>
                      <a:lnTo>
                        <a:pt x="11299" y="2413"/>
                      </a:lnTo>
                      <a:lnTo>
                        <a:pt x="11294" y="2602"/>
                      </a:lnTo>
                      <a:lnTo>
                        <a:pt x="11266" y="2705"/>
                      </a:lnTo>
                      <a:lnTo>
                        <a:pt x="11256" y="3002"/>
                      </a:lnTo>
                      <a:lnTo>
                        <a:pt x="11247" y="3002"/>
                      </a:lnTo>
                      <a:lnTo>
                        <a:pt x="11247" y="3040"/>
                      </a:lnTo>
                      <a:lnTo>
                        <a:pt x="11241" y="3041"/>
                      </a:lnTo>
                      <a:lnTo>
                        <a:pt x="11233" y="3044"/>
                      </a:lnTo>
                      <a:lnTo>
                        <a:pt x="11225" y="3048"/>
                      </a:lnTo>
                      <a:lnTo>
                        <a:pt x="11220" y="3054"/>
                      </a:lnTo>
                      <a:lnTo>
                        <a:pt x="11217" y="3060"/>
                      </a:lnTo>
                      <a:lnTo>
                        <a:pt x="11216" y="3066"/>
                      </a:lnTo>
                      <a:lnTo>
                        <a:pt x="11216" y="3093"/>
                      </a:lnTo>
                      <a:lnTo>
                        <a:pt x="11193" y="3111"/>
                      </a:lnTo>
                      <a:lnTo>
                        <a:pt x="11193" y="3351"/>
                      </a:lnTo>
                      <a:lnTo>
                        <a:pt x="11225" y="3325"/>
                      </a:lnTo>
                      <a:lnTo>
                        <a:pt x="11225" y="3333"/>
                      </a:lnTo>
                      <a:lnTo>
                        <a:pt x="11203" y="3350"/>
                      </a:lnTo>
                      <a:lnTo>
                        <a:pt x="11203" y="3357"/>
                      </a:lnTo>
                      <a:lnTo>
                        <a:pt x="11184" y="3863"/>
                      </a:lnTo>
                      <a:lnTo>
                        <a:pt x="11176" y="3865"/>
                      </a:lnTo>
                      <a:lnTo>
                        <a:pt x="11167" y="3871"/>
                      </a:lnTo>
                      <a:lnTo>
                        <a:pt x="11160" y="3877"/>
                      </a:lnTo>
                      <a:lnTo>
                        <a:pt x="11156" y="3885"/>
                      </a:lnTo>
                      <a:lnTo>
                        <a:pt x="11155" y="3893"/>
                      </a:lnTo>
                      <a:lnTo>
                        <a:pt x="11155" y="3925"/>
                      </a:lnTo>
                      <a:lnTo>
                        <a:pt x="11123" y="3947"/>
                      </a:lnTo>
                      <a:lnTo>
                        <a:pt x="11123" y="4188"/>
                      </a:lnTo>
                      <a:lnTo>
                        <a:pt x="11132" y="4192"/>
                      </a:lnTo>
                      <a:lnTo>
                        <a:pt x="11114" y="4846"/>
                      </a:lnTo>
                      <a:lnTo>
                        <a:pt x="11104" y="4851"/>
                      </a:lnTo>
                      <a:lnTo>
                        <a:pt x="11096" y="4858"/>
                      </a:lnTo>
                      <a:lnTo>
                        <a:pt x="11091" y="4867"/>
                      </a:lnTo>
                      <a:lnTo>
                        <a:pt x="11090" y="4876"/>
                      </a:lnTo>
                      <a:lnTo>
                        <a:pt x="11090" y="4913"/>
                      </a:lnTo>
                      <a:lnTo>
                        <a:pt x="11051" y="4938"/>
                      </a:lnTo>
                      <a:lnTo>
                        <a:pt x="11051" y="5178"/>
                      </a:lnTo>
                      <a:lnTo>
                        <a:pt x="11062" y="5184"/>
                      </a:lnTo>
                      <a:lnTo>
                        <a:pt x="11045" y="6350"/>
                      </a:lnTo>
                      <a:lnTo>
                        <a:pt x="11041" y="6352"/>
                      </a:lnTo>
                      <a:lnTo>
                        <a:pt x="11031" y="6360"/>
                      </a:lnTo>
                      <a:lnTo>
                        <a:pt x="11025" y="6368"/>
                      </a:lnTo>
                      <a:lnTo>
                        <a:pt x="11023" y="6377"/>
                      </a:lnTo>
                      <a:lnTo>
                        <a:pt x="11023" y="6414"/>
                      </a:lnTo>
                      <a:lnTo>
                        <a:pt x="10977" y="6440"/>
                      </a:lnTo>
                      <a:lnTo>
                        <a:pt x="10977" y="6681"/>
                      </a:lnTo>
                      <a:lnTo>
                        <a:pt x="11000" y="6690"/>
                      </a:lnTo>
                      <a:lnTo>
                        <a:pt x="11000" y="8607"/>
                      </a:lnTo>
                      <a:lnTo>
                        <a:pt x="10954" y="8625"/>
                      </a:lnTo>
                      <a:lnTo>
                        <a:pt x="10954" y="8868"/>
                      </a:lnTo>
                      <a:lnTo>
                        <a:pt x="10977" y="8874"/>
                      </a:lnTo>
                      <a:lnTo>
                        <a:pt x="10977" y="11588"/>
                      </a:lnTo>
                      <a:lnTo>
                        <a:pt x="10606" y="11586"/>
                      </a:lnTo>
                      <a:lnTo>
                        <a:pt x="10604" y="11595"/>
                      </a:lnTo>
                      <a:lnTo>
                        <a:pt x="10559" y="11595"/>
                      </a:lnTo>
                      <a:lnTo>
                        <a:pt x="10558" y="11599"/>
                      </a:lnTo>
                      <a:lnTo>
                        <a:pt x="10558" y="11586"/>
                      </a:lnTo>
                      <a:lnTo>
                        <a:pt x="10183" y="11583"/>
                      </a:lnTo>
                      <a:lnTo>
                        <a:pt x="10187" y="8862"/>
                      </a:lnTo>
                      <a:lnTo>
                        <a:pt x="10210" y="8857"/>
                      </a:lnTo>
                      <a:lnTo>
                        <a:pt x="10210" y="8613"/>
                      </a:lnTo>
                      <a:lnTo>
                        <a:pt x="10168" y="8594"/>
                      </a:lnTo>
                      <a:lnTo>
                        <a:pt x="10168" y="8565"/>
                      </a:lnTo>
                      <a:lnTo>
                        <a:pt x="10167" y="8559"/>
                      </a:lnTo>
                      <a:lnTo>
                        <a:pt x="10164" y="8555"/>
                      </a:lnTo>
                      <a:lnTo>
                        <a:pt x="10167" y="6671"/>
                      </a:lnTo>
                      <a:lnTo>
                        <a:pt x="10190" y="6664"/>
                      </a:lnTo>
                      <a:lnTo>
                        <a:pt x="10190" y="6422"/>
                      </a:lnTo>
                      <a:lnTo>
                        <a:pt x="10150" y="6396"/>
                      </a:lnTo>
                      <a:lnTo>
                        <a:pt x="10150" y="6357"/>
                      </a:lnTo>
                      <a:lnTo>
                        <a:pt x="10149" y="6348"/>
                      </a:lnTo>
                      <a:lnTo>
                        <a:pt x="10144" y="6339"/>
                      </a:lnTo>
                      <a:lnTo>
                        <a:pt x="10135" y="6331"/>
                      </a:lnTo>
                      <a:lnTo>
                        <a:pt x="10122" y="6325"/>
                      </a:lnTo>
                      <a:lnTo>
                        <a:pt x="10107" y="5158"/>
                      </a:lnTo>
                      <a:lnTo>
                        <a:pt x="10118" y="5153"/>
                      </a:lnTo>
                      <a:lnTo>
                        <a:pt x="10119" y="4912"/>
                      </a:lnTo>
                      <a:lnTo>
                        <a:pt x="10085" y="4886"/>
                      </a:lnTo>
                      <a:lnTo>
                        <a:pt x="10085" y="4847"/>
                      </a:lnTo>
                      <a:lnTo>
                        <a:pt x="10084" y="4838"/>
                      </a:lnTo>
                      <a:lnTo>
                        <a:pt x="10080" y="4829"/>
                      </a:lnTo>
                      <a:lnTo>
                        <a:pt x="10072" y="4821"/>
                      </a:lnTo>
                      <a:lnTo>
                        <a:pt x="10061" y="4815"/>
                      </a:lnTo>
                      <a:lnTo>
                        <a:pt x="10056" y="4813"/>
                      </a:lnTo>
                      <a:lnTo>
                        <a:pt x="10038" y="4158"/>
                      </a:lnTo>
                      <a:lnTo>
                        <a:pt x="10047" y="4155"/>
                      </a:lnTo>
                      <a:lnTo>
                        <a:pt x="10047" y="3914"/>
                      </a:lnTo>
                      <a:lnTo>
                        <a:pt x="10020" y="3891"/>
                      </a:lnTo>
                      <a:lnTo>
                        <a:pt x="10020" y="3857"/>
                      </a:lnTo>
                      <a:lnTo>
                        <a:pt x="10019" y="3849"/>
                      </a:lnTo>
                      <a:lnTo>
                        <a:pt x="10016" y="3841"/>
                      </a:lnTo>
                      <a:lnTo>
                        <a:pt x="10009" y="3834"/>
                      </a:lnTo>
                      <a:lnTo>
                        <a:pt x="10000" y="3828"/>
                      </a:lnTo>
                      <a:lnTo>
                        <a:pt x="9989" y="3824"/>
                      </a:lnTo>
                      <a:lnTo>
                        <a:pt x="9986" y="3823"/>
                      </a:lnTo>
                      <a:lnTo>
                        <a:pt x="9985" y="3784"/>
                      </a:lnTo>
                      <a:lnTo>
                        <a:pt x="9985" y="3776"/>
                      </a:lnTo>
                      <a:lnTo>
                        <a:pt x="9984" y="3776"/>
                      </a:lnTo>
                      <a:lnTo>
                        <a:pt x="9968" y="3309"/>
                      </a:lnTo>
                      <a:lnTo>
                        <a:pt x="9968" y="3315"/>
                      </a:lnTo>
                      <a:lnTo>
                        <a:pt x="9978" y="3310"/>
                      </a:lnTo>
                      <a:lnTo>
                        <a:pt x="9979" y="3070"/>
                      </a:lnTo>
                      <a:lnTo>
                        <a:pt x="9958" y="3051"/>
                      </a:lnTo>
                      <a:lnTo>
                        <a:pt x="9958" y="3023"/>
                      </a:lnTo>
                      <a:lnTo>
                        <a:pt x="9958" y="3016"/>
                      </a:lnTo>
                      <a:lnTo>
                        <a:pt x="9955" y="3010"/>
                      </a:lnTo>
                      <a:lnTo>
                        <a:pt x="9950" y="3004"/>
                      </a:lnTo>
                      <a:lnTo>
                        <a:pt x="9943" y="2999"/>
                      </a:lnTo>
                      <a:lnTo>
                        <a:pt x="9935" y="2996"/>
                      </a:lnTo>
                      <a:lnTo>
                        <a:pt x="9931" y="2995"/>
                      </a:lnTo>
                      <a:lnTo>
                        <a:pt x="9931" y="2957"/>
                      </a:lnTo>
                      <a:lnTo>
                        <a:pt x="9915" y="2955"/>
                      </a:lnTo>
                      <a:lnTo>
                        <a:pt x="9906" y="2656"/>
                      </a:lnTo>
                      <a:lnTo>
                        <a:pt x="9878" y="2552"/>
                      </a:lnTo>
                      <a:lnTo>
                        <a:pt x="9873" y="2361"/>
                      </a:lnTo>
                      <a:lnTo>
                        <a:pt x="9863" y="2336"/>
                      </a:lnTo>
                      <a:lnTo>
                        <a:pt x="9862" y="2332"/>
                      </a:lnTo>
                      <a:lnTo>
                        <a:pt x="9861" y="2329"/>
                      </a:lnTo>
                      <a:lnTo>
                        <a:pt x="9849" y="2301"/>
                      </a:lnTo>
                      <a:lnTo>
                        <a:pt x="9849" y="2300"/>
                      </a:lnTo>
                      <a:lnTo>
                        <a:pt x="9839" y="2278"/>
                      </a:lnTo>
                      <a:lnTo>
                        <a:pt x="9836" y="2116"/>
                      </a:lnTo>
                      <a:lnTo>
                        <a:pt x="9829" y="2105"/>
                      </a:lnTo>
                      <a:lnTo>
                        <a:pt x="9829" y="2099"/>
                      </a:lnTo>
                      <a:lnTo>
                        <a:pt x="9829" y="2097"/>
                      </a:lnTo>
                      <a:lnTo>
                        <a:pt x="9828" y="2094"/>
                      </a:lnTo>
                      <a:lnTo>
                        <a:pt x="9820" y="2082"/>
                      </a:lnTo>
                      <a:lnTo>
                        <a:pt x="9820" y="2075"/>
                      </a:lnTo>
                      <a:lnTo>
                        <a:pt x="9811" y="2063"/>
                      </a:lnTo>
                      <a:lnTo>
                        <a:pt x="9812" y="1936"/>
                      </a:lnTo>
                      <a:lnTo>
                        <a:pt x="9807" y="1931"/>
                      </a:lnTo>
                      <a:lnTo>
                        <a:pt x="9807" y="1925"/>
                      </a:lnTo>
                      <a:lnTo>
                        <a:pt x="9807" y="1923"/>
                      </a:lnTo>
                      <a:lnTo>
                        <a:pt x="9806" y="1921"/>
                      </a:lnTo>
                      <a:lnTo>
                        <a:pt x="9805" y="1920"/>
                      </a:lnTo>
                      <a:lnTo>
                        <a:pt x="9804" y="1919"/>
                      </a:lnTo>
                      <a:lnTo>
                        <a:pt x="9803" y="1919"/>
                      </a:lnTo>
                      <a:lnTo>
                        <a:pt x="9803" y="1917"/>
                      </a:lnTo>
                      <a:lnTo>
                        <a:pt x="9801" y="1917"/>
                      </a:lnTo>
                      <a:lnTo>
                        <a:pt x="9801" y="1909"/>
                      </a:lnTo>
                      <a:lnTo>
                        <a:pt x="9799" y="1909"/>
                      </a:lnTo>
                      <a:lnTo>
                        <a:pt x="9799" y="1903"/>
                      </a:lnTo>
                      <a:lnTo>
                        <a:pt x="9796" y="1903"/>
                      </a:lnTo>
                      <a:lnTo>
                        <a:pt x="9796" y="1897"/>
                      </a:lnTo>
                      <a:lnTo>
                        <a:pt x="9794" y="1895"/>
                      </a:lnTo>
                      <a:lnTo>
                        <a:pt x="9793" y="1895"/>
                      </a:lnTo>
                      <a:lnTo>
                        <a:pt x="9792" y="1896"/>
                      </a:lnTo>
                      <a:lnTo>
                        <a:pt x="9792" y="1886"/>
                      </a:lnTo>
                      <a:lnTo>
                        <a:pt x="9790" y="1884"/>
                      </a:lnTo>
                      <a:lnTo>
                        <a:pt x="9788" y="1885"/>
                      </a:lnTo>
                      <a:lnTo>
                        <a:pt x="9787" y="1816"/>
                      </a:lnTo>
                      <a:lnTo>
                        <a:pt x="9787" y="1767"/>
                      </a:lnTo>
                      <a:lnTo>
                        <a:pt x="9787" y="1750"/>
                      </a:lnTo>
                      <a:lnTo>
                        <a:pt x="9789" y="1749"/>
                      </a:lnTo>
                      <a:lnTo>
                        <a:pt x="9795" y="1743"/>
                      </a:lnTo>
                      <a:lnTo>
                        <a:pt x="9798" y="1737"/>
                      </a:lnTo>
                      <a:lnTo>
                        <a:pt x="9800" y="1731"/>
                      </a:lnTo>
                      <a:lnTo>
                        <a:pt x="9801" y="1726"/>
                      </a:lnTo>
                      <a:lnTo>
                        <a:pt x="9802" y="1724"/>
                      </a:lnTo>
                      <a:lnTo>
                        <a:pt x="9804" y="1718"/>
                      </a:lnTo>
                      <a:lnTo>
                        <a:pt x="9806" y="1711"/>
                      </a:lnTo>
                      <a:lnTo>
                        <a:pt x="9806" y="1710"/>
                      </a:lnTo>
                      <a:lnTo>
                        <a:pt x="9807" y="1703"/>
                      </a:lnTo>
                      <a:lnTo>
                        <a:pt x="9808" y="1697"/>
                      </a:lnTo>
                      <a:lnTo>
                        <a:pt x="9808" y="1696"/>
                      </a:lnTo>
                      <a:lnTo>
                        <a:pt x="9809" y="1690"/>
                      </a:lnTo>
                      <a:lnTo>
                        <a:pt x="9810" y="1683"/>
                      </a:lnTo>
                      <a:lnTo>
                        <a:pt x="9810" y="1682"/>
                      </a:lnTo>
                      <a:lnTo>
                        <a:pt x="9811" y="1677"/>
                      </a:lnTo>
                      <a:lnTo>
                        <a:pt x="9812" y="1670"/>
                      </a:lnTo>
                      <a:lnTo>
                        <a:pt x="9811" y="1667"/>
                      </a:lnTo>
                      <a:lnTo>
                        <a:pt x="9812" y="1663"/>
                      </a:lnTo>
                      <a:lnTo>
                        <a:pt x="9812" y="1656"/>
                      </a:lnTo>
                      <a:lnTo>
                        <a:pt x="9812" y="1653"/>
                      </a:lnTo>
                      <a:lnTo>
                        <a:pt x="9813" y="1649"/>
                      </a:lnTo>
                      <a:lnTo>
                        <a:pt x="9813" y="1646"/>
                      </a:lnTo>
                      <a:lnTo>
                        <a:pt x="9813" y="1643"/>
                      </a:lnTo>
                      <a:lnTo>
                        <a:pt x="9812" y="1637"/>
                      </a:lnTo>
                      <a:lnTo>
                        <a:pt x="9812" y="1636"/>
                      </a:lnTo>
                      <a:lnTo>
                        <a:pt x="9812" y="1629"/>
                      </a:lnTo>
                      <a:lnTo>
                        <a:pt x="9811" y="1624"/>
                      </a:lnTo>
                      <a:lnTo>
                        <a:pt x="9812" y="1622"/>
                      </a:lnTo>
                      <a:lnTo>
                        <a:pt x="9811" y="1615"/>
                      </a:lnTo>
                      <a:lnTo>
                        <a:pt x="9810" y="1608"/>
                      </a:lnTo>
                      <a:lnTo>
                        <a:pt x="9811" y="1608"/>
                      </a:lnTo>
                      <a:lnTo>
                        <a:pt x="9809" y="1599"/>
                      </a:lnTo>
                      <a:lnTo>
                        <a:pt x="9808" y="1592"/>
                      </a:lnTo>
                      <a:lnTo>
                        <a:pt x="9807" y="1585"/>
                      </a:lnTo>
                      <a:lnTo>
                        <a:pt x="9806" y="1578"/>
                      </a:lnTo>
                      <a:lnTo>
                        <a:pt x="9805" y="1572"/>
                      </a:lnTo>
                      <a:lnTo>
                        <a:pt x="9803" y="1565"/>
                      </a:lnTo>
                      <a:lnTo>
                        <a:pt x="9802" y="1562"/>
                      </a:lnTo>
                      <a:lnTo>
                        <a:pt x="9801" y="1559"/>
                      </a:lnTo>
                      <a:lnTo>
                        <a:pt x="9799" y="1552"/>
                      </a:lnTo>
                      <a:lnTo>
                        <a:pt x="9797" y="1548"/>
                      </a:lnTo>
                      <a:lnTo>
                        <a:pt x="9797" y="1546"/>
                      </a:lnTo>
                      <a:lnTo>
                        <a:pt x="9794" y="1539"/>
                      </a:lnTo>
                      <a:lnTo>
                        <a:pt x="9791" y="1533"/>
                      </a:lnTo>
                      <a:lnTo>
                        <a:pt x="9786" y="1529"/>
                      </a:lnTo>
                      <a:lnTo>
                        <a:pt x="9785" y="1527"/>
                      </a:lnTo>
                      <a:lnTo>
                        <a:pt x="9772" y="76"/>
                      </a:lnTo>
                      <a:lnTo>
                        <a:pt x="9774" y="75"/>
                      </a:lnTo>
                      <a:lnTo>
                        <a:pt x="9775" y="74"/>
                      </a:lnTo>
                      <a:lnTo>
                        <a:pt x="9777" y="69"/>
                      </a:lnTo>
                      <a:lnTo>
                        <a:pt x="9779" y="67"/>
                      </a:lnTo>
                      <a:lnTo>
                        <a:pt x="9780" y="60"/>
                      </a:lnTo>
                      <a:lnTo>
                        <a:pt x="9781" y="58"/>
                      </a:lnTo>
                      <a:lnTo>
                        <a:pt x="9782" y="49"/>
                      </a:lnTo>
                      <a:lnTo>
                        <a:pt x="9783" y="39"/>
                      </a:lnTo>
                      <a:lnTo>
                        <a:pt x="9782" y="30"/>
                      </a:lnTo>
                      <a:lnTo>
                        <a:pt x="9782" y="27"/>
                      </a:lnTo>
                      <a:lnTo>
                        <a:pt x="9780" y="18"/>
                      </a:lnTo>
                      <a:lnTo>
                        <a:pt x="9778" y="11"/>
                      </a:lnTo>
                      <a:lnTo>
                        <a:pt x="9777" y="9"/>
                      </a:lnTo>
                      <a:lnTo>
                        <a:pt x="9774" y="4"/>
                      </a:lnTo>
                      <a:lnTo>
                        <a:pt x="9773" y="3"/>
                      </a:lnTo>
                      <a:lnTo>
                        <a:pt x="9772" y="2"/>
                      </a:lnTo>
                      <a:lnTo>
                        <a:pt x="9770" y="0"/>
                      </a:lnTo>
                      <a:lnTo>
                        <a:pt x="9769" y="0"/>
                      </a:lnTo>
                      <a:lnTo>
                        <a:pt x="9768" y="0"/>
                      </a:lnTo>
                      <a:lnTo>
                        <a:pt x="9767" y="0"/>
                      </a:lnTo>
                      <a:lnTo>
                        <a:pt x="9765" y="1"/>
                      </a:lnTo>
                      <a:lnTo>
                        <a:pt x="9764" y="2"/>
                      </a:lnTo>
                      <a:lnTo>
                        <a:pt x="9763" y="3"/>
                      </a:lnTo>
                      <a:lnTo>
                        <a:pt x="9760" y="7"/>
                      </a:lnTo>
                      <a:lnTo>
                        <a:pt x="9759" y="9"/>
                      </a:lnTo>
                      <a:lnTo>
                        <a:pt x="9757" y="16"/>
                      </a:lnTo>
                      <a:lnTo>
                        <a:pt x="9755" y="24"/>
                      </a:lnTo>
                      <a:lnTo>
                        <a:pt x="9755" y="27"/>
                      </a:lnTo>
                      <a:lnTo>
                        <a:pt x="9754" y="36"/>
                      </a:lnTo>
                      <a:lnTo>
                        <a:pt x="9755" y="46"/>
                      </a:lnTo>
                      <a:lnTo>
                        <a:pt x="9755" y="49"/>
                      </a:lnTo>
                      <a:lnTo>
                        <a:pt x="9756" y="58"/>
                      </a:lnTo>
                      <a:lnTo>
                        <a:pt x="9758" y="65"/>
                      </a:lnTo>
                      <a:lnTo>
                        <a:pt x="9759" y="68"/>
                      </a:lnTo>
                      <a:lnTo>
                        <a:pt x="9762" y="72"/>
                      </a:lnTo>
                      <a:lnTo>
                        <a:pt x="9763" y="74"/>
                      </a:lnTo>
                      <a:lnTo>
                        <a:pt x="9765" y="75"/>
                      </a:lnTo>
                      <a:lnTo>
                        <a:pt x="9765" y="76"/>
                      </a:lnTo>
                      <a:lnTo>
                        <a:pt x="9746" y="1525"/>
                      </a:lnTo>
                      <a:lnTo>
                        <a:pt x="9745" y="1525"/>
                      </a:lnTo>
                      <a:lnTo>
                        <a:pt x="9741" y="1530"/>
                      </a:lnTo>
                      <a:lnTo>
                        <a:pt x="9738" y="1535"/>
                      </a:lnTo>
                      <a:lnTo>
                        <a:pt x="9735" y="1541"/>
                      </a:lnTo>
                      <a:lnTo>
                        <a:pt x="9734" y="1543"/>
                      </a:lnTo>
                      <a:lnTo>
                        <a:pt x="9732" y="1547"/>
                      </a:lnTo>
                      <a:lnTo>
                        <a:pt x="9730" y="1553"/>
                      </a:lnTo>
                      <a:lnTo>
                        <a:pt x="9729" y="1557"/>
                      </a:lnTo>
                      <a:lnTo>
                        <a:pt x="9728" y="1559"/>
                      </a:lnTo>
                      <a:lnTo>
                        <a:pt x="9726" y="1566"/>
                      </a:lnTo>
                      <a:lnTo>
                        <a:pt x="9725" y="1572"/>
                      </a:lnTo>
                      <a:lnTo>
                        <a:pt x="9723" y="1580"/>
                      </a:lnTo>
                      <a:lnTo>
                        <a:pt x="9722" y="1588"/>
                      </a:lnTo>
                      <a:lnTo>
                        <a:pt x="9721" y="1594"/>
                      </a:lnTo>
                      <a:lnTo>
                        <a:pt x="9720" y="1601"/>
                      </a:lnTo>
                      <a:lnTo>
                        <a:pt x="9720" y="1602"/>
                      </a:lnTo>
                      <a:lnTo>
                        <a:pt x="9719" y="1608"/>
                      </a:lnTo>
                      <a:lnTo>
                        <a:pt x="9719" y="1614"/>
                      </a:lnTo>
                      <a:lnTo>
                        <a:pt x="9719" y="1617"/>
                      </a:lnTo>
                      <a:lnTo>
                        <a:pt x="9719" y="1621"/>
                      </a:lnTo>
                      <a:lnTo>
                        <a:pt x="9718" y="1628"/>
                      </a:lnTo>
                      <a:lnTo>
                        <a:pt x="9719" y="1631"/>
                      </a:lnTo>
                      <a:lnTo>
                        <a:pt x="9718" y="1635"/>
                      </a:lnTo>
                      <a:lnTo>
                        <a:pt x="9718" y="1638"/>
                      </a:lnTo>
                      <a:lnTo>
                        <a:pt x="9718" y="1642"/>
                      </a:lnTo>
                      <a:lnTo>
                        <a:pt x="9719" y="1647"/>
                      </a:lnTo>
                      <a:lnTo>
                        <a:pt x="9718" y="1649"/>
                      </a:lnTo>
                      <a:lnTo>
                        <a:pt x="9719" y="1655"/>
                      </a:lnTo>
                      <a:lnTo>
                        <a:pt x="9719" y="1660"/>
                      </a:lnTo>
                      <a:lnTo>
                        <a:pt x="9719" y="1662"/>
                      </a:lnTo>
                      <a:lnTo>
                        <a:pt x="9719" y="1670"/>
                      </a:lnTo>
                      <a:lnTo>
                        <a:pt x="9720" y="1676"/>
                      </a:lnTo>
                      <a:lnTo>
                        <a:pt x="9721" y="1685"/>
                      </a:lnTo>
                      <a:lnTo>
                        <a:pt x="9722" y="1692"/>
                      </a:lnTo>
                      <a:lnTo>
                        <a:pt x="9723" y="1698"/>
                      </a:lnTo>
                      <a:lnTo>
                        <a:pt x="9724" y="1706"/>
                      </a:lnTo>
                      <a:lnTo>
                        <a:pt x="9725" y="1706"/>
                      </a:lnTo>
                      <a:lnTo>
                        <a:pt x="9726" y="1712"/>
                      </a:lnTo>
                      <a:lnTo>
                        <a:pt x="9728" y="1719"/>
                      </a:lnTo>
                      <a:lnTo>
                        <a:pt x="9729" y="1721"/>
                      </a:lnTo>
                      <a:lnTo>
                        <a:pt x="9730" y="1725"/>
                      </a:lnTo>
                      <a:lnTo>
                        <a:pt x="9731" y="1732"/>
                      </a:lnTo>
                      <a:lnTo>
                        <a:pt x="9735" y="1739"/>
                      </a:lnTo>
                      <a:lnTo>
                        <a:pt x="9740" y="1744"/>
                      </a:lnTo>
                      <a:lnTo>
                        <a:pt x="9743" y="1747"/>
                      </a:lnTo>
                      <a:lnTo>
                        <a:pt x="9743" y="1774"/>
                      </a:lnTo>
                      <a:lnTo>
                        <a:pt x="9738" y="1773"/>
                      </a:lnTo>
                      <a:lnTo>
                        <a:pt x="9737" y="1776"/>
                      </a:lnTo>
                      <a:lnTo>
                        <a:pt x="9737" y="1895"/>
                      </a:lnTo>
                      <a:lnTo>
                        <a:pt x="9731" y="1895"/>
                      </a:lnTo>
                      <a:lnTo>
                        <a:pt x="9731" y="1897"/>
                      </a:lnTo>
                      <a:lnTo>
                        <a:pt x="9731" y="1908"/>
                      </a:lnTo>
                      <a:lnTo>
                        <a:pt x="9726" y="1907"/>
                      </a:lnTo>
                      <a:lnTo>
                        <a:pt x="9726" y="1909"/>
                      </a:lnTo>
                      <a:lnTo>
                        <a:pt x="9726" y="1912"/>
                      </a:lnTo>
                      <a:lnTo>
                        <a:pt x="9725" y="1914"/>
                      </a:lnTo>
                      <a:lnTo>
                        <a:pt x="9725" y="1919"/>
                      </a:lnTo>
                      <a:lnTo>
                        <a:pt x="9718" y="1924"/>
                      </a:lnTo>
                      <a:lnTo>
                        <a:pt x="9718" y="2062"/>
                      </a:lnTo>
                      <a:lnTo>
                        <a:pt x="9705" y="2079"/>
                      </a:lnTo>
                      <a:lnTo>
                        <a:pt x="9704" y="2080"/>
                      </a:lnTo>
                      <a:lnTo>
                        <a:pt x="9703" y="2082"/>
                      </a:lnTo>
                      <a:lnTo>
                        <a:pt x="9692" y="2097"/>
                      </a:lnTo>
                      <a:lnTo>
                        <a:pt x="9689" y="2262"/>
                      </a:lnTo>
                      <a:lnTo>
                        <a:pt x="9654" y="2334"/>
                      </a:lnTo>
                      <a:lnTo>
                        <a:pt x="9649" y="2523"/>
                      </a:lnTo>
                      <a:lnTo>
                        <a:pt x="9620" y="2621"/>
                      </a:lnTo>
                      <a:lnTo>
                        <a:pt x="9608" y="2957"/>
                      </a:lnTo>
                      <a:lnTo>
                        <a:pt x="9607" y="2957"/>
                      </a:lnTo>
                      <a:lnTo>
                        <a:pt x="9598" y="2958"/>
                      </a:lnTo>
                      <a:lnTo>
                        <a:pt x="9590" y="2961"/>
                      </a:lnTo>
                      <a:lnTo>
                        <a:pt x="9584" y="2966"/>
                      </a:lnTo>
                      <a:lnTo>
                        <a:pt x="9580" y="2971"/>
                      </a:lnTo>
                      <a:lnTo>
                        <a:pt x="9578" y="2978"/>
                      </a:lnTo>
                      <a:lnTo>
                        <a:pt x="9578" y="3001"/>
                      </a:lnTo>
                      <a:lnTo>
                        <a:pt x="9545" y="3018"/>
                      </a:lnTo>
                      <a:lnTo>
                        <a:pt x="9544" y="3260"/>
                      </a:lnTo>
                      <a:lnTo>
                        <a:pt x="9557" y="3253"/>
                      </a:lnTo>
                      <a:lnTo>
                        <a:pt x="9557" y="3260"/>
                      </a:lnTo>
                      <a:lnTo>
                        <a:pt x="9555" y="3261"/>
                      </a:lnTo>
                      <a:lnTo>
                        <a:pt x="9555" y="3269"/>
                      </a:lnTo>
                      <a:lnTo>
                        <a:pt x="9534" y="3781"/>
                      </a:lnTo>
                      <a:lnTo>
                        <a:pt x="9533" y="3781"/>
                      </a:lnTo>
                      <a:lnTo>
                        <a:pt x="9524" y="3787"/>
                      </a:lnTo>
                      <a:lnTo>
                        <a:pt x="9518" y="3794"/>
                      </a:lnTo>
                      <a:lnTo>
                        <a:pt x="9516" y="3801"/>
                      </a:lnTo>
                      <a:lnTo>
                        <a:pt x="9516" y="3830"/>
                      </a:lnTo>
                      <a:lnTo>
                        <a:pt x="9473" y="3851"/>
                      </a:lnTo>
                      <a:lnTo>
                        <a:pt x="9472" y="4093"/>
                      </a:lnTo>
                      <a:lnTo>
                        <a:pt x="9476" y="4092"/>
                      </a:lnTo>
                      <a:lnTo>
                        <a:pt x="9476" y="4259"/>
                      </a:lnTo>
                      <a:lnTo>
                        <a:pt x="9460" y="4768"/>
                      </a:lnTo>
                      <a:lnTo>
                        <a:pt x="9453" y="4776"/>
                      </a:lnTo>
                      <a:lnTo>
                        <a:pt x="9450" y="4785"/>
                      </a:lnTo>
                      <a:lnTo>
                        <a:pt x="9450" y="4817"/>
                      </a:lnTo>
                      <a:lnTo>
                        <a:pt x="9396" y="4841"/>
                      </a:lnTo>
                      <a:lnTo>
                        <a:pt x="9395" y="5084"/>
                      </a:lnTo>
                      <a:lnTo>
                        <a:pt x="9407" y="5092"/>
                      </a:lnTo>
                      <a:lnTo>
                        <a:pt x="9386" y="6285"/>
                      </a:lnTo>
                      <a:lnTo>
                        <a:pt x="9382" y="6294"/>
                      </a:lnTo>
                      <a:lnTo>
                        <a:pt x="9382" y="6327"/>
                      </a:lnTo>
                      <a:lnTo>
                        <a:pt x="9317" y="6350"/>
                      </a:lnTo>
                      <a:lnTo>
                        <a:pt x="9317" y="6595"/>
                      </a:lnTo>
                      <a:lnTo>
                        <a:pt x="9340" y="6608"/>
                      </a:lnTo>
                      <a:lnTo>
                        <a:pt x="9335" y="8549"/>
                      </a:lnTo>
                      <a:lnTo>
                        <a:pt x="9288" y="8561"/>
                      </a:lnTo>
                      <a:lnTo>
                        <a:pt x="9287" y="8807"/>
                      </a:lnTo>
                      <a:lnTo>
                        <a:pt x="9311" y="8816"/>
                      </a:lnTo>
                      <a:lnTo>
                        <a:pt x="9288" y="17241"/>
                      </a:lnTo>
                      <a:lnTo>
                        <a:pt x="8910" y="17328"/>
                      </a:lnTo>
                      <a:lnTo>
                        <a:pt x="8908" y="14158"/>
                      </a:lnTo>
                      <a:lnTo>
                        <a:pt x="8869" y="14147"/>
                      </a:lnTo>
                      <a:lnTo>
                        <a:pt x="8869" y="13469"/>
                      </a:lnTo>
                      <a:lnTo>
                        <a:pt x="8893" y="13467"/>
                      </a:lnTo>
                      <a:lnTo>
                        <a:pt x="8893" y="13459"/>
                      </a:lnTo>
                      <a:lnTo>
                        <a:pt x="8894" y="13458"/>
                      </a:lnTo>
                      <a:lnTo>
                        <a:pt x="8908" y="13459"/>
                      </a:lnTo>
                      <a:lnTo>
                        <a:pt x="8905" y="9283"/>
                      </a:lnTo>
                      <a:lnTo>
                        <a:pt x="8905" y="8997"/>
                      </a:lnTo>
                      <a:lnTo>
                        <a:pt x="8929" y="8987"/>
                      </a:lnTo>
                      <a:lnTo>
                        <a:pt x="8929" y="8908"/>
                      </a:lnTo>
                      <a:lnTo>
                        <a:pt x="8806" y="8879"/>
                      </a:lnTo>
                      <a:lnTo>
                        <a:pt x="8668" y="8859"/>
                      </a:lnTo>
                      <a:lnTo>
                        <a:pt x="8519" y="8849"/>
                      </a:lnTo>
                      <a:lnTo>
                        <a:pt x="8367" y="8849"/>
                      </a:lnTo>
                      <a:lnTo>
                        <a:pt x="8294" y="8855"/>
                      </a:lnTo>
                      <a:lnTo>
                        <a:pt x="8294" y="9226"/>
                      </a:lnTo>
                      <a:lnTo>
                        <a:pt x="8221" y="9231"/>
                      </a:lnTo>
                      <a:lnTo>
                        <a:pt x="8200" y="9234"/>
                      </a:lnTo>
                      <a:lnTo>
                        <a:pt x="8200" y="9729"/>
                      </a:lnTo>
                      <a:lnTo>
                        <a:pt x="8200" y="9781"/>
                      </a:lnTo>
                      <a:lnTo>
                        <a:pt x="8200" y="9914"/>
                      </a:lnTo>
                      <a:lnTo>
                        <a:pt x="8119" y="9923"/>
                      </a:lnTo>
                      <a:lnTo>
                        <a:pt x="8119" y="10601"/>
                      </a:lnTo>
                      <a:lnTo>
                        <a:pt x="8089" y="10603"/>
                      </a:lnTo>
                      <a:lnTo>
                        <a:pt x="8014" y="10613"/>
                      </a:lnTo>
                      <a:lnTo>
                        <a:pt x="8014" y="11035"/>
                      </a:lnTo>
                      <a:lnTo>
                        <a:pt x="7978" y="11038"/>
                      </a:lnTo>
                      <a:lnTo>
                        <a:pt x="7949" y="11042"/>
                      </a:lnTo>
                      <a:lnTo>
                        <a:pt x="7949" y="11427"/>
                      </a:lnTo>
                      <a:lnTo>
                        <a:pt x="7894" y="11432"/>
                      </a:lnTo>
                      <a:lnTo>
                        <a:pt x="7891" y="13413"/>
                      </a:lnTo>
                      <a:lnTo>
                        <a:pt x="7597" y="13361"/>
                      </a:lnTo>
                      <a:lnTo>
                        <a:pt x="7568" y="13367"/>
                      </a:lnTo>
                      <a:lnTo>
                        <a:pt x="7568" y="13591"/>
                      </a:lnTo>
                      <a:lnTo>
                        <a:pt x="7558" y="13589"/>
                      </a:lnTo>
                      <a:lnTo>
                        <a:pt x="7348" y="13626"/>
                      </a:lnTo>
                      <a:lnTo>
                        <a:pt x="7346" y="13523"/>
                      </a:lnTo>
                      <a:lnTo>
                        <a:pt x="7228" y="13499"/>
                      </a:lnTo>
                      <a:lnTo>
                        <a:pt x="7227" y="11976"/>
                      </a:lnTo>
                      <a:lnTo>
                        <a:pt x="7220" y="11978"/>
                      </a:lnTo>
                      <a:lnTo>
                        <a:pt x="6871" y="11898"/>
                      </a:lnTo>
                      <a:lnTo>
                        <a:pt x="6849" y="11891"/>
                      </a:lnTo>
                      <a:lnTo>
                        <a:pt x="5812" y="12214"/>
                      </a:lnTo>
                      <a:lnTo>
                        <a:pt x="5810" y="14307"/>
                      </a:lnTo>
                      <a:lnTo>
                        <a:pt x="5520" y="14307"/>
                      </a:lnTo>
                      <a:lnTo>
                        <a:pt x="5520" y="12747"/>
                      </a:lnTo>
                      <a:lnTo>
                        <a:pt x="5519" y="12747"/>
                      </a:lnTo>
                      <a:lnTo>
                        <a:pt x="5519" y="11628"/>
                      </a:lnTo>
                      <a:lnTo>
                        <a:pt x="5519" y="10839"/>
                      </a:lnTo>
                      <a:lnTo>
                        <a:pt x="5517" y="10839"/>
                      </a:lnTo>
                      <a:lnTo>
                        <a:pt x="5517" y="10414"/>
                      </a:lnTo>
                      <a:lnTo>
                        <a:pt x="5491" y="10414"/>
                      </a:lnTo>
                      <a:lnTo>
                        <a:pt x="5491" y="10407"/>
                      </a:lnTo>
                      <a:lnTo>
                        <a:pt x="5445" y="10407"/>
                      </a:lnTo>
                      <a:lnTo>
                        <a:pt x="5445" y="10124"/>
                      </a:lnTo>
                      <a:lnTo>
                        <a:pt x="5392" y="10124"/>
                      </a:lnTo>
                      <a:lnTo>
                        <a:pt x="5391" y="10128"/>
                      </a:lnTo>
                      <a:lnTo>
                        <a:pt x="5391" y="10407"/>
                      </a:lnTo>
                      <a:lnTo>
                        <a:pt x="5373" y="10407"/>
                      </a:lnTo>
                      <a:lnTo>
                        <a:pt x="5373" y="10287"/>
                      </a:lnTo>
                      <a:lnTo>
                        <a:pt x="5344" y="10287"/>
                      </a:lnTo>
                      <a:lnTo>
                        <a:pt x="5344" y="9994"/>
                      </a:lnTo>
                      <a:lnTo>
                        <a:pt x="5313" y="9994"/>
                      </a:lnTo>
                      <a:lnTo>
                        <a:pt x="5313" y="9797"/>
                      </a:lnTo>
                      <a:lnTo>
                        <a:pt x="5271" y="9797"/>
                      </a:lnTo>
                      <a:lnTo>
                        <a:pt x="5271" y="9794"/>
                      </a:lnTo>
                      <a:lnTo>
                        <a:pt x="5183" y="9794"/>
                      </a:lnTo>
                      <a:lnTo>
                        <a:pt x="5183" y="9795"/>
                      </a:lnTo>
                      <a:lnTo>
                        <a:pt x="5183" y="9801"/>
                      </a:lnTo>
                      <a:lnTo>
                        <a:pt x="5182" y="9801"/>
                      </a:lnTo>
                      <a:lnTo>
                        <a:pt x="5182" y="9797"/>
                      </a:lnTo>
                      <a:lnTo>
                        <a:pt x="5142" y="9797"/>
                      </a:lnTo>
                      <a:lnTo>
                        <a:pt x="5141" y="9800"/>
                      </a:lnTo>
                      <a:lnTo>
                        <a:pt x="5141" y="9994"/>
                      </a:lnTo>
                      <a:lnTo>
                        <a:pt x="5114" y="9994"/>
                      </a:lnTo>
                      <a:lnTo>
                        <a:pt x="5110" y="10003"/>
                      </a:lnTo>
                      <a:lnTo>
                        <a:pt x="5110" y="10287"/>
                      </a:lnTo>
                      <a:lnTo>
                        <a:pt x="5092" y="10287"/>
                      </a:lnTo>
                      <a:lnTo>
                        <a:pt x="5084" y="10302"/>
                      </a:lnTo>
                      <a:lnTo>
                        <a:pt x="5084" y="10407"/>
                      </a:lnTo>
                      <a:lnTo>
                        <a:pt x="5062" y="10407"/>
                      </a:lnTo>
                      <a:lnTo>
                        <a:pt x="5062" y="10124"/>
                      </a:lnTo>
                      <a:lnTo>
                        <a:pt x="5001" y="10124"/>
                      </a:lnTo>
                      <a:lnTo>
                        <a:pt x="4999" y="10128"/>
                      </a:lnTo>
                      <a:lnTo>
                        <a:pt x="4999" y="10407"/>
                      </a:lnTo>
                      <a:lnTo>
                        <a:pt x="4948" y="10407"/>
                      </a:lnTo>
                      <a:lnTo>
                        <a:pt x="4945" y="10413"/>
                      </a:lnTo>
                      <a:lnTo>
                        <a:pt x="4915" y="10413"/>
                      </a:lnTo>
                      <a:lnTo>
                        <a:pt x="4911" y="10420"/>
                      </a:lnTo>
                      <a:lnTo>
                        <a:pt x="4911" y="10848"/>
                      </a:lnTo>
                      <a:lnTo>
                        <a:pt x="4910" y="10851"/>
                      </a:lnTo>
                      <a:lnTo>
                        <a:pt x="4910" y="11641"/>
                      </a:lnTo>
                      <a:lnTo>
                        <a:pt x="4909" y="11643"/>
                      </a:lnTo>
                      <a:lnTo>
                        <a:pt x="4909" y="12763"/>
                      </a:lnTo>
                      <a:lnTo>
                        <a:pt x="4909" y="12765"/>
                      </a:lnTo>
                      <a:lnTo>
                        <a:pt x="4909" y="14498"/>
                      </a:lnTo>
                      <a:lnTo>
                        <a:pt x="4908" y="14500"/>
                      </a:lnTo>
                      <a:lnTo>
                        <a:pt x="4908" y="16895"/>
                      </a:lnTo>
                      <a:lnTo>
                        <a:pt x="4938" y="16895"/>
                      </a:lnTo>
                      <a:lnTo>
                        <a:pt x="4938" y="16897"/>
                      </a:lnTo>
                      <a:lnTo>
                        <a:pt x="4939" y="16897"/>
                      </a:lnTo>
                      <a:lnTo>
                        <a:pt x="4939" y="17276"/>
                      </a:lnTo>
                      <a:lnTo>
                        <a:pt x="4934" y="17276"/>
                      </a:lnTo>
                      <a:lnTo>
                        <a:pt x="4930" y="17277"/>
                      </a:lnTo>
                      <a:lnTo>
                        <a:pt x="4930" y="17294"/>
                      </a:lnTo>
                      <a:lnTo>
                        <a:pt x="4925" y="17295"/>
                      </a:lnTo>
                      <a:lnTo>
                        <a:pt x="4922" y="17295"/>
                      </a:lnTo>
                      <a:lnTo>
                        <a:pt x="4922" y="17872"/>
                      </a:lnTo>
                      <a:lnTo>
                        <a:pt x="4855" y="17872"/>
                      </a:lnTo>
                      <a:lnTo>
                        <a:pt x="4855" y="17828"/>
                      </a:lnTo>
                      <a:lnTo>
                        <a:pt x="4861" y="17801"/>
                      </a:lnTo>
                      <a:lnTo>
                        <a:pt x="4860" y="17801"/>
                      </a:lnTo>
                      <a:lnTo>
                        <a:pt x="4857" y="17801"/>
                      </a:lnTo>
                      <a:lnTo>
                        <a:pt x="4853" y="17800"/>
                      </a:lnTo>
                      <a:lnTo>
                        <a:pt x="4851" y="17800"/>
                      </a:lnTo>
                      <a:lnTo>
                        <a:pt x="4852" y="17626"/>
                      </a:lnTo>
                      <a:lnTo>
                        <a:pt x="4854" y="17625"/>
                      </a:lnTo>
                      <a:lnTo>
                        <a:pt x="4858" y="17617"/>
                      </a:lnTo>
                      <a:lnTo>
                        <a:pt x="4858" y="17608"/>
                      </a:lnTo>
                      <a:lnTo>
                        <a:pt x="4852" y="17607"/>
                      </a:lnTo>
                      <a:lnTo>
                        <a:pt x="4852" y="17594"/>
                      </a:lnTo>
                      <a:lnTo>
                        <a:pt x="4846" y="17572"/>
                      </a:lnTo>
                      <a:lnTo>
                        <a:pt x="4846" y="17560"/>
                      </a:lnTo>
                      <a:lnTo>
                        <a:pt x="4844" y="17548"/>
                      </a:lnTo>
                      <a:lnTo>
                        <a:pt x="4843" y="17548"/>
                      </a:lnTo>
                      <a:lnTo>
                        <a:pt x="4843" y="17541"/>
                      </a:lnTo>
                      <a:lnTo>
                        <a:pt x="4842" y="17541"/>
                      </a:lnTo>
                      <a:lnTo>
                        <a:pt x="4840" y="17451"/>
                      </a:lnTo>
                      <a:lnTo>
                        <a:pt x="4839" y="17451"/>
                      </a:lnTo>
                      <a:lnTo>
                        <a:pt x="4838" y="17451"/>
                      </a:lnTo>
                      <a:lnTo>
                        <a:pt x="4836" y="17541"/>
                      </a:lnTo>
                      <a:lnTo>
                        <a:pt x="4835" y="17541"/>
                      </a:lnTo>
                      <a:lnTo>
                        <a:pt x="4834" y="17548"/>
                      </a:lnTo>
                      <a:lnTo>
                        <a:pt x="4833" y="17548"/>
                      </a:lnTo>
                      <a:lnTo>
                        <a:pt x="4831" y="17560"/>
                      </a:lnTo>
                      <a:lnTo>
                        <a:pt x="4831" y="17572"/>
                      </a:lnTo>
                      <a:lnTo>
                        <a:pt x="4826" y="17594"/>
                      </a:lnTo>
                      <a:lnTo>
                        <a:pt x="4826" y="17607"/>
                      </a:lnTo>
                      <a:lnTo>
                        <a:pt x="4825" y="17607"/>
                      </a:lnTo>
                      <a:lnTo>
                        <a:pt x="4820" y="17608"/>
                      </a:lnTo>
                      <a:lnTo>
                        <a:pt x="4820" y="17617"/>
                      </a:lnTo>
                      <a:lnTo>
                        <a:pt x="4824" y="17625"/>
                      </a:lnTo>
                      <a:lnTo>
                        <a:pt x="4826" y="17625"/>
                      </a:lnTo>
                      <a:lnTo>
                        <a:pt x="4826" y="17800"/>
                      </a:lnTo>
                      <a:lnTo>
                        <a:pt x="4825" y="17800"/>
                      </a:lnTo>
                      <a:lnTo>
                        <a:pt x="4820" y="17800"/>
                      </a:lnTo>
                      <a:lnTo>
                        <a:pt x="4817" y="17801"/>
                      </a:lnTo>
                      <a:lnTo>
                        <a:pt x="4815" y="17801"/>
                      </a:lnTo>
                      <a:lnTo>
                        <a:pt x="4822" y="17828"/>
                      </a:lnTo>
                      <a:lnTo>
                        <a:pt x="4822" y="17872"/>
                      </a:lnTo>
                      <a:lnTo>
                        <a:pt x="4674" y="17872"/>
                      </a:lnTo>
                      <a:lnTo>
                        <a:pt x="4674" y="17857"/>
                      </a:lnTo>
                      <a:lnTo>
                        <a:pt x="4675" y="17829"/>
                      </a:lnTo>
                      <a:lnTo>
                        <a:pt x="4681" y="17802"/>
                      </a:lnTo>
                      <a:lnTo>
                        <a:pt x="4680" y="17802"/>
                      </a:lnTo>
                      <a:lnTo>
                        <a:pt x="4677" y="17802"/>
                      </a:lnTo>
                      <a:lnTo>
                        <a:pt x="4673" y="17801"/>
                      </a:lnTo>
                      <a:lnTo>
                        <a:pt x="4673" y="17688"/>
                      </a:lnTo>
                      <a:lnTo>
                        <a:pt x="4675" y="17688"/>
                      </a:lnTo>
                      <a:lnTo>
                        <a:pt x="4675" y="17680"/>
                      </a:lnTo>
                      <a:lnTo>
                        <a:pt x="4674" y="17680"/>
                      </a:lnTo>
                      <a:lnTo>
                        <a:pt x="4672" y="17680"/>
                      </a:lnTo>
                      <a:lnTo>
                        <a:pt x="4669" y="17680"/>
                      </a:lnTo>
                      <a:lnTo>
                        <a:pt x="4670" y="17507"/>
                      </a:lnTo>
                      <a:lnTo>
                        <a:pt x="4674" y="17507"/>
                      </a:lnTo>
                      <a:lnTo>
                        <a:pt x="4677" y="17497"/>
                      </a:lnTo>
                      <a:lnTo>
                        <a:pt x="4677" y="17488"/>
                      </a:lnTo>
                      <a:lnTo>
                        <a:pt x="4675" y="17488"/>
                      </a:lnTo>
                      <a:lnTo>
                        <a:pt x="4670" y="17488"/>
                      </a:lnTo>
                      <a:lnTo>
                        <a:pt x="4670" y="17475"/>
                      </a:lnTo>
                      <a:lnTo>
                        <a:pt x="4665" y="17453"/>
                      </a:lnTo>
                      <a:lnTo>
                        <a:pt x="4665" y="17440"/>
                      </a:lnTo>
                      <a:lnTo>
                        <a:pt x="4653" y="17440"/>
                      </a:lnTo>
                      <a:lnTo>
                        <a:pt x="4655" y="17428"/>
                      </a:lnTo>
                      <a:lnTo>
                        <a:pt x="4656" y="17428"/>
                      </a:lnTo>
                      <a:lnTo>
                        <a:pt x="4657" y="17428"/>
                      </a:lnTo>
                      <a:lnTo>
                        <a:pt x="4658" y="17428"/>
                      </a:lnTo>
                      <a:lnTo>
                        <a:pt x="4659" y="17428"/>
                      </a:lnTo>
                      <a:lnTo>
                        <a:pt x="4660" y="17428"/>
                      </a:lnTo>
                      <a:lnTo>
                        <a:pt x="4660" y="17420"/>
                      </a:lnTo>
                      <a:lnTo>
                        <a:pt x="4659" y="17420"/>
                      </a:lnTo>
                      <a:lnTo>
                        <a:pt x="4658" y="17420"/>
                      </a:lnTo>
                      <a:lnTo>
                        <a:pt x="4657" y="17420"/>
                      </a:lnTo>
                      <a:lnTo>
                        <a:pt x="4658" y="17330"/>
                      </a:lnTo>
                      <a:lnTo>
                        <a:pt x="4656" y="17420"/>
                      </a:lnTo>
                      <a:lnTo>
                        <a:pt x="4655" y="17420"/>
                      </a:lnTo>
                      <a:lnTo>
                        <a:pt x="4654" y="17428"/>
                      </a:lnTo>
                      <a:lnTo>
                        <a:pt x="4652" y="17440"/>
                      </a:lnTo>
                      <a:lnTo>
                        <a:pt x="4652" y="17453"/>
                      </a:lnTo>
                      <a:lnTo>
                        <a:pt x="4647" y="17474"/>
                      </a:lnTo>
                      <a:lnTo>
                        <a:pt x="4647" y="17488"/>
                      </a:lnTo>
                      <a:lnTo>
                        <a:pt x="4640" y="17488"/>
                      </a:lnTo>
                      <a:lnTo>
                        <a:pt x="4640" y="17497"/>
                      </a:lnTo>
                      <a:lnTo>
                        <a:pt x="4644" y="17506"/>
                      </a:lnTo>
                      <a:lnTo>
                        <a:pt x="4646" y="17507"/>
                      </a:lnTo>
                      <a:lnTo>
                        <a:pt x="4647" y="17507"/>
                      </a:lnTo>
                      <a:lnTo>
                        <a:pt x="4647" y="17680"/>
                      </a:lnTo>
                      <a:lnTo>
                        <a:pt x="4645" y="17680"/>
                      </a:lnTo>
                      <a:lnTo>
                        <a:pt x="4643" y="17680"/>
                      </a:lnTo>
                      <a:lnTo>
                        <a:pt x="4641" y="17680"/>
                      </a:lnTo>
                      <a:lnTo>
                        <a:pt x="4641" y="17688"/>
                      </a:lnTo>
                      <a:lnTo>
                        <a:pt x="4642" y="17688"/>
                      </a:lnTo>
                      <a:lnTo>
                        <a:pt x="4643" y="17688"/>
                      </a:lnTo>
                      <a:lnTo>
                        <a:pt x="4643" y="17801"/>
                      </a:lnTo>
                      <a:lnTo>
                        <a:pt x="4640" y="17802"/>
                      </a:lnTo>
                      <a:lnTo>
                        <a:pt x="4637" y="17802"/>
                      </a:lnTo>
                      <a:lnTo>
                        <a:pt x="4611" y="17802"/>
                      </a:lnTo>
                      <a:lnTo>
                        <a:pt x="4600" y="17768"/>
                      </a:lnTo>
                      <a:lnTo>
                        <a:pt x="4586" y="17739"/>
                      </a:lnTo>
                      <a:lnTo>
                        <a:pt x="4571" y="17715"/>
                      </a:lnTo>
                      <a:lnTo>
                        <a:pt x="4555" y="17698"/>
                      </a:lnTo>
                      <a:lnTo>
                        <a:pt x="4539" y="17688"/>
                      </a:lnTo>
                      <a:lnTo>
                        <a:pt x="4538" y="17688"/>
                      </a:lnTo>
                      <a:lnTo>
                        <a:pt x="4521" y="17684"/>
                      </a:lnTo>
                      <a:lnTo>
                        <a:pt x="4504" y="17688"/>
                      </a:lnTo>
                      <a:lnTo>
                        <a:pt x="4487" y="17698"/>
                      </a:lnTo>
                      <a:lnTo>
                        <a:pt x="4471" y="17715"/>
                      </a:lnTo>
                      <a:lnTo>
                        <a:pt x="4456" y="17738"/>
                      </a:lnTo>
                      <a:lnTo>
                        <a:pt x="4443" y="17767"/>
                      </a:lnTo>
                      <a:lnTo>
                        <a:pt x="4431" y="17802"/>
                      </a:lnTo>
                      <a:lnTo>
                        <a:pt x="4408" y="17802"/>
                      </a:lnTo>
                      <a:lnTo>
                        <a:pt x="4407" y="17802"/>
                      </a:lnTo>
                      <a:lnTo>
                        <a:pt x="4403" y="17802"/>
                      </a:lnTo>
                      <a:lnTo>
                        <a:pt x="4403" y="17688"/>
                      </a:lnTo>
                      <a:lnTo>
                        <a:pt x="4404" y="17688"/>
                      </a:lnTo>
                      <a:lnTo>
                        <a:pt x="4405" y="17688"/>
                      </a:lnTo>
                      <a:lnTo>
                        <a:pt x="4405" y="17680"/>
                      </a:lnTo>
                      <a:lnTo>
                        <a:pt x="4404" y="17680"/>
                      </a:lnTo>
                      <a:lnTo>
                        <a:pt x="4402" y="17680"/>
                      </a:lnTo>
                      <a:lnTo>
                        <a:pt x="4399" y="17680"/>
                      </a:lnTo>
                      <a:lnTo>
                        <a:pt x="4399" y="17507"/>
                      </a:lnTo>
                      <a:lnTo>
                        <a:pt x="4403" y="17507"/>
                      </a:lnTo>
                      <a:lnTo>
                        <a:pt x="4407" y="17497"/>
                      </a:lnTo>
                      <a:lnTo>
                        <a:pt x="4407" y="17488"/>
                      </a:lnTo>
                      <a:lnTo>
                        <a:pt x="4405" y="17488"/>
                      </a:lnTo>
                      <a:lnTo>
                        <a:pt x="4399" y="17488"/>
                      </a:lnTo>
                      <a:lnTo>
                        <a:pt x="4399" y="17475"/>
                      </a:lnTo>
                      <a:lnTo>
                        <a:pt x="4395" y="17453"/>
                      </a:lnTo>
                      <a:lnTo>
                        <a:pt x="4395" y="17440"/>
                      </a:lnTo>
                      <a:lnTo>
                        <a:pt x="4383" y="17440"/>
                      </a:lnTo>
                      <a:lnTo>
                        <a:pt x="4384" y="17428"/>
                      </a:lnTo>
                      <a:lnTo>
                        <a:pt x="4385" y="17428"/>
                      </a:lnTo>
                      <a:lnTo>
                        <a:pt x="4386" y="17428"/>
                      </a:lnTo>
                      <a:lnTo>
                        <a:pt x="4387" y="17428"/>
                      </a:lnTo>
                      <a:lnTo>
                        <a:pt x="4388" y="17428"/>
                      </a:lnTo>
                      <a:lnTo>
                        <a:pt x="4389" y="17428"/>
                      </a:lnTo>
                      <a:lnTo>
                        <a:pt x="4389" y="17420"/>
                      </a:lnTo>
                      <a:lnTo>
                        <a:pt x="4388" y="17420"/>
                      </a:lnTo>
                      <a:lnTo>
                        <a:pt x="4387" y="17420"/>
                      </a:lnTo>
                      <a:lnTo>
                        <a:pt x="4386" y="17420"/>
                      </a:lnTo>
                      <a:lnTo>
                        <a:pt x="4388" y="17330"/>
                      </a:lnTo>
                      <a:lnTo>
                        <a:pt x="4386" y="17420"/>
                      </a:lnTo>
                      <a:lnTo>
                        <a:pt x="4385" y="17420"/>
                      </a:lnTo>
                      <a:lnTo>
                        <a:pt x="4384" y="17420"/>
                      </a:lnTo>
                      <a:lnTo>
                        <a:pt x="4384" y="17428"/>
                      </a:lnTo>
                      <a:lnTo>
                        <a:pt x="4383" y="17428"/>
                      </a:lnTo>
                      <a:lnTo>
                        <a:pt x="4381" y="17440"/>
                      </a:lnTo>
                      <a:lnTo>
                        <a:pt x="4381" y="17453"/>
                      </a:lnTo>
                      <a:lnTo>
                        <a:pt x="4377" y="17475"/>
                      </a:lnTo>
                      <a:lnTo>
                        <a:pt x="4377" y="17488"/>
                      </a:lnTo>
                      <a:lnTo>
                        <a:pt x="4370" y="17488"/>
                      </a:lnTo>
                      <a:lnTo>
                        <a:pt x="4370" y="17497"/>
                      </a:lnTo>
                      <a:lnTo>
                        <a:pt x="4373" y="17506"/>
                      </a:lnTo>
                      <a:lnTo>
                        <a:pt x="4375" y="17507"/>
                      </a:lnTo>
                      <a:lnTo>
                        <a:pt x="4377" y="17507"/>
                      </a:lnTo>
                      <a:lnTo>
                        <a:pt x="4377" y="17680"/>
                      </a:lnTo>
                      <a:lnTo>
                        <a:pt x="4375" y="17680"/>
                      </a:lnTo>
                      <a:lnTo>
                        <a:pt x="4372" y="17680"/>
                      </a:lnTo>
                      <a:lnTo>
                        <a:pt x="4371" y="17680"/>
                      </a:lnTo>
                      <a:lnTo>
                        <a:pt x="4370" y="17680"/>
                      </a:lnTo>
                      <a:lnTo>
                        <a:pt x="4370" y="17688"/>
                      </a:lnTo>
                      <a:lnTo>
                        <a:pt x="4371" y="17688"/>
                      </a:lnTo>
                      <a:lnTo>
                        <a:pt x="4373" y="17688"/>
                      </a:lnTo>
                      <a:lnTo>
                        <a:pt x="4372" y="17802"/>
                      </a:lnTo>
                      <a:lnTo>
                        <a:pt x="4370" y="17802"/>
                      </a:lnTo>
                      <a:lnTo>
                        <a:pt x="4366" y="17802"/>
                      </a:lnTo>
                      <a:lnTo>
                        <a:pt x="4365" y="17802"/>
                      </a:lnTo>
                      <a:lnTo>
                        <a:pt x="4364" y="17802"/>
                      </a:lnTo>
                      <a:lnTo>
                        <a:pt x="4371" y="17829"/>
                      </a:lnTo>
                      <a:lnTo>
                        <a:pt x="4371" y="17857"/>
                      </a:lnTo>
                      <a:lnTo>
                        <a:pt x="4371" y="17872"/>
                      </a:lnTo>
                      <a:lnTo>
                        <a:pt x="4205" y="17872"/>
                      </a:lnTo>
                      <a:lnTo>
                        <a:pt x="4205" y="17828"/>
                      </a:lnTo>
                      <a:lnTo>
                        <a:pt x="4211" y="17801"/>
                      </a:lnTo>
                      <a:lnTo>
                        <a:pt x="4210" y="17801"/>
                      </a:lnTo>
                      <a:lnTo>
                        <a:pt x="4208" y="17801"/>
                      </a:lnTo>
                      <a:lnTo>
                        <a:pt x="4204" y="17801"/>
                      </a:lnTo>
                      <a:lnTo>
                        <a:pt x="4201" y="17801"/>
                      </a:lnTo>
                      <a:lnTo>
                        <a:pt x="4201" y="17626"/>
                      </a:lnTo>
                      <a:lnTo>
                        <a:pt x="4203" y="17626"/>
                      </a:lnTo>
                      <a:lnTo>
                        <a:pt x="4207" y="17617"/>
                      </a:lnTo>
                      <a:lnTo>
                        <a:pt x="4207" y="17608"/>
                      </a:lnTo>
                      <a:lnTo>
                        <a:pt x="4202" y="17608"/>
                      </a:lnTo>
                      <a:lnTo>
                        <a:pt x="4201" y="17608"/>
                      </a:lnTo>
                      <a:lnTo>
                        <a:pt x="4201" y="17594"/>
                      </a:lnTo>
                      <a:lnTo>
                        <a:pt x="4195" y="17573"/>
                      </a:lnTo>
                      <a:lnTo>
                        <a:pt x="4195" y="17560"/>
                      </a:lnTo>
                      <a:lnTo>
                        <a:pt x="4195" y="17558"/>
                      </a:lnTo>
                      <a:lnTo>
                        <a:pt x="4198" y="16119"/>
                      </a:lnTo>
                      <a:lnTo>
                        <a:pt x="4114" y="15431"/>
                      </a:lnTo>
                      <a:lnTo>
                        <a:pt x="3920" y="15428"/>
                      </a:lnTo>
                      <a:lnTo>
                        <a:pt x="3821" y="15966"/>
                      </a:lnTo>
                      <a:lnTo>
                        <a:pt x="3821" y="15612"/>
                      </a:lnTo>
                      <a:lnTo>
                        <a:pt x="3597" y="15337"/>
                      </a:lnTo>
                      <a:lnTo>
                        <a:pt x="3597" y="14708"/>
                      </a:lnTo>
                      <a:lnTo>
                        <a:pt x="3284" y="14704"/>
                      </a:lnTo>
                      <a:lnTo>
                        <a:pt x="3290" y="16918"/>
                      </a:lnTo>
                      <a:lnTo>
                        <a:pt x="3266" y="16917"/>
                      </a:lnTo>
                      <a:lnTo>
                        <a:pt x="2998" y="16908"/>
                      </a:lnTo>
                      <a:lnTo>
                        <a:pt x="2624" y="16897"/>
                      </a:lnTo>
                      <a:lnTo>
                        <a:pt x="2550" y="16329"/>
                      </a:lnTo>
                      <a:lnTo>
                        <a:pt x="2445" y="16322"/>
                      </a:lnTo>
                      <a:lnTo>
                        <a:pt x="2189" y="16308"/>
                      </a:lnTo>
                      <a:lnTo>
                        <a:pt x="1440" y="16266"/>
                      </a:lnTo>
                      <a:lnTo>
                        <a:pt x="1260" y="16644"/>
                      </a:lnTo>
                      <a:lnTo>
                        <a:pt x="1233" y="16700"/>
                      </a:lnTo>
                      <a:lnTo>
                        <a:pt x="1141" y="16893"/>
                      </a:lnTo>
                      <a:lnTo>
                        <a:pt x="1141" y="16913"/>
                      </a:lnTo>
                      <a:lnTo>
                        <a:pt x="1078" y="16912"/>
                      </a:lnTo>
                      <a:lnTo>
                        <a:pt x="908" y="16907"/>
                      </a:lnTo>
                      <a:lnTo>
                        <a:pt x="694" y="17333"/>
                      </a:lnTo>
                      <a:lnTo>
                        <a:pt x="662" y="17397"/>
                      </a:lnTo>
                      <a:lnTo>
                        <a:pt x="553" y="17617"/>
                      </a:lnTo>
                      <a:lnTo>
                        <a:pt x="641" y="17621"/>
                      </a:lnTo>
                      <a:lnTo>
                        <a:pt x="642" y="17874"/>
                      </a:lnTo>
                      <a:lnTo>
                        <a:pt x="411" y="17874"/>
                      </a:lnTo>
                      <a:lnTo>
                        <a:pt x="411" y="17873"/>
                      </a:lnTo>
                      <a:lnTo>
                        <a:pt x="409" y="17595"/>
                      </a:lnTo>
                      <a:lnTo>
                        <a:pt x="413" y="17595"/>
                      </a:lnTo>
                      <a:lnTo>
                        <a:pt x="413" y="17594"/>
                      </a:lnTo>
                      <a:lnTo>
                        <a:pt x="416" y="17594"/>
                      </a:lnTo>
                      <a:lnTo>
                        <a:pt x="413" y="17580"/>
                      </a:lnTo>
                      <a:lnTo>
                        <a:pt x="415" y="17566"/>
                      </a:lnTo>
                      <a:lnTo>
                        <a:pt x="423" y="17549"/>
                      </a:lnTo>
                      <a:lnTo>
                        <a:pt x="436" y="17539"/>
                      </a:lnTo>
                      <a:lnTo>
                        <a:pt x="436" y="17536"/>
                      </a:lnTo>
                      <a:lnTo>
                        <a:pt x="436" y="17534"/>
                      </a:lnTo>
                      <a:lnTo>
                        <a:pt x="436" y="17532"/>
                      </a:lnTo>
                      <a:lnTo>
                        <a:pt x="437" y="17530"/>
                      </a:lnTo>
                      <a:lnTo>
                        <a:pt x="438" y="17531"/>
                      </a:lnTo>
                      <a:lnTo>
                        <a:pt x="439" y="17532"/>
                      </a:lnTo>
                      <a:lnTo>
                        <a:pt x="443" y="17532"/>
                      </a:lnTo>
                      <a:lnTo>
                        <a:pt x="452" y="17530"/>
                      </a:lnTo>
                      <a:lnTo>
                        <a:pt x="453" y="17525"/>
                      </a:lnTo>
                      <a:lnTo>
                        <a:pt x="455" y="17520"/>
                      </a:lnTo>
                      <a:lnTo>
                        <a:pt x="456" y="17516"/>
                      </a:lnTo>
                      <a:lnTo>
                        <a:pt x="457" y="17512"/>
                      </a:lnTo>
                      <a:lnTo>
                        <a:pt x="459" y="17508"/>
                      </a:lnTo>
                      <a:lnTo>
                        <a:pt x="460" y="17505"/>
                      </a:lnTo>
                      <a:lnTo>
                        <a:pt x="462" y="17502"/>
                      </a:lnTo>
                      <a:lnTo>
                        <a:pt x="464" y="17500"/>
                      </a:lnTo>
                      <a:lnTo>
                        <a:pt x="466" y="17498"/>
                      </a:lnTo>
                      <a:lnTo>
                        <a:pt x="468" y="17497"/>
                      </a:lnTo>
                      <a:lnTo>
                        <a:pt x="470" y="17496"/>
                      </a:lnTo>
                      <a:lnTo>
                        <a:pt x="472" y="17496"/>
                      </a:lnTo>
                      <a:lnTo>
                        <a:pt x="472" y="17484"/>
                      </a:lnTo>
                      <a:lnTo>
                        <a:pt x="472" y="17476"/>
                      </a:lnTo>
                      <a:lnTo>
                        <a:pt x="408" y="17451"/>
                      </a:lnTo>
                      <a:lnTo>
                        <a:pt x="407" y="17354"/>
                      </a:lnTo>
                      <a:lnTo>
                        <a:pt x="406" y="17335"/>
                      </a:lnTo>
                      <a:lnTo>
                        <a:pt x="403" y="17335"/>
                      </a:lnTo>
                      <a:lnTo>
                        <a:pt x="401" y="17144"/>
                      </a:lnTo>
                      <a:lnTo>
                        <a:pt x="403" y="17136"/>
                      </a:lnTo>
                      <a:lnTo>
                        <a:pt x="402" y="17136"/>
                      </a:lnTo>
                      <a:lnTo>
                        <a:pt x="400" y="17136"/>
                      </a:lnTo>
                      <a:lnTo>
                        <a:pt x="400" y="17124"/>
                      </a:lnTo>
                      <a:lnTo>
                        <a:pt x="403" y="17115"/>
                      </a:lnTo>
                      <a:lnTo>
                        <a:pt x="400" y="17108"/>
                      </a:lnTo>
                      <a:lnTo>
                        <a:pt x="400" y="17100"/>
                      </a:lnTo>
                      <a:lnTo>
                        <a:pt x="399" y="17100"/>
                      </a:lnTo>
                      <a:lnTo>
                        <a:pt x="399" y="17099"/>
                      </a:lnTo>
                      <a:lnTo>
                        <a:pt x="400" y="17096"/>
                      </a:lnTo>
                      <a:lnTo>
                        <a:pt x="401" y="17094"/>
                      </a:lnTo>
                      <a:lnTo>
                        <a:pt x="401" y="17091"/>
                      </a:lnTo>
                      <a:lnTo>
                        <a:pt x="401" y="17089"/>
                      </a:lnTo>
                      <a:lnTo>
                        <a:pt x="401" y="17086"/>
                      </a:lnTo>
                      <a:lnTo>
                        <a:pt x="401" y="17083"/>
                      </a:lnTo>
                      <a:lnTo>
                        <a:pt x="400" y="17081"/>
                      </a:lnTo>
                      <a:lnTo>
                        <a:pt x="399" y="17079"/>
                      </a:lnTo>
                      <a:lnTo>
                        <a:pt x="399" y="17078"/>
                      </a:lnTo>
                      <a:lnTo>
                        <a:pt x="397" y="17049"/>
                      </a:lnTo>
                      <a:lnTo>
                        <a:pt x="396" y="17049"/>
                      </a:lnTo>
                      <a:lnTo>
                        <a:pt x="395" y="17071"/>
                      </a:lnTo>
                      <a:lnTo>
                        <a:pt x="393" y="17047"/>
                      </a:lnTo>
                      <a:lnTo>
                        <a:pt x="392" y="17047"/>
                      </a:lnTo>
                      <a:lnTo>
                        <a:pt x="391" y="17076"/>
                      </a:lnTo>
                      <a:lnTo>
                        <a:pt x="391" y="17077"/>
                      </a:lnTo>
                      <a:lnTo>
                        <a:pt x="390" y="17079"/>
                      </a:lnTo>
                      <a:lnTo>
                        <a:pt x="389" y="17081"/>
                      </a:lnTo>
                      <a:lnTo>
                        <a:pt x="389" y="17084"/>
                      </a:lnTo>
                      <a:lnTo>
                        <a:pt x="389" y="17087"/>
                      </a:lnTo>
                      <a:lnTo>
                        <a:pt x="389" y="17090"/>
                      </a:lnTo>
                      <a:lnTo>
                        <a:pt x="390" y="17093"/>
                      </a:lnTo>
                      <a:lnTo>
                        <a:pt x="390" y="17095"/>
                      </a:lnTo>
                      <a:lnTo>
                        <a:pt x="391" y="17096"/>
                      </a:lnTo>
                      <a:lnTo>
                        <a:pt x="391" y="17098"/>
                      </a:lnTo>
                      <a:lnTo>
                        <a:pt x="391" y="17107"/>
                      </a:lnTo>
                      <a:lnTo>
                        <a:pt x="388" y="17113"/>
                      </a:lnTo>
                      <a:lnTo>
                        <a:pt x="391" y="17122"/>
                      </a:lnTo>
                      <a:lnTo>
                        <a:pt x="391" y="17135"/>
                      </a:lnTo>
                      <a:lnTo>
                        <a:pt x="390" y="17135"/>
                      </a:lnTo>
                      <a:lnTo>
                        <a:pt x="389" y="17135"/>
                      </a:lnTo>
                      <a:lnTo>
                        <a:pt x="388" y="17135"/>
                      </a:lnTo>
                      <a:lnTo>
                        <a:pt x="390" y="17142"/>
                      </a:lnTo>
                      <a:lnTo>
                        <a:pt x="392" y="17334"/>
                      </a:lnTo>
                      <a:lnTo>
                        <a:pt x="389" y="17334"/>
                      </a:lnTo>
                      <a:lnTo>
                        <a:pt x="389" y="17353"/>
                      </a:lnTo>
                      <a:lnTo>
                        <a:pt x="386" y="17353"/>
                      </a:lnTo>
                      <a:lnTo>
                        <a:pt x="385" y="17288"/>
                      </a:lnTo>
                      <a:lnTo>
                        <a:pt x="380" y="17288"/>
                      </a:lnTo>
                      <a:lnTo>
                        <a:pt x="373" y="17288"/>
                      </a:lnTo>
                      <a:lnTo>
                        <a:pt x="377" y="17264"/>
                      </a:lnTo>
                      <a:lnTo>
                        <a:pt x="380" y="17239"/>
                      </a:lnTo>
                      <a:lnTo>
                        <a:pt x="381" y="17213"/>
                      </a:lnTo>
                      <a:lnTo>
                        <a:pt x="380" y="17187"/>
                      </a:lnTo>
                      <a:lnTo>
                        <a:pt x="378" y="17161"/>
                      </a:lnTo>
                      <a:lnTo>
                        <a:pt x="374" y="17136"/>
                      </a:lnTo>
                      <a:lnTo>
                        <a:pt x="369" y="17113"/>
                      </a:lnTo>
                      <a:lnTo>
                        <a:pt x="363" y="17094"/>
                      </a:lnTo>
                      <a:lnTo>
                        <a:pt x="363" y="17093"/>
                      </a:lnTo>
                      <a:lnTo>
                        <a:pt x="364" y="17089"/>
                      </a:lnTo>
                      <a:lnTo>
                        <a:pt x="363" y="17087"/>
                      </a:lnTo>
                      <a:lnTo>
                        <a:pt x="363" y="17084"/>
                      </a:lnTo>
                      <a:lnTo>
                        <a:pt x="362" y="17082"/>
                      </a:lnTo>
                      <a:lnTo>
                        <a:pt x="361" y="17080"/>
                      </a:lnTo>
                      <a:lnTo>
                        <a:pt x="361" y="17078"/>
                      </a:lnTo>
                      <a:lnTo>
                        <a:pt x="359" y="17050"/>
                      </a:lnTo>
                      <a:lnTo>
                        <a:pt x="358" y="17050"/>
                      </a:lnTo>
                      <a:lnTo>
                        <a:pt x="357" y="17078"/>
                      </a:lnTo>
                      <a:lnTo>
                        <a:pt x="357" y="17080"/>
                      </a:lnTo>
                      <a:lnTo>
                        <a:pt x="354" y="17075"/>
                      </a:lnTo>
                      <a:lnTo>
                        <a:pt x="351" y="17068"/>
                      </a:lnTo>
                      <a:lnTo>
                        <a:pt x="349" y="17046"/>
                      </a:lnTo>
                      <a:lnTo>
                        <a:pt x="348" y="17046"/>
                      </a:lnTo>
                      <a:lnTo>
                        <a:pt x="347" y="17063"/>
                      </a:lnTo>
                      <a:lnTo>
                        <a:pt x="346" y="17060"/>
                      </a:lnTo>
                      <a:lnTo>
                        <a:pt x="344" y="17058"/>
                      </a:lnTo>
                      <a:lnTo>
                        <a:pt x="343" y="17009"/>
                      </a:lnTo>
                      <a:lnTo>
                        <a:pt x="342" y="17008"/>
                      </a:lnTo>
                      <a:lnTo>
                        <a:pt x="341" y="17008"/>
                      </a:lnTo>
                      <a:lnTo>
                        <a:pt x="341" y="17004"/>
                      </a:lnTo>
                      <a:lnTo>
                        <a:pt x="341" y="16998"/>
                      </a:lnTo>
                      <a:lnTo>
                        <a:pt x="341" y="16991"/>
                      </a:lnTo>
                      <a:lnTo>
                        <a:pt x="340" y="16985"/>
                      </a:lnTo>
                      <a:lnTo>
                        <a:pt x="338" y="16981"/>
                      </a:lnTo>
                      <a:lnTo>
                        <a:pt x="336" y="16977"/>
                      </a:lnTo>
                      <a:lnTo>
                        <a:pt x="331" y="16971"/>
                      </a:lnTo>
                      <a:lnTo>
                        <a:pt x="332" y="16971"/>
                      </a:lnTo>
                      <a:lnTo>
                        <a:pt x="334" y="16970"/>
                      </a:lnTo>
                      <a:lnTo>
                        <a:pt x="335" y="16968"/>
                      </a:lnTo>
                      <a:lnTo>
                        <a:pt x="335" y="16966"/>
                      </a:lnTo>
                      <a:lnTo>
                        <a:pt x="336" y="16963"/>
                      </a:lnTo>
                      <a:lnTo>
                        <a:pt x="336" y="16960"/>
                      </a:lnTo>
                      <a:lnTo>
                        <a:pt x="336" y="16957"/>
                      </a:lnTo>
                      <a:lnTo>
                        <a:pt x="335" y="16954"/>
                      </a:lnTo>
                      <a:lnTo>
                        <a:pt x="334" y="16952"/>
                      </a:lnTo>
                      <a:lnTo>
                        <a:pt x="333" y="16950"/>
                      </a:lnTo>
                      <a:lnTo>
                        <a:pt x="332" y="16949"/>
                      </a:lnTo>
                      <a:lnTo>
                        <a:pt x="331" y="16949"/>
                      </a:lnTo>
                      <a:lnTo>
                        <a:pt x="330" y="16949"/>
                      </a:lnTo>
                      <a:lnTo>
                        <a:pt x="331" y="16925"/>
                      </a:lnTo>
                      <a:lnTo>
                        <a:pt x="330" y="16925"/>
                      </a:lnTo>
                      <a:lnTo>
                        <a:pt x="329" y="16925"/>
                      </a:lnTo>
                      <a:lnTo>
                        <a:pt x="328" y="16925"/>
                      </a:lnTo>
                      <a:lnTo>
                        <a:pt x="329" y="16917"/>
                      </a:lnTo>
                      <a:lnTo>
                        <a:pt x="325" y="16794"/>
                      </a:lnTo>
                      <a:lnTo>
                        <a:pt x="324" y="16794"/>
                      </a:lnTo>
                      <a:lnTo>
                        <a:pt x="323" y="16794"/>
                      </a:lnTo>
                      <a:lnTo>
                        <a:pt x="322" y="16794"/>
                      </a:lnTo>
                      <a:lnTo>
                        <a:pt x="321" y="16917"/>
                      </a:lnTo>
                      <a:lnTo>
                        <a:pt x="322" y="16925"/>
                      </a:lnTo>
                      <a:lnTo>
                        <a:pt x="321" y="16925"/>
                      </a:lnTo>
                      <a:lnTo>
                        <a:pt x="320" y="16925"/>
                      </a:lnTo>
                      <a:lnTo>
                        <a:pt x="319" y="16925"/>
                      </a:lnTo>
                      <a:lnTo>
                        <a:pt x="318" y="16925"/>
                      </a:lnTo>
                      <a:lnTo>
                        <a:pt x="320" y="16949"/>
                      </a:lnTo>
                      <a:lnTo>
                        <a:pt x="319" y="16949"/>
                      </a:lnTo>
                      <a:lnTo>
                        <a:pt x="318" y="16949"/>
                      </a:lnTo>
                      <a:lnTo>
                        <a:pt x="317" y="16950"/>
                      </a:lnTo>
                      <a:lnTo>
                        <a:pt x="316" y="16952"/>
                      </a:lnTo>
                      <a:lnTo>
                        <a:pt x="315" y="16954"/>
                      </a:lnTo>
                      <a:lnTo>
                        <a:pt x="315" y="16957"/>
                      </a:lnTo>
                      <a:lnTo>
                        <a:pt x="314" y="16960"/>
                      </a:lnTo>
                      <a:lnTo>
                        <a:pt x="315" y="16963"/>
                      </a:lnTo>
                      <a:lnTo>
                        <a:pt x="315" y="16966"/>
                      </a:lnTo>
                      <a:lnTo>
                        <a:pt x="316" y="16968"/>
                      </a:lnTo>
                      <a:lnTo>
                        <a:pt x="317" y="16970"/>
                      </a:lnTo>
                      <a:lnTo>
                        <a:pt x="318" y="16971"/>
                      </a:lnTo>
                      <a:lnTo>
                        <a:pt x="319" y="16971"/>
                      </a:lnTo>
                      <a:lnTo>
                        <a:pt x="318" y="16973"/>
                      </a:lnTo>
                      <a:lnTo>
                        <a:pt x="317" y="16974"/>
                      </a:lnTo>
                      <a:lnTo>
                        <a:pt x="315" y="16976"/>
                      </a:lnTo>
                      <a:lnTo>
                        <a:pt x="313" y="16980"/>
                      </a:lnTo>
                      <a:lnTo>
                        <a:pt x="311" y="16985"/>
                      </a:lnTo>
                      <a:lnTo>
                        <a:pt x="310" y="16991"/>
                      </a:lnTo>
                      <a:lnTo>
                        <a:pt x="310" y="16997"/>
                      </a:lnTo>
                      <a:lnTo>
                        <a:pt x="310" y="17004"/>
                      </a:lnTo>
                      <a:lnTo>
                        <a:pt x="311" y="17008"/>
                      </a:lnTo>
                      <a:lnTo>
                        <a:pt x="310" y="17008"/>
                      </a:lnTo>
                      <a:lnTo>
                        <a:pt x="308" y="17008"/>
                      </a:lnTo>
                      <a:lnTo>
                        <a:pt x="309" y="17058"/>
                      </a:lnTo>
                      <a:lnTo>
                        <a:pt x="307" y="17060"/>
                      </a:lnTo>
                      <a:lnTo>
                        <a:pt x="303" y="17066"/>
                      </a:lnTo>
                      <a:lnTo>
                        <a:pt x="302" y="17050"/>
                      </a:lnTo>
                      <a:lnTo>
                        <a:pt x="301" y="17050"/>
                      </a:lnTo>
                      <a:lnTo>
                        <a:pt x="300" y="17071"/>
                      </a:lnTo>
                      <a:lnTo>
                        <a:pt x="298" y="17074"/>
                      </a:lnTo>
                      <a:lnTo>
                        <a:pt x="297" y="17077"/>
                      </a:lnTo>
                      <a:lnTo>
                        <a:pt x="296" y="17075"/>
                      </a:lnTo>
                      <a:lnTo>
                        <a:pt x="296" y="17073"/>
                      </a:lnTo>
                      <a:lnTo>
                        <a:pt x="294" y="17045"/>
                      </a:lnTo>
                      <a:lnTo>
                        <a:pt x="293" y="17045"/>
                      </a:lnTo>
                      <a:lnTo>
                        <a:pt x="291" y="17073"/>
                      </a:lnTo>
                      <a:lnTo>
                        <a:pt x="291" y="17075"/>
                      </a:lnTo>
                      <a:lnTo>
                        <a:pt x="292" y="17075"/>
                      </a:lnTo>
                      <a:lnTo>
                        <a:pt x="291" y="17075"/>
                      </a:lnTo>
                      <a:lnTo>
                        <a:pt x="291" y="17077"/>
                      </a:lnTo>
                      <a:lnTo>
                        <a:pt x="290" y="17079"/>
                      </a:lnTo>
                      <a:lnTo>
                        <a:pt x="289" y="17082"/>
                      </a:lnTo>
                      <a:lnTo>
                        <a:pt x="289" y="17085"/>
                      </a:lnTo>
                      <a:lnTo>
                        <a:pt x="290" y="17088"/>
                      </a:lnTo>
                      <a:lnTo>
                        <a:pt x="290" y="17090"/>
                      </a:lnTo>
                      <a:lnTo>
                        <a:pt x="290" y="17091"/>
                      </a:lnTo>
                      <a:lnTo>
                        <a:pt x="284" y="17112"/>
                      </a:lnTo>
                      <a:lnTo>
                        <a:pt x="279" y="17135"/>
                      </a:lnTo>
                      <a:lnTo>
                        <a:pt x="276" y="17160"/>
                      </a:lnTo>
                      <a:lnTo>
                        <a:pt x="274" y="17186"/>
                      </a:lnTo>
                      <a:lnTo>
                        <a:pt x="274" y="17212"/>
                      </a:lnTo>
                      <a:lnTo>
                        <a:pt x="276" y="17239"/>
                      </a:lnTo>
                      <a:lnTo>
                        <a:pt x="279" y="17264"/>
                      </a:lnTo>
                      <a:lnTo>
                        <a:pt x="283" y="17288"/>
                      </a:lnTo>
                      <a:lnTo>
                        <a:pt x="281" y="17288"/>
                      </a:lnTo>
                      <a:lnTo>
                        <a:pt x="274" y="17288"/>
                      </a:lnTo>
                      <a:lnTo>
                        <a:pt x="271" y="17288"/>
                      </a:lnTo>
                      <a:lnTo>
                        <a:pt x="271" y="17353"/>
                      </a:lnTo>
                      <a:lnTo>
                        <a:pt x="270" y="17353"/>
                      </a:lnTo>
                      <a:lnTo>
                        <a:pt x="270" y="17334"/>
                      </a:lnTo>
                      <a:lnTo>
                        <a:pt x="266" y="17334"/>
                      </a:lnTo>
                      <a:lnTo>
                        <a:pt x="265" y="17143"/>
                      </a:lnTo>
                      <a:lnTo>
                        <a:pt x="264" y="17143"/>
                      </a:lnTo>
                      <a:lnTo>
                        <a:pt x="266" y="17135"/>
                      </a:lnTo>
                      <a:lnTo>
                        <a:pt x="265" y="17135"/>
                      </a:lnTo>
                      <a:lnTo>
                        <a:pt x="264" y="17135"/>
                      </a:lnTo>
                      <a:lnTo>
                        <a:pt x="263" y="17135"/>
                      </a:lnTo>
                      <a:lnTo>
                        <a:pt x="263" y="17123"/>
                      </a:lnTo>
                      <a:lnTo>
                        <a:pt x="266" y="17113"/>
                      </a:lnTo>
                      <a:lnTo>
                        <a:pt x="263" y="17107"/>
                      </a:lnTo>
                      <a:lnTo>
                        <a:pt x="263" y="17099"/>
                      </a:lnTo>
                      <a:lnTo>
                        <a:pt x="262" y="17099"/>
                      </a:lnTo>
                      <a:lnTo>
                        <a:pt x="262" y="17097"/>
                      </a:lnTo>
                      <a:lnTo>
                        <a:pt x="263" y="17095"/>
                      </a:lnTo>
                      <a:lnTo>
                        <a:pt x="264" y="17093"/>
                      </a:lnTo>
                      <a:lnTo>
                        <a:pt x="264" y="17090"/>
                      </a:lnTo>
                      <a:lnTo>
                        <a:pt x="264" y="17087"/>
                      </a:lnTo>
                      <a:lnTo>
                        <a:pt x="264" y="17085"/>
                      </a:lnTo>
                      <a:lnTo>
                        <a:pt x="264" y="17082"/>
                      </a:lnTo>
                      <a:lnTo>
                        <a:pt x="263" y="17079"/>
                      </a:lnTo>
                      <a:lnTo>
                        <a:pt x="262" y="17078"/>
                      </a:lnTo>
                      <a:lnTo>
                        <a:pt x="262" y="17076"/>
                      </a:lnTo>
                      <a:lnTo>
                        <a:pt x="260" y="17048"/>
                      </a:lnTo>
                      <a:lnTo>
                        <a:pt x="259" y="17048"/>
                      </a:lnTo>
                      <a:lnTo>
                        <a:pt x="258" y="17073"/>
                      </a:lnTo>
                      <a:lnTo>
                        <a:pt x="256" y="17046"/>
                      </a:lnTo>
                      <a:lnTo>
                        <a:pt x="255" y="17046"/>
                      </a:lnTo>
                      <a:lnTo>
                        <a:pt x="254" y="17074"/>
                      </a:lnTo>
                      <a:lnTo>
                        <a:pt x="254" y="17076"/>
                      </a:lnTo>
                      <a:lnTo>
                        <a:pt x="253" y="17078"/>
                      </a:lnTo>
                      <a:lnTo>
                        <a:pt x="252" y="17080"/>
                      </a:lnTo>
                      <a:lnTo>
                        <a:pt x="252" y="17083"/>
                      </a:lnTo>
                      <a:lnTo>
                        <a:pt x="252" y="17085"/>
                      </a:lnTo>
                      <a:lnTo>
                        <a:pt x="252" y="17089"/>
                      </a:lnTo>
                      <a:lnTo>
                        <a:pt x="252" y="17091"/>
                      </a:lnTo>
                      <a:lnTo>
                        <a:pt x="253" y="17094"/>
                      </a:lnTo>
                      <a:lnTo>
                        <a:pt x="254" y="17095"/>
                      </a:lnTo>
                      <a:lnTo>
                        <a:pt x="254" y="17097"/>
                      </a:lnTo>
                      <a:lnTo>
                        <a:pt x="253" y="17097"/>
                      </a:lnTo>
                      <a:lnTo>
                        <a:pt x="253" y="17106"/>
                      </a:lnTo>
                      <a:lnTo>
                        <a:pt x="251" y="17112"/>
                      </a:lnTo>
                      <a:lnTo>
                        <a:pt x="254" y="17121"/>
                      </a:lnTo>
                      <a:lnTo>
                        <a:pt x="254" y="17134"/>
                      </a:lnTo>
                      <a:lnTo>
                        <a:pt x="253" y="17134"/>
                      </a:lnTo>
                      <a:lnTo>
                        <a:pt x="252" y="17134"/>
                      </a:lnTo>
                      <a:lnTo>
                        <a:pt x="251" y="17134"/>
                      </a:lnTo>
                      <a:lnTo>
                        <a:pt x="253" y="17141"/>
                      </a:lnTo>
                      <a:lnTo>
                        <a:pt x="255" y="17334"/>
                      </a:lnTo>
                      <a:lnTo>
                        <a:pt x="251" y="17334"/>
                      </a:lnTo>
                      <a:lnTo>
                        <a:pt x="251" y="17353"/>
                      </a:lnTo>
                      <a:lnTo>
                        <a:pt x="250" y="17353"/>
                      </a:lnTo>
                      <a:lnTo>
                        <a:pt x="251" y="17451"/>
                      </a:lnTo>
                      <a:lnTo>
                        <a:pt x="250" y="17451"/>
                      </a:lnTo>
                      <a:lnTo>
                        <a:pt x="248" y="17451"/>
                      </a:lnTo>
                      <a:lnTo>
                        <a:pt x="247" y="17348"/>
                      </a:lnTo>
                      <a:lnTo>
                        <a:pt x="244" y="17348"/>
                      </a:lnTo>
                      <a:lnTo>
                        <a:pt x="243" y="17328"/>
                      </a:lnTo>
                      <a:lnTo>
                        <a:pt x="241" y="17328"/>
                      </a:lnTo>
                      <a:lnTo>
                        <a:pt x="239" y="17127"/>
                      </a:lnTo>
                      <a:lnTo>
                        <a:pt x="241" y="17119"/>
                      </a:lnTo>
                      <a:lnTo>
                        <a:pt x="240" y="17119"/>
                      </a:lnTo>
                      <a:lnTo>
                        <a:pt x="238" y="17119"/>
                      </a:lnTo>
                      <a:lnTo>
                        <a:pt x="238" y="17106"/>
                      </a:lnTo>
                      <a:lnTo>
                        <a:pt x="241" y="17096"/>
                      </a:lnTo>
                      <a:lnTo>
                        <a:pt x="238" y="17089"/>
                      </a:lnTo>
                      <a:lnTo>
                        <a:pt x="238" y="17081"/>
                      </a:lnTo>
                      <a:lnTo>
                        <a:pt x="237" y="17081"/>
                      </a:lnTo>
                      <a:lnTo>
                        <a:pt x="237" y="17079"/>
                      </a:lnTo>
                      <a:lnTo>
                        <a:pt x="238" y="17077"/>
                      </a:lnTo>
                      <a:lnTo>
                        <a:pt x="239" y="17075"/>
                      </a:lnTo>
                      <a:lnTo>
                        <a:pt x="240" y="17072"/>
                      </a:lnTo>
                      <a:lnTo>
                        <a:pt x="240" y="17068"/>
                      </a:lnTo>
                      <a:lnTo>
                        <a:pt x="240" y="17066"/>
                      </a:lnTo>
                      <a:lnTo>
                        <a:pt x="239" y="17062"/>
                      </a:lnTo>
                      <a:lnTo>
                        <a:pt x="238" y="17060"/>
                      </a:lnTo>
                      <a:lnTo>
                        <a:pt x="237" y="17058"/>
                      </a:lnTo>
                      <a:lnTo>
                        <a:pt x="237" y="17057"/>
                      </a:lnTo>
                      <a:lnTo>
                        <a:pt x="235" y="17027"/>
                      </a:lnTo>
                      <a:lnTo>
                        <a:pt x="234" y="17027"/>
                      </a:lnTo>
                      <a:lnTo>
                        <a:pt x="233" y="17057"/>
                      </a:lnTo>
                      <a:lnTo>
                        <a:pt x="233" y="17058"/>
                      </a:lnTo>
                      <a:lnTo>
                        <a:pt x="232" y="17060"/>
                      </a:lnTo>
                      <a:lnTo>
                        <a:pt x="231" y="17062"/>
                      </a:lnTo>
                      <a:lnTo>
                        <a:pt x="231" y="17065"/>
                      </a:lnTo>
                      <a:lnTo>
                        <a:pt x="230" y="17068"/>
                      </a:lnTo>
                      <a:lnTo>
                        <a:pt x="231" y="17072"/>
                      </a:lnTo>
                      <a:lnTo>
                        <a:pt x="231" y="17074"/>
                      </a:lnTo>
                      <a:lnTo>
                        <a:pt x="232" y="17077"/>
                      </a:lnTo>
                      <a:lnTo>
                        <a:pt x="233" y="17079"/>
                      </a:lnTo>
                      <a:lnTo>
                        <a:pt x="233" y="17080"/>
                      </a:lnTo>
                      <a:lnTo>
                        <a:pt x="232" y="17081"/>
                      </a:lnTo>
                      <a:lnTo>
                        <a:pt x="233" y="17089"/>
                      </a:lnTo>
                      <a:lnTo>
                        <a:pt x="229" y="17096"/>
                      </a:lnTo>
                      <a:lnTo>
                        <a:pt x="233" y="17106"/>
                      </a:lnTo>
                      <a:lnTo>
                        <a:pt x="233" y="17118"/>
                      </a:lnTo>
                      <a:lnTo>
                        <a:pt x="232" y="17118"/>
                      </a:lnTo>
                      <a:lnTo>
                        <a:pt x="231" y="17118"/>
                      </a:lnTo>
                      <a:lnTo>
                        <a:pt x="230" y="17119"/>
                      </a:lnTo>
                      <a:lnTo>
                        <a:pt x="232" y="17127"/>
                      </a:lnTo>
                      <a:lnTo>
                        <a:pt x="231" y="17127"/>
                      </a:lnTo>
                      <a:lnTo>
                        <a:pt x="233" y="17328"/>
                      </a:lnTo>
                      <a:lnTo>
                        <a:pt x="231" y="17328"/>
                      </a:lnTo>
                      <a:lnTo>
                        <a:pt x="231" y="17347"/>
                      </a:lnTo>
                      <a:lnTo>
                        <a:pt x="226" y="17347"/>
                      </a:lnTo>
                      <a:lnTo>
                        <a:pt x="225" y="17327"/>
                      </a:lnTo>
                      <a:lnTo>
                        <a:pt x="223" y="17327"/>
                      </a:lnTo>
                      <a:lnTo>
                        <a:pt x="221" y="17125"/>
                      </a:lnTo>
                      <a:lnTo>
                        <a:pt x="223" y="17117"/>
                      </a:lnTo>
                      <a:lnTo>
                        <a:pt x="222" y="17117"/>
                      </a:lnTo>
                      <a:lnTo>
                        <a:pt x="220" y="17117"/>
                      </a:lnTo>
                      <a:lnTo>
                        <a:pt x="220" y="17104"/>
                      </a:lnTo>
                      <a:lnTo>
                        <a:pt x="223" y="17094"/>
                      </a:lnTo>
                      <a:lnTo>
                        <a:pt x="220" y="17087"/>
                      </a:lnTo>
                      <a:lnTo>
                        <a:pt x="220" y="17078"/>
                      </a:lnTo>
                      <a:lnTo>
                        <a:pt x="219" y="17078"/>
                      </a:lnTo>
                      <a:lnTo>
                        <a:pt x="219" y="17077"/>
                      </a:lnTo>
                      <a:lnTo>
                        <a:pt x="220" y="17075"/>
                      </a:lnTo>
                      <a:lnTo>
                        <a:pt x="221" y="17072"/>
                      </a:lnTo>
                      <a:lnTo>
                        <a:pt x="222" y="17070"/>
                      </a:lnTo>
                      <a:lnTo>
                        <a:pt x="222" y="17067"/>
                      </a:lnTo>
                      <a:lnTo>
                        <a:pt x="221" y="17064"/>
                      </a:lnTo>
                      <a:lnTo>
                        <a:pt x="221" y="17061"/>
                      </a:lnTo>
                      <a:lnTo>
                        <a:pt x="220" y="17058"/>
                      </a:lnTo>
                      <a:lnTo>
                        <a:pt x="219" y="17056"/>
                      </a:lnTo>
                      <a:lnTo>
                        <a:pt x="219" y="17055"/>
                      </a:lnTo>
                      <a:lnTo>
                        <a:pt x="217" y="17025"/>
                      </a:lnTo>
                      <a:lnTo>
                        <a:pt x="216" y="17025"/>
                      </a:lnTo>
                      <a:lnTo>
                        <a:pt x="215" y="17055"/>
                      </a:lnTo>
                      <a:lnTo>
                        <a:pt x="215" y="17056"/>
                      </a:lnTo>
                      <a:lnTo>
                        <a:pt x="214" y="17058"/>
                      </a:lnTo>
                      <a:lnTo>
                        <a:pt x="213" y="17061"/>
                      </a:lnTo>
                      <a:lnTo>
                        <a:pt x="212" y="17063"/>
                      </a:lnTo>
                      <a:lnTo>
                        <a:pt x="212" y="17062"/>
                      </a:lnTo>
                      <a:lnTo>
                        <a:pt x="211" y="17060"/>
                      </a:lnTo>
                      <a:lnTo>
                        <a:pt x="211" y="17058"/>
                      </a:lnTo>
                      <a:lnTo>
                        <a:pt x="209" y="17029"/>
                      </a:lnTo>
                      <a:lnTo>
                        <a:pt x="208" y="17029"/>
                      </a:lnTo>
                      <a:lnTo>
                        <a:pt x="206" y="17058"/>
                      </a:lnTo>
                      <a:lnTo>
                        <a:pt x="206" y="17060"/>
                      </a:lnTo>
                      <a:lnTo>
                        <a:pt x="206" y="17062"/>
                      </a:lnTo>
                      <a:lnTo>
                        <a:pt x="205" y="17064"/>
                      </a:lnTo>
                      <a:lnTo>
                        <a:pt x="204" y="17067"/>
                      </a:lnTo>
                      <a:lnTo>
                        <a:pt x="204" y="17070"/>
                      </a:lnTo>
                      <a:lnTo>
                        <a:pt x="205" y="17073"/>
                      </a:lnTo>
                      <a:lnTo>
                        <a:pt x="205" y="17076"/>
                      </a:lnTo>
                      <a:lnTo>
                        <a:pt x="206" y="17078"/>
                      </a:lnTo>
                      <a:lnTo>
                        <a:pt x="207" y="17080"/>
                      </a:lnTo>
                      <a:lnTo>
                        <a:pt x="207" y="17082"/>
                      </a:lnTo>
                      <a:lnTo>
                        <a:pt x="206" y="17082"/>
                      </a:lnTo>
                      <a:lnTo>
                        <a:pt x="206" y="17091"/>
                      </a:lnTo>
                      <a:lnTo>
                        <a:pt x="203" y="17097"/>
                      </a:lnTo>
                      <a:lnTo>
                        <a:pt x="206" y="17107"/>
                      </a:lnTo>
                      <a:lnTo>
                        <a:pt x="207" y="17112"/>
                      </a:lnTo>
                      <a:lnTo>
                        <a:pt x="202" y="17094"/>
                      </a:lnTo>
                      <a:lnTo>
                        <a:pt x="195" y="17072"/>
                      </a:lnTo>
                      <a:lnTo>
                        <a:pt x="187" y="17054"/>
                      </a:lnTo>
                      <a:lnTo>
                        <a:pt x="178" y="17039"/>
                      </a:lnTo>
                      <a:lnTo>
                        <a:pt x="176" y="17037"/>
                      </a:lnTo>
                      <a:lnTo>
                        <a:pt x="175" y="16985"/>
                      </a:lnTo>
                      <a:lnTo>
                        <a:pt x="174" y="16984"/>
                      </a:lnTo>
                      <a:lnTo>
                        <a:pt x="172" y="16984"/>
                      </a:lnTo>
                      <a:lnTo>
                        <a:pt x="173" y="16980"/>
                      </a:lnTo>
                      <a:lnTo>
                        <a:pt x="173" y="16973"/>
                      </a:lnTo>
                      <a:lnTo>
                        <a:pt x="172" y="16967"/>
                      </a:lnTo>
                      <a:lnTo>
                        <a:pt x="171" y="16960"/>
                      </a:lnTo>
                      <a:lnTo>
                        <a:pt x="169" y="16955"/>
                      </a:lnTo>
                      <a:lnTo>
                        <a:pt x="167" y="16951"/>
                      </a:lnTo>
                      <a:lnTo>
                        <a:pt x="164" y="16947"/>
                      </a:lnTo>
                      <a:lnTo>
                        <a:pt x="163" y="16945"/>
                      </a:lnTo>
                      <a:lnTo>
                        <a:pt x="164" y="16945"/>
                      </a:lnTo>
                      <a:lnTo>
                        <a:pt x="165" y="16944"/>
                      </a:lnTo>
                      <a:lnTo>
                        <a:pt x="166" y="16942"/>
                      </a:lnTo>
                      <a:lnTo>
                        <a:pt x="167" y="16940"/>
                      </a:lnTo>
                      <a:lnTo>
                        <a:pt x="167" y="16937"/>
                      </a:lnTo>
                      <a:lnTo>
                        <a:pt x="168" y="16934"/>
                      </a:lnTo>
                      <a:lnTo>
                        <a:pt x="167" y="16930"/>
                      </a:lnTo>
                      <a:lnTo>
                        <a:pt x="167" y="16927"/>
                      </a:lnTo>
                      <a:lnTo>
                        <a:pt x="166" y="16925"/>
                      </a:lnTo>
                      <a:lnTo>
                        <a:pt x="165" y="16923"/>
                      </a:lnTo>
                      <a:lnTo>
                        <a:pt x="164" y="16922"/>
                      </a:lnTo>
                      <a:lnTo>
                        <a:pt x="163" y="16922"/>
                      </a:lnTo>
                      <a:lnTo>
                        <a:pt x="162" y="16922"/>
                      </a:lnTo>
                      <a:lnTo>
                        <a:pt x="161" y="16922"/>
                      </a:lnTo>
                      <a:lnTo>
                        <a:pt x="162" y="16897"/>
                      </a:lnTo>
                      <a:lnTo>
                        <a:pt x="161" y="16897"/>
                      </a:lnTo>
                      <a:lnTo>
                        <a:pt x="160" y="16897"/>
                      </a:lnTo>
                      <a:lnTo>
                        <a:pt x="159" y="16897"/>
                      </a:lnTo>
                      <a:lnTo>
                        <a:pt x="160" y="16888"/>
                      </a:lnTo>
                      <a:lnTo>
                        <a:pt x="156" y="16759"/>
                      </a:lnTo>
                      <a:lnTo>
                        <a:pt x="155" y="16759"/>
                      </a:lnTo>
                      <a:lnTo>
                        <a:pt x="154" y="16759"/>
                      </a:lnTo>
                      <a:lnTo>
                        <a:pt x="153" y="16759"/>
                      </a:lnTo>
                      <a:lnTo>
                        <a:pt x="151" y="16888"/>
                      </a:lnTo>
                      <a:lnTo>
                        <a:pt x="153" y="16897"/>
                      </a:lnTo>
                      <a:lnTo>
                        <a:pt x="152" y="16897"/>
                      </a:lnTo>
                      <a:lnTo>
                        <a:pt x="150" y="16897"/>
                      </a:lnTo>
                      <a:lnTo>
                        <a:pt x="149" y="16897"/>
                      </a:lnTo>
                      <a:lnTo>
                        <a:pt x="151" y="16922"/>
                      </a:lnTo>
                      <a:lnTo>
                        <a:pt x="150" y="16922"/>
                      </a:lnTo>
                      <a:lnTo>
                        <a:pt x="149" y="16922"/>
                      </a:lnTo>
                      <a:lnTo>
                        <a:pt x="148" y="16922"/>
                      </a:lnTo>
                      <a:lnTo>
                        <a:pt x="147" y="16923"/>
                      </a:lnTo>
                      <a:lnTo>
                        <a:pt x="146" y="16925"/>
                      </a:lnTo>
                      <a:lnTo>
                        <a:pt x="145" y="16927"/>
                      </a:lnTo>
                      <a:lnTo>
                        <a:pt x="145" y="16930"/>
                      </a:lnTo>
                      <a:lnTo>
                        <a:pt x="145" y="16933"/>
                      </a:lnTo>
                      <a:lnTo>
                        <a:pt x="145" y="16937"/>
                      </a:lnTo>
                      <a:lnTo>
                        <a:pt x="145" y="16940"/>
                      </a:lnTo>
                      <a:lnTo>
                        <a:pt x="146" y="16942"/>
                      </a:lnTo>
                      <a:lnTo>
                        <a:pt x="147" y="16944"/>
                      </a:lnTo>
                      <a:lnTo>
                        <a:pt x="149" y="16945"/>
                      </a:lnTo>
                      <a:lnTo>
                        <a:pt x="150" y="16945"/>
                      </a:lnTo>
                      <a:lnTo>
                        <a:pt x="145" y="16950"/>
                      </a:lnTo>
                      <a:lnTo>
                        <a:pt x="143" y="16955"/>
                      </a:lnTo>
                      <a:lnTo>
                        <a:pt x="141" y="16960"/>
                      </a:lnTo>
                      <a:lnTo>
                        <a:pt x="140" y="16966"/>
                      </a:lnTo>
                      <a:lnTo>
                        <a:pt x="140" y="16973"/>
                      </a:lnTo>
                      <a:lnTo>
                        <a:pt x="140" y="16979"/>
                      </a:lnTo>
                      <a:lnTo>
                        <a:pt x="141" y="16984"/>
                      </a:lnTo>
                      <a:lnTo>
                        <a:pt x="140" y="16984"/>
                      </a:lnTo>
                      <a:lnTo>
                        <a:pt x="138" y="16984"/>
                      </a:lnTo>
                      <a:lnTo>
                        <a:pt x="139" y="17036"/>
                      </a:lnTo>
                      <a:lnTo>
                        <a:pt x="136" y="17038"/>
                      </a:lnTo>
                      <a:lnTo>
                        <a:pt x="127" y="17053"/>
                      </a:lnTo>
                      <a:lnTo>
                        <a:pt x="119" y="17072"/>
                      </a:lnTo>
                      <a:lnTo>
                        <a:pt x="114" y="17091"/>
                      </a:lnTo>
                      <a:lnTo>
                        <a:pt x="111" y="17086"/>
                      </a:lnTo>
                      <a:lnTo>
                        <a:pt x="111" y="17077"/>
                      </a:lnTo>
                      <a:lnTo>
                        <a:pt x="111" y="17076"/>
                      </a:lnTo>
                      <a:lnTo>
                        <a:pt x="111" y="17073"/>
                      </a:lnTo>
                      <a:lnTo>
                        <a:pt x="112" y="17071"/>
                      </a:lnTo>
                      <a:lnTo>
                        <a:pt x="113" y="17068"/>
                      </a:lnTo>
                      <a:lnTo>
                        <a:pt x="113" y="17065"/>
                      </a:lnTo>
                      <a:lnTo>
                        <a:pt x="113" y="17062"/>
                      </a:lnTo>
                      <a:lnTo>
                        <a:pt x="112" y="17059"/>
                      </a:lnTo>
                      <a:lnTo>
                        <a:pt x="111" y="17056"/>
                      </a:lnTo>
                      <a:lnTo>
                        <a:pt x="110" y="17055"/>
                      </a:lnTo>
                      <a:lnTo>
                        <a:pt x="110" y="17053"/>
                      </a:lnTo>
                      <a:lnTo>
                        <a:pt x="108" y="17023"/>
                      </a:lnTo>
                      <a:lnTo>
                        <a:pt x="107" y="17023"/>
                      </a:lnTo>
                      <a:lnTo>
                        <a:pt x="106" y="17053"/>
                      </a:lnTo>
                      <a:lnTo>
                        <a:pt x="106" y="17055"/>
                      </a:lnTo>
                      <a:lnTo>
                        <a:pt x="105" y="17056"/>
                      </a:lnTo>
                      <a:lnTo>
                        <a:pt x="104" y="17059"/>
                      </a:lnTo>
                      <a:lnTo>
                        <a:pt x="103" y="17062"/>
                      </a:lnTo>
                      <a:lnTo>
                        <a:pt x="103" y="17065"/>
                      </a:lnTo>
                      <a:lnTo>
                        <a:pt x="104" y="17068"/>
                      </a:lnTo>
                      <a:lnTo>
                        <a:pt x="104" y="17071"/>
                      </a:lnTo>
                      <a:lnTo>
                        <a:pt x="105" y="17073"/>
                      </a:lnTo>
                      <a:lnTo>
                        <a:pt x="106" y="17076"/>
                      </a:lnTo>
                      <a:lnTo>
                        <a:pt x="106" y="17077"/>
                      </a:lnTo>
                      <a:lnTo>
                        <a:pt x="105" y="17077"/>
                      </a:lnTo>
                      <a:lnTo>
                        <a:pt x="106" y="17086"/>
                      </a:lnTo>
                      <a:lnTo>
                        <a:pt x="102" y="17092"/>
                      </a:lnTo>
                      <a:lnTo>
                        <a:pt x="103" y="17094"/>
                      </a:lnTo>
                      <a:lnTo>
                        <a:pt x="100" y="17089"/>
                      </a:lnTo>
                      <a:lnTo>
                        <a:pt x="100" y="17080"/>
                      </a:lnTo>
                      <a:lnTo>
                        <a:pt x="100" y="17079"/>
                      </a:lnTo>
                      <a:lnTo>
                        <a:pt x="101" y="17077"/>
                      </a:lnTo>
                      <a:lnTo>
                        <a:pt x="102" y="17074"/>
                      </a:lnTo>
                      <a:lnTo>
                        <a:pt x="102" y="17071"/>
                      </a:lnTo>
                      <a:lnTo>
                        <a:pt x="102" y="17068"/>
                      </a:lnTo>
                      <a:lnTo>
                        <a:pt x="102" y="17065"/>
                      </a:lnTo>
                      <a:lnTo>
                        <a:pt x="101" y="17062"/>
                      </a:lnTo>
                      <a:lnTo>
                        <a:pt x="101" y="17060"/>
                      </a:lnTo>
                      <a:lnTo>
                        <a:pt x="100" y="17058"/>
                      </a:lnTo>
                      <a:lnTo>
                        <a:pt x="100" y="17056"/>
                      </a:lnTo>
                      <a:lnTo>
                        <a:pt x="98" y="17027"/>
                      </a:lnTo>
                      <a:lnTo>
                        <a:pt x="97" y="17027"/>
                      </a:lnTo>
                      <a:lnTo>
                        <a:pt x="95" y="17056"/>
                      </a:lnTo>
                      <a:lnTo>
                        <a:pt x="95" y="17058"/>
                      </a:lnTo>
                      <a:lnTo>
                        <a:pt x="94" y="17060"/>
                      </a:lnTo>
                      <a:lnTo>
                        <a:pt x="94" y="17062"/>
                      </a:lnTo>
                      <a:lnTo>
                        <a:pt x="93" y="17065"/>
                      </a:lnTo>
                      <a:lnTo>
                        <a:pt x="93" y="17068"/>
                      </a:lnTo>
                      <a:lnTo>
                        <a:pt x="93" y="17071"/>
                      </a:lnTo>
                      <a:lnTo>
                        <a:pt x="94" y="17074"/>
                      </a:lnTo>
                      <a:lnTo>
                        <a:pt x="94" y="17077"/>
                      </a:lnTo>
                      <a:lnTo>
                        <a:pt x="95" y="17079"/>
                      </a:lnTo>
                      <a:lnTo>
                        <a:pt x="95" y="17080"/>
                      </a:lnTo>
                      <a:lnTo>
                        <a:pt x="95" y="17089"/>
                      </a:lnTo>
                      <a:lnTo>
                        <a:pt x="92" y="17096"/>
                      </a:lnTo>
                      <a:lnTo>
                        <a:pt x="95" y="17106"/>
                      </a:lnTo>
                      <a:lnTo>
                        <a:pt x="95" y="17118"/>
                      </a:lnTo>
                      <a:lnTo>
                        <a:pt x="94" y="17118"/>
                      </a:lnTo>
                      <a:lnTo>
                        <a:pt x="93" y="17118"/>
                      </a:lnTo>
                      <a:lnTo>
                        <a:pt x="92" y="17118"/>
                      </a:lnTo>
                      <a:lnTo>
                        <a:pt x="94" y="17127"/>
                      </a:lnTo>
                      <a:lnTo>
                        <a:pt x="96" y="17328"/>
                      </a:lnTo>
                      <a:lnTo>
                        <a:pt x="93" y="17328"/>
                      </a:lnTo>
                      <a:lnTo>
                        <a:pt x="94" y="17347"/>
                      </a:lnTo>
                      <a:lnTo>
                        <a:pt x="88" y="17347"/>
                      </a:lnTo>
                      <a:lnTo>
                        <a:pt x="87" y="17327"/>
                      </a:lnTo>
                      <a:lnTo>
                        <a:pt x="85" y="17327"/>
                      </a:lnTo>
                      <a:lnTo>
                        <a:pt x="83" y="17125"/>
                      </a:lnTo>
                      <a:lnTo>
                        <a:pt x="85" y="17117"/>
                      </a:lnTo>
                      <a:lnTo>
                        <a:pt x="84" y="17117"/>
                      </a:lnTo>
                      <a:lnTo>
                        <a:pt x="83" y="17117"/>
                      </a:lnTo>
                      <a:lnTo>
                        <a:pt x="82" y="17117"/>
                      </a:lnTo>
                      <a:lnTo>
                        <a:pt x="82" y="17104"/>
                      </a:lnTo>
                      <a:lnTo>
                        <a:pt x="85" y="17094"/>
                      </a:lnTo>
                      <a:lnTo>
                        <a:pt x="82" y="17087"/>
                      </a:lnTo>
                      <a:lnTo>
                        <a:pt x="82" y="17078"/>
                      </a:lnTo>
                      <a:lnTo>
                        <a:pt x="81" y="17078"/>
                      </a:lnTo>
                      <a:lnTo>
                        <a:pt x="81" y="17076"/>
                      </a:lnTo>
                      <a:lnTo>
                        <a:pt x="82" y="17075"/>
                      </a:lnTo>
                      <a:lnTo>
                        <a:pt x="83" y="17072"/>
                      </a:lnTo>
                      <a:lnTo>
                        <a:pt x="83" y="17069"/>
                      </a:lnTo>
                      <a:lnTo>
                        <a:pt x="83" y="17066"/>
                      </a:lnTo>
                      <a:lnTo>
                        <a:pt x="83" y="17064"/>
                      </a:lnTo>
                      <a:lnTo>
                        <a:pt x="83" y="17060"/>
                      </a:lnTo>
                      <a:lnTo>
                        <a:pt x="82" y="17058"/>
                      </a:lnTo>
                      <a:lnTo>
                        <a:pt x="81" y="17056"/>
                      </a:lnTo>
                      <a:lnTo>
                        <a:pt x="81" y="17054"/>
                      </a:lnTo>
                      <a:lnTo>
                        <a:pt x="79" y="17025"/>
                      </a:lnTo>
                      <a:lnTo>
                        <a:pt x="78" y="17025"/>
                      </a:lnTo>
                      <a:lnTo>
                        <a:pt x="76" y="17054"/>
                      </a:lnTo>
                      <a:lnTo>
                        <a:pt x="76" y="17056"/>
                      </a:lnTo>
                      <a:lnTo>
                        <a:pt x="75" y="17058"/>
                      </a:lnTo>
                      <a:lnTo>
                        <a:pt x="75" y="17060"/>
                      </a:lnTo>
                      <a:lnTo>
                        <a:pt x="74" y="17063"/>
                      </a:lnTo>
                      <a:lnTo>
                        <a:pt x="74" y="17066"/>
                      </a:lnTo>
                      <a:lnTo>
                        <a:pt x="74" y="17069"/>
                      </a:lnTo>
                      <a:lnTo>
                        <a:pt x="75" y="17072"/>
                      </a:lnTo>
                      <a:lnTo>
                        <a:pt x="76" y="17075"/>
                      </a:lnTo>
                      <a:lnTo>
                        <a:pt x="77" y="17076"/>
                      </a:lnTo>
                      <a:lnTo>
                        <a:pt x="77" y="17078"/>
                      </a:lnTo>
                      <a:lnTo>
                        <a:pt x="76" y="17078"/>
                      </a:lnTo>
                      <a:lnTo>
                        <a:pt x="76" y="17087"/>
                      </a:lnTo>
                      <a:lnTo>
                        <a:pt x="73" y="17094"/>
                      </a:lnTo>
                      <a:lnTo>
                        <a:pt x="76" y="17103"/>
                      </a:lnTo>
                      <a:lnTo>
                        <a:pt x="76" y="17117"/>
                      </a:lnTo>
                      <a:lnTo>
                        <a:pt x="75" y="17117"/>
                      </a:lnTo>
                      <a:lnTo>
                        <a:pt x="74" y="17117"/>
                      </a:lnTo>
                      <a:lnTo>
                        <a:pt x="75" y="17125"/>
                      </a:lnTo>
                      <a:lnTo>
                        <a:pt x="77" y="17327"/>
                      </a:lnTo>
                      <a:lnTo>
                        <a:pt x="75" y="17327"/>
                      </a:lnTo>
                      <a:lnTo>
                        <a:pt x="75" y="17347"/>
                      </a:lnTo>
                      <a:lnTo>
                        <a:pt x="72" y="17347"/>
                      </a:lnTo>
                      <a:lnTo>
                        <a:pt x="73" y="17451"/>
                      </a:lnTo>
                      <a:lnTo>
                        <a:pt x="0" y="17476"/>
                      </a:lnTo>
                      <a:lnTo>
                        <a:pt x="0" y="17485"/>
                      </a:lnTo>
                      <a:lnTo>
                        <a:pt x="0" y="17498"/>
                      </a:lnTo>
                      <a:lnTo>
                        <a:pt x="3" y="17498"/>
                      </a:lnTo>
                      <a:lnTo>
                        <a:pt x="5" y="17499"/>
                      </a:lnTo>
                      <a:lnTo>
                        <a:pt x="8" y="17501"/>
                      </a:lnTo>
                      <a:lnTo>
                        <a:pt x="10" y="17503"/>
                      </a:lnTo>
                      <a:lnTo>
                        <a:pt x="12" y="17505"/>
                      </a:lnTo>
                      <a:lnTo>
                        <a:pt x="14" y="17508"/>
                      </a:lnTo>
                      <a:lnTo>
                        <a:pt x="16" y="17511"/>
                      </a:lnTo>
                      <a:lnTo>
                        <a:pt x="18" y="17515"/>
                      </a:lnTo>
                      <a:lnTo>
                        <a:pt x="19" y="17520"/>
                      </a:lnTo>
                      <a:lnTo>
                        <a:pt x="21" y="17524"/>
                      </a:lnTo>
                      <a:lnTo>
                        <a:pt x="22" y="17529"/>
                      </a:lnTo>
                      <a:lnTo>
                        <a:pt x="24" y="17534"/>
                      </a:lnTo>
                      <a:lnTo>
                        <a:pt x="34" y="17536"/>
                      </a:lnTo>
                      <a:lnTo>
                        <a:pt x="35" y="17535"/>
                      </a:lnTo>
                      <a:lnTo>
                        <a:pt x="36" y="17534"/>
                      </a:lnTo>
                      <a:lnTo>
                        <a:pt x="37" y="17532"/>
                      </a:lnTo>
                      <a:lnTo>
                        <a:pt x="38" y="17532"/>
                      </a:lnTo>
                      <a:lnTo>
                        <a:pt x="39" y="17532"/>
                      </a:lnTo>
                      <a:lnTo>
                        <a:pt x="40" y="17532"/>
                      </a:lnTo>
                      <a:lnTo>
                        <a:pt x="40" y="17534"/>
                      </a:lnTo>
                      <a:lnTo>
                        <a:pt x="41" y="17535"/>
                      </a:lnTo>
                      <a:lnTo>
                        <a:pt x="42" y="17537"/>
                      </a:lnTo>
                      <a:lnTo>
                        <a:pt x="43" y="17539"/>
                      </a:lnTo>
                      <a:lnTo>
                        <a:pt x="43" y="17541"/>
                      </a:lnTo>
                      <a:lnTo>
                        <a:pt x="43" y="17544"/>
                      </a:lnTo>
                      <a:lnTo>
                        <a:pt x="57" y="17555"/>
                      </a:lnTo>
                      <a:lnTo>
                        <a:pt x="67" y="17572"/>
                      </a:lnTo>
                      <a:lnTo>
                        <a:pt x="70" y="17587"/>
                      </a:lnTo>
                      <a:lnTo>
                        <a:pt x="66" y="17602"/>
                      </a:lnTo>
                      <a:lnTo>
                        <a:pt x="75" y="17602"/>
                      </a:lnTo>
                      <a:lnTo>
                        <a:pt x="78" y="17898"/>
                      </a:lnTo>
                      <a:lnTo>
                        <a:pt x="85" y="18612"/>
                      </a:lnTo>
                      <a:lnTo>
                        <a:pt x="23" y="18612"/>
                      </a:lnTo>
                      <a:lnTo>
                        <a:pt x="23" y="21600"/>
                      </a:lnTo>
                      <a:lnTo>
                        <a:pt x="21600" y="21600"/>
                      </a:lnTo>
                      <a:lnTo>
                        <a:pt x="21600" y="18612"/>
                      </a:lnTo>
                      <a:cubicBezTo>
                        <a:pt x="21600" y="18612"/>
                        <a:pt x="21502" y="18612"/>
                        <a:pt x="21502" y="18612"/>
                      </a:cubicBezTo>
                      <a:close/>
                      <a:moveTo>
                        <a:pt x="21502" y="18612"/>
                      </a:moveTo>
                    </a:path>
                  </a:pathLst>
                </a:custGeom>
                <a:solidFill>
                  <a:srgbClr val="000000">
                    <a:alpha val="6999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  <a:solidFill>
                        <a:schemeClr val="tx1">
                          <a:alpha val="6999"/>
                        </a:schemeClr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1" name="îśḷîḑe">
                  <a:extLst>
                    <a:ext uri="{FF2B5EF4-FFF2-40B4-BE49-F238E27FC236}">
                      <a16:creationId xmlns:a16="http://schemas.microsoft.com/office/drawing/2014/main" id="{B6D293A9-9394-4F4B-A0E9-EB5AACB57319}"/>
                    </a:ext>
                  </a:extLst>
                </p:cNvPr>
                <p:cNvSpPr/>
                <p:nvPr/>
              </p:nvSpPr>
              <p:spPr bwMode="auto">
                <a:xfrm>
                  <a:off x="-342900" y="2858294"/>
                  <a:ext cx="7358857" cy="113744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8774"/>
                      </a:moveTo>
                      <a:lnTo>
                        <a:pt x="929" y="17564"/>
                      </a:lnTo>
                      <a:lnTo>
                        <a:pt x="929" y="11810"/>
                      </a:lnTo>
                      <a:lnTo>
                        <a:pt x="1530" y="11810"/>
                      </a:lnTo>
                      <a:lnTo>
                        <a:pt x="1536" y="14546"/>
                      </a:lnTo>
                      <a:lnTo>
                        <a:pt x="1674" y="14546"/>
                      </a:lnTo>
                      <a:lnTo>
                        <a:pt x="1890" y="13538"/>
                      </a:lnTo>
                      <a:lnTo>
                        <a:pt x="2047" y="13592"/>
                      </a:lnTo>
                      <a:lnTo>
                        <a:pt x="2266" y="14546"/>
                      </a:lnTo>
                      <a:lnTo>
                        <a:pt x="2267" y="16708"/>
                      </a:lnTo>
                      <a:lnTo>
                        <a:pt x="2480" y="16706"/>
                      </a:lnTo>
                      <a:lnTo>
                        <a:pt x="2481" y="15986"/>
                      </a:lnTo>
                      <a:lnTo>
                        <a:pt x="2559" y="15986"/>
                      </a:lnTo>
                      <a:lnTo>
                        <a:pt x="2559" y="16562"/>
                      </a:lnTo>
                      <a:lnTo>
                        <a:pt x="2913" y="16562"/>
                      </a:lnTo>
                      <a:lnTo>
                        <a:pt x="2913" y="14114"/>
                      </a:lnTo>
                      <a:lnTo>
                        <a:pt x="3424" y="14114"/>
                      </a:lnTo>
                      <a:lnTo>
                        <a:pt x="3424" y="14978"/>
                      </a:lnTo>
                      <a:lnTo>
                        <a:pt x="3542" y="14978"/>
                      </a:lnTo>
                      <a:lnTo>
                        <a:pt x="3545" y="16157"/>
                      </a:lnTo>
                      <a:lnTo>
                        <a:pt x="3937" y="16139"/>
                      </a:lnTo>
                      <a:lnTo>
                        <a:pt x="3942" y="13662"/>
                      </a:lnTo>
                      <a:lnTo>
                        <a:pt x="4441" y="13664"/>
                      </a:lnTo>
                      <a:lnTo>
                        <a:pt x="4447" y="15266"/>
                      </a:lnTo>
                      <a:lnTo>
                        <a:pt x="4772" y="15301"/>
                      </a:lnTo>
                      <a:lnTo>
                        <a:pt x="4776" y="17609"/>
                      </a:lnTo>
                      <a:lnTo>
                        <a:pt x="4939" y="17605"/>
                      </a:lnTo>
                      <a:lnTo>
                        <a:pt x="5367" y="14834"/>
                      </a:lnTo>
                      <a:lnTo>
                        <a:pt x="5367" y="12524"/>
                      </a:lnTo>
                      <a:lnTo>
                        <a:pt x="5816" y="13469"/>
                      </a:lnTo>
                      <a:lnTo>
                        <a:pt x="5962" y="13474"/>
                      </a:lnTo>
                      <a:lnTo>
                        <a:pt x="5962" y="13250"/>
                      </a:lnTo>
                      <a:lnTo>
                        <a:pt x="6028" y="13250"/>
                      </a:lnTo>
                      <a:lnTo>
                        <a:pt x="6028" y="12359"/>
                      </a:lnTo>
                      <a:lnTo>
                        <a:pt x="6139" y="12359"/>
                      </a:lnTo>
                      <a:lnTo>
                        <a:pt x="6136" y="9218"/>
                      </a:lnTo>
                      <a:lnTo>
                        <a:pt x="6218" y="9218"/>
                      </a:lnTo>
                      <a:lnTo>
                        <a:pt x="6336" y="8643"/>
                      </a:lnTo>
                      <a:lnTo>
                        <a:pt x="6336" y="9363"/>
                      </a:lnTo>
                      <a:lnTo>
                        <a:pt x="6407" y="9363"/>
                      </a:lnTo>
                      <a:lnTo>
                        <a:pt x="6413" y="11781"/>
                      </a:lnTo>
                      <a:lnTo>
                        <a:pt x="6664" y="11781"/>
                      </a:lnTo>
                      <a:lnTo>
                        <a:pt x="6665" y="13430"/>
                      </a:lnTo>
                      <a:lnTo>
                        <a:pt x="6734" y="13430"/>
                      </a:lnTo>
                      <a:lnTo>
                        <a:pt x="6729" y="9794"/>
                      </a:lnTo>
                      <a:lnTo>
                        <a:pt x="6808" y="9794"/>
                      </a:lnTo>
                      <a:lnTo>
                        <a:pt x="6808" y="5908"/>
                      </a:lnTo>
                      <a:cubicBezTo>
                        <a:pt x="6820" y="5911"/>
                        <a:pt x="6840" y="5904"/>
                        <a:pt x="6869" y="5889"/>
                      </a:cubicBezTo>
                      <a:cubicBezTo>
                        <a:pt x="6869" y="5122"/>
                        <a:pt x="6867" y="3850"/>
                        <a:pt x="6867" y="3083"/>
                      </a:cubicBezTo>
                      <a:cubicBezTo>
                        <a:pt x="6977" y="2239"/>
                        <a:pt x="6963" y="1430"/>
                        <a:pt x="6982" y="0"/>
                      </a:cubicBezTo>
                      <a:cubicBezTo>
                        <a:pt x="7001" y="1469"/>
                        <a:pt x="6971" y="2128"/>
                        <a:pt x="7086" y="3064"/>
                      </a:cubicBezTo>
                      <a:lnTo>
                        <a:pt x="7083" y="6051"/>
                      </a:lnTo>
                      <a:lnTo>
                        <a:pt x="7201" y="6051"/>
                      </a:lnTo>
                      <a:lnTo>
                        <a:pt x="7201" y="10226"/>
                      </a:lnTo>
                      <a:lnTo>
                        <a:pt x="7280" y="10226"/>
                      </a:lnTo>
                      <a:lnTo>
                        <a:pt x="7280" y="13430"/>
                      </a:lnTo>
                      <a:lnTo>
                        <a:pt x="7467" y="13430"/>
                      </a:lnTo>
                      <a:lnTo>
                        <a:pt x="7467" y="10173"/>
                      </a:lnTo>
                      <a:lnTo>
                        <a:pt x="7802" y="11222"/>
                      </a:lnTo>
                      <a:lnTo>
                        <a:pt x="8041" y="9970"/>
                      </a:lnTo>
                      <a:lnTo>
                        <a:pt x="8041" y="8359"/>
                      </a:lnTo>
                      <a:lnTo>
                        <a:pt x="8656" y="8360"/>
                      </a:lnTo>
                      <a:lnTo>
                        <a:pt x="8656" y="10545"/>
                      </a:lnTo>
                      <a:lnTo>
                        <a:pt x="8841" y="10545"/>
                      </a:lnTo>
                      <a:lnTo>
                        <a:pt x="8841" y="7288"/>
                      </a:lnTo>
                      <a:lnTo>
                        <a:pt x="9284" y="7268"/>
                      </a:lnTo>
                      <a:lnTo>
                        <a:pt x="9285" y="10009"/>
                      </a:lnTo>
                      <a:lnTo>
                        <a:pt x="9504" y="9965"/>
                      </a:lnTo>
                      <a:lnTo>
                        <a:pt x="9505" y="6423"/>
                      </a:lnTo>
                      <a:lnTo>
                        <a:pt x="9932" y="6383"/>
                      </a:lnTo>
                      <a:lnTo>
                        <a:pt x="9938" y="9218"/>
                      </a:lnTo>
                      <a:lnTo>
                        <a:pt x="10180" y="9218"/>
                      </a:lnTo>
                      <a:lnTo>
                        <a:pt x="10179" y="6299"/>
                      </a:lnTo>
                      <a:lnTo>
                        <a:pt x="10585" y="6319"/>
                      </a:lnTo>
                      <a:lnTo>
                        <a:pt x="10584" y="7371"/>
                      </a:lnTo>
                      <a:lnTo>
                        <a:pt x="10678" y="7371"/>
                      </a:lnTo>
                      <a:lnTo>
                        <a:pt x="10676" y="8814"/>
                      </a:lnTo>
                      <a:lnTo>
                        <a:pt x="10917" y="8813"/>
                      </a:lnTo>
                      <a:lnTo>
                        <a:pt x="10916" y="3866"/>
                      </a:lnTo>
                      <a:lnTo>
                        <a:pt x="11469" y="3825"/>
                      </a:lnTo>
                      <a:lnTo>
                        <a:pt x="11462" y="9801"/>
                      </a:lnTo>
                      <a:lnTo>
                        <a:pt x="11571" y="9803"/>
                      </a:lnTo>
                      <a:lnTo>
                        <a:pt x="11580" y="5845"/>
                      </a:lnTo>
                      <a:lnTo>
                        <a:pt x="12188" y="5845"/>
                      </a:lnTo>
                      <a:lnTo>
                        <a:pt x="12187" y="13225"/>
                      </a:lnTo>
                      <a:lnTo>
                        <a:pt x="12290" y="13224"/>
                      </a:lnTo>
                      <a:lnTo>
                        <a:pt x="12290" y="9370"/>
                      </a:lnTo>
                      <a:lnTo>
                        <a:pt x="12659" y="9431"/>
                      </a:lnTo>
                      <a:lnTo>
                        <a:pt x="12659" y="6711"/>
                      </a:lnTo>
                      <a:lnTo>
                        <a:pt x="13131" y="6669"/>
                      </a:lnTo>
                      <a:lnTo>
                        <a:pt x="13138" y="9803"/>
                      </a:lnTo>
                      <a:lnTo>
                        <a:pt x="13655" y="9720"/>
                      </a:lnTo>
                      <a:lnTo>
                        <a:pt x="13657" y="12276"/>
                      </a:lnTo>
                      <a:lnTo>
                        <a:pt x="13858" y="12235"/>
                      </a:lnTo>
                      <a:lnTo>
                        <a:pt x="13858" y="10421"/>
                      </a:lnTo>
                      <a:lnTo>
                        <a:pt x="14283" y="10404"/>
                      </a:lnTo>
                      <a:lnTo>
                        <a:pt x="14283" y="8355"/>
                      </a:lnTo>
                      <a:lnTo>
                        <a:pt x="14342" y="8355"/>
                      </a:lnTo>
                      <a:lnTo>
                        <a:pt x="14345" y="10401"/>
                      </a:lnTo>
                      <a:lnTo>
                        <a:pt x="14519" y="10394"/>
                      </a:lnTo>
                      <a:lnTo>
                        <a:pt x="14519" y="10082"/>
                      </a:lnTo>
                      <a:lnTo>
                        <a:pt x="14647" y="9622"/>
                      </a:lnTo>
                      <a:lnTo>
                        <a:pt x="14656" y="5929"/>
                      </a:lnTo>
                      <a:lnTo>
                        <a:pt x="14677" y="9613"/>
                      </a:lnTo>
                      <a:lnTo>
                        <a:pt x="14809" y="9993"/>
                      </a:lnTo>
                      <a:lnTo>
                        <a:pt x="14810" y="10383"/>
                      </a:lnTo>
                      <a:lnTo>
                        <a:pt x="14881" y="10379"/>
                      </a:lnTo>
                      <a:lnTo>
                        <a:pt x="14880" y="13244"/>
                      </a:lnTo>
                      <a:lnTo>
                        <a:pt x="14995" y="13226"/>
                      </a:lnTo>
                      <a:lnTo>
                        <a:pt x="14993" y="4612"/>
                      </a:lnTo>
                      <a:lnTo>
                        <a:pt x="15424" y="4612"/>
                      </a:lnTo>
                      <a:lnTo>
                        <a:pt x="15424" y="13241"/>
                      </a:lnTo>
                      <a:lnTo>
                        <a:pt x="15503" y="13244"/>
                      </a:lnTo>
                      <a:lnTo>
                        <a:pt x="15503" y="13106"/>
                      </a:lnTo>
                      <a:lnTo>
                        <a:pt x="15739" y="13106"/>
                      </a:lnTo>
                      <a:lnTo>
                        <a:pt x="15739" y="13251"/>
                      </a:lnTo>
                      <a:lnTo>
                        <a:pt x="16172" y="13266"/>
                      </a:lnTo>
                      <a:lnTo>
                        <a:pt x="16191" y="14272"/>
                      </a:lnTo>
                      <a:lnTo>
                        <a:pt x="17057" y="14238"/>
                      </a:lnTo>
                      <a:lnTo>
                        <a:pt x="17058" y="13826"/>
                      </a:lnTo>
                      <a:lnTo>
                        <a:pt x="17285" y="13811"/>
                      </a:lnTo>
                      <a:lnTo>
                        <a:pt x="17287" y="14267"/>
                      </a:lnTo>
                      <a:lnTo>
                        <a:pt x="17498" y="14292"/>
                      </a:lnTo>
                      <a:lnTo>
                        <a:pt x="17504" y="10062"/>
                      </a:lnTo>
                      <a:lnTo>
                        <a:pt x="17767" y="10065"/>
                      </a:lnTo>
                      <a:lnTo>
                        <a:pt x="17765" y="13250"/>
                      </a:lnTo>
                      <a:lnTo>
                        <a:pt x="17883" y="13250"/>
                      </a:lnTo>
                      <a:lnTo>
                        <a:pt x="17883" y="14340"/>
                      </a:lnTo>
                      <a:lnTo>
                        <a:pt x="18183" y="14378"/>
                      </a:lnTo>
                      <a:lnTo>
                        <a:pt x="18181" y="12512"/>
                      </a:lnTo>
                      <a:lnTo>
                        <a:pt x="18901" y="12530"/>
                      </a:lnTo>
                      <a:lnTo>
                        <a:pt x="18906" y="15122"/>
                      </a:lnTo>
                      <a:lnTo>
                        <a:pt x="19142" y="17137"/>
                      </a:lnTo>
                      <a:lnTo>
                        <a:pt x="19152" y="14816"/>
                      </a:lnTo>
                      <a:lnTo>
                        <a:pt x="19339" y="14834"/>
                      </a:lnTo>
                      <a:lnTo>
                        <a:pt x="19336" y="18415"/>
                      </a:lnTo>
                      <a:lnTo>
                        <a:pt x="19496" y="18433"/>
                      </a:lnTo>
                      <a:lnTo>
                        <a:pt x="19496" y="16994"/>
                      </a:lnTo>
                      <a:lnTo>
                        <a:pt x="19614" y="16850"/>
                      </a:lnTo>
                      <a:lnTo>
                        <a:pt x="19614" y="13952"/>
                      </a:lnTo>
                      <a:lnTo>
                        <a:pt x="19759" y="13952"/>
                      </a:lnTo>
                      <a:lnTo>
                        <a:pt x="19771" y="17426"/>
                      </a:lnTo>
                      <a:lnTo>
                        <a:pt x="19830" y="17857"/>
                      </a:lnTo>
                      <a:lnTo>
                        <a:pt x="19830" y="19105"/>
                      </a:lnTo>
                      <a:lnTo>
                        <a:pt x="20573" y="19125"/>
                      </a:lnTo>
                      <a:lnTo>
                        <a:pt x="20578" y="13106"/>
                      </a:lnTo>
                      <a:lnTo>
                        <a:pt x="20952" y="13106"/>
                      </a:lnTo>
                      <a:lnTo>
                        <a:pt x="20952" y="19733"/>
                      </a:lnTo>
                      <a:lnTo>
                        <a:pt x="21600" y="20536"/>
                      </a:lnTo>
                      <a:lnTo>
                        <a:pt x="21600" y="21600"/>
                      </a:lnTo>
                      <a:lnTo>
                        <a:pt x="0" y="21457"/>
                      </a:lnTo>
                      <a:lnTo>
                        <a:pt x="0" y="18774"/>
                      </a:lnTo>
                      <a:cubicBezTo>
                        <a:pt x="0" y="18774"/>
                        <a:pt x="0" y="18774"/>
                        <a:pt x="0" y="18774"/>
                      </a:cubicBezTo>
                      <a:close/>
                      <a:moveTo>
                        <a:pt x="0" y="18774"/>
                      </a:moveTo>
                    </a:path>
                  </a:pathLst>
                </a:custGeom>
                <a:solidFill>
                  <a:srgbClr val="000000">
                    <a:alpha val="6999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  <a:solidFill>
                        <a:schemeClr val="tx1">
                          <a:alpha val="6999"/>
                        </a:schemeClr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8" name="îṩļïďe">
                <a:extLst>
                  <a:ext uri="{FF2B5EF4-FFF2-40B4-BE49-F238E27FC236}">
                    <a16:creationId xmlns:a16="http://schemas.microsoft.com/office/drawing/2014/main" id="{1B6D553C-8194-4737-85C4-5B4EAB9D6A07}"/>
                  </a:ext>
                </a:extLst>
              </p:cNvPr>
              <p:cNvSpPr/>
              <p:nvPr/>
            </p:nvSpPr>
            <p:spPr bwMode="auto">
              <a:xfrm>
                <a:off x="0" y="3975100"/>
                <a:ext cx="12192000" cy="287655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cap="flat">
                <a:solidFill>
                  <a:schemeClr val="tx1">
                    <a:alpha val="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9" name="í$lîḑé">
                <a:extLst>
                  <a:ext uri="{FF2B5EF4-FFF2-40B4-BE49-F238E27FC236}">
                    <a16:creationId xmlns:a16="http://schemas.microsoft.com/office/drawing/2014/main" id="{FD001A6C-0DD5-4271-B5F5-44557B5FF8F3}"/>
                  </a:ext>
                </a:extLst>
              </p:cNvPr>
              <p:cNvSpPr/>
              <p:nvPr/>
            </p:nvSpPr>
            <p:spPr bwMode="auto">
              <a:xfrm>
                <a:off x="1028700" y="3462860"/>
                <a:ext cx="1018461" cy="1019715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762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2400">
                    <a:solidFill>
                      <a:srgbClr val="FFFEFE"/>
                    </a:solidFill>
                    <a:latin typeface="Impact" panose="020B0806030902050204" pitchFamily="34" charset="0"/>
                  </a:rPr>
                  <a:t>61%</a:t>
                </a:r>
              </a:p>
            </p:txBody>
          </p:sp>
          <p:sp>
            <p:nvSpPr>
              <p:cNvPr id="20" name="ísľíḋe">
                <a:extLst>
                  <a:ext uri="{FF2B5EF4-FFF2-40B4-BE49-F238E27FC236}">
                    <a16:creationId xmlns:a16="http://schemas.microsoft.com/office/drawing/2014/main" id="{2B08BD28-A943-4BDA-85E5-F12550937F23}"/>
                  </a:ext>
                </a:extLst>
              </p:cNvPr>
              <p:cNvSpPr/>
              <p:nvPr/>
            </p:nvSpPr>
            <p:spPr bwMode="auto">
              <a:xfrm>
                <a:off x="2860025" y="3225403"/>
                <a:ext cx="1498717" cy="1499394"/>
              </a:xfrm>
              <a:prstGeom prst="ellipse">
                <a:avLst/>
              </a:prstGeom>
              <a:solidFill>
                <a:schemeClr val="accent1"/>
              </a:solidFill>
              <a:ln w="762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3200" dirty="0">
                    <a:solidFill>
                      <a:srgbClr val="FFFEFE"/>
                    </a:solidFill>
                    <a:latin typeface="Impact" panose="020B0806030902050204" pitchFamily="34" charset="0"/>
                  </a:rPr>
                  <a:t>48%</a:t>
                </a:r>
              </a:p>
            </p:txBody>
          </p:sp>
          <p:sp>
            <p:nvSpPr>
              <p:cNvPr id="21" name="îṡļïdé">
                <a:extLst>
                  <a:ext uri="{FF2B5EF4-FFF2-40B4-BE49-F238E27FC236}">
                    <a16:creationId xmlns:a16="http://schemas.microsoft.com/office/drawing/2014/main" id="{0B19E1DC-751F-4788-A199-6605AE4848CC}"/>
                  </a:ext>
                </a:extLst>
              </p:cNvPr>
              <p:cNvSpPr/>
              <p:nvPr/>
            </p:nvSpPr>
            <p:spPr bwMode="auto">
              <a:xfrm>
                <a:off x="5173987" y="3590721"/>
                <a:ext cx="766823" cy="767963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762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 fontScale="92500"/>
              </a:bodyPr>
              <a:lstStyle/>
              <a:p>
                <a:pPr algn="ctr"/>
                <a:r>
                  <a:rPr lang="en-US" altLang="zh-CN" sz="2400" dirty="0">
                    <a:solidFill>
                      <a:srgbClr val="FFFEFE"/>
                    </a:solidFill>
                    <a:latin typeface="Impact" panose="020B0806030902050204" pitchFamily="34" charset="0"/>
                  </a:rPr>
                  <a:t>3%</a:t>
                </a:r>
              </a:p>
            </p:txBody>
          </p:sp>
          <p:sp>
            <p:nvSpPr>
              <p:cNvPr id="22" name="îsḻíḋê">
                <a:extLst>
                  <a:ext uri="{FF2B5EF4-FFF2-40B4-BE49-F238E27FC236}">
                    <a16:creationId xmlns:a16="http://schemas.microsoft.com/office/drawing/2014/main" id="{C562DBDE-04BC-4D3E-9376-124A08C77506}"/>
                  </a:ext>
                </a:extLst>
              </p:cNvPr>
              <p:cNvSpPr/>
              <p:nvPr/>
            </p:nvSpPr>
            <p:spPr bwMode="auto">
              <a:xfrm>
                <a:off x="6756054" y="3465243"/>
                <a:ext cx="1019255" cy="1018921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762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3200" dirty="0">
                    <a:solidFill>
                      <a:srgbClr val="FFFEFE"/>
                    </a:solidFill>
                    <a:latin typeface="Impact" panose="020B0806030902050204" pitchFamily="34" charset="0"/>
                  </a:rPr>
                  <a:t>8%</a:t>
                </a:r>
              </a:p>
            </p:txBody>
          </p:sp>
          <p:sp>
            <p:nvSpPr>
              <p:cNvPr id="23" name="ïşḻidé">
                <a:extLst>
                  <a:ext uri="{FF2B5EF4-FFF2-40B4-BE49-F238E27FC236}">
                    <a16:creationId xmlns:a16="http://schemas.microsoft.com/office/drawing/2014/main" id="{69214BB9-8F05-46BF-8CD5-BE73930FED4E}"/>
                  </a:ext>
                </a:extLst>
              </p:cNvPr>
              <p:cNvSpPr/>
              <p:nvPr/>
            </p:nvSpPr>
            <p:spPr bwMode="auto">
              <a:xfrm>
                <a:off x="8338916" y="3225403"/>
                <a:ext cx="1498717" cy="1499394"/>
              </a:xfrm>
              <a:prstGeom prst="ellipse">
                <a:avLst/>
              </a:prstGeom>
              <a:solidFill>
                <a:schemeClr val="accent1"/>
              </a:solidFill>
              <a:ln w="762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3200">
                    <a:solidFill>
                      <a:srgbClr val="FFFEFE"/>
                    </a:solidFill>
                    <a:latin typeface="Impact" panose="020B0806030902050204" pitchFamily="34" charset="0"/>
                  </a:rPr>
                  <a:t>54%</a:t>
                </a:r>
              </a:p>
            </p:txBody>
          </p:sp>
          <p:sp>
            <p:nvSpPr>
              <p:cNvPr id="24" name="îSļîďè">
                <a:extLst>
                  <a:ext uri="{FF2B5EF4-FFF2-40B4-BE49-F238E27FC236}">
                    <a16:creationId xmlns:a16="http://schemas.microsoft.com/office/drawing/2014/main" id="{190AE54F-D5FF-403C-B4C1-996AF1FB5A03}"/>
                  </a:ext>
                </a:extLst>
              </p:cNvPr>
              <p:cNvSpPr/>
              <p:nvPr/>
            </p:nvSpPr>
            <p:spPr bwMode="auto">
              <a:xfrm>
                <a:off x="10401240" y="3590721"/>
                <a:ext cx="767616" cy="767963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25400" cap="flat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ctr" anchorCtr="1">
                <a:normAutofit fontScale="92500"/>
              </a:bodyPr>
              <a:lstStyle/>
              <a:p>
                <a:pPr algn="ctr"/>
                <a:r>
                  <a:rPr lang="en-US" altLang="zh-CN" sz="2400">
                    <a:solidFill>
                      <a:srgbClr val="FFFEFE"/>
                    </a:solidFill>
                    <a:latin typeface="Impact" panose="020B0806030902050204" pitchFamily="34" charset="0"/>
                  </a:rPr>
                  <a:t>2%</a:t>
                </a:r>
              </a:p>
            </p:txBody>
          </p:sp>
          <p:sp>
            <p:nvSpPr>
              <p:cNvPr id="25" name="ïṣľíḋe">
                <a:extLst>
                  <a:ext uri="{FF2B5EF4-FFF2-40B4-BE49-F238E27FC236}">
                    <a16:creationId xmlns:a16="http://schemas.microsoft.com/office/drawing/2014/main" id="{A7E58C1F-7966-43A7-AB0A-602347BB90D2}"/>
                  </a:ext>
                </a:extLst>
              </p:cNvPr>
              <p:cNvSpPr/>
              <p:nvPr/>
            </p:nvSpPr>
            <p:spPr bwMode="auto">
              <a:xfrm>
                <a:off x="3606800" y="3028950"/>
                <a:ext cx="0" cy="632619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6" name="îṩḻîďè">
                <a:extLst>
                  <a:ext uri="{FF2B5EF4-FFF2-40B4-BE49-F238E27FC236}">
                    <a16:creationId xmlns:a16="http://schemas.microsoft.com/office/drawing/2014/main" id="{AFE58416-7042-40AB-AD6C-136D2D52C4EB}"/>
                  </a:ext>
                </a:extLst>
              </p:cNvPr>
              <p:cNvSpPr/>
              <p:nvPr/>
            </p:nvSpPr>
            <p:spPr bwMode="auto">
              <a:xfrm>
                <a:off x="5549900" y="3028950"/>
                <a:ext cx="0" cy="632619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7" name="îṧlïdé">
                <a:extLst>
                  <a:ext uri="{FF2B5EF4-FFF2-40B4-BE49-F238E27FC236}">
                    <a16:creationId xmlns:a16="http://schemas.microsoft.com/office/drawing/2014/main" id="{0974B6AA-DB9F-4999-8CA8-8333E706103B}"/>
                  </a:ext>
                </a:extLst>
              </p:cNvPr>
              <p:cNvSpPr/>
              <p:nvPr/>
            </p:nvSpPr>
            <p:spPr bwMode="auto">
              <a:xfrm>
                <a:off x="7264400" y="4330700"/>
                <a:ext cx="0" cy="632619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8" name="í$ḻíďé">
                <a:extLst>
                  <a:ext uri="{FF2B5EF4-FFF2-40B4-BE49-F238E27FC236}">
                    <a16:creationId xmlns:a16="http://schemas.microsoft.com/office/drawing/2014/main" id="{DE6129AD-1C93-4D29-9BAF-A1BA04E73750}"/>
                  </a:ext>
                </a:extLst>
              </p:cNvPr>
              <p:cNvSpPr/>
              <p:nvPr/>
            </p:nvSpPr>
            <p:spPr bwMode="auto">
              <a:xfrm>
                <a:off x="9048750" y="3028950"/>
                <a:ext cx="0" cy="632619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9" name="ï$ḻïḑe">
                <a:extLst>
                  <a:ext uri="{FF2B5EF4-FFF2-40B4-BE49-F238E27FC236}">
                    <a16:creationId xmlns:a16="http://schemas.microsoft.com/office/drawing/2014/main" id="{71B91F4B-DCA2-433C-BC2E-B6CAFF053FA9}"/>
                  </a:ext>
                </a:extLst>
              </p:cNvPr>
              <p:cNvSpPr/>
              <p:nvPr/>
            </p:nvSpPr>
            <p:spPr bwMode="auto">
              <a:xfrm>
                <a:off x="10775950" y="4265613"/>
                <a:ext cx="0" cy="697707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30" name="íSľidé">
                <a:extLst>
                  <a:ext uri="{FF2B5EF4-FFF2-40B4-BE49-F238E27FC236}">
                    <a16:creationId xmlns:a16="http://schemas.microsoft.com/office/drawing/2014/main" id="{9E50E988-52CE-4C62-BC1B-7F2C84AC102C}"/>
                  </a:ext>
                </a:extLst>
              </p:cNvPr>
              <p:cNvSpPr/>
              <p:nvPr/>
            </p:nvSpPr>
            <p:spPr bwMode="auto">
              <a:xfrm>
                <a:off x="1517650" y="4330700"/>
                <a:ext cx="0" cy="696913"/>
              </a:xfrm>
              <a:prstGeom prst="line">
                <a:avLst/>
              </a:prstGeom>
              <a:noFill/>
              <a:ln w="25400" cap="flat">
                <a:solidFill>
                  <a:srgbClr val="CDCCCC"/>
                </a:solidFill>
                <a:prstDash val="sysDot"/>
                <a:miter lim="800000"/>
                <a:headEnd type="oval" w="med" len="med"/>
                <a:tailEnd type="oval" w="med" len="med"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31" name="iśḻïḑé">
                <a:extLst>
                  <a:ext uri="{FF2B5EF4-FFF2-40B4-BE49-F238E27FC236}">
                    <a16:creationId xmlns:a16="http://schemas.microsoft.com/office/drawing/2014/main" id="{68F7FF41-FE48-4BEA-B0DD-B0EB38B663E8}"/>
                  </a:ext>
                </a:extLst>
              </p:cNvPr>
              <p:cNvSpPr/>
              <p:nvPr/>
            </p:nvSpPr>
            <p:spPr bwMode="auto">
              <a:xfrm>
                <a:off x="1077119" y="3607594"/>
                <a:ext cx="981075" cy="6723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2" name="ïS1îḑè">
                <a:extLst>
                  <a:ext uri="{FF2B5EF4-FFF2-40B4-BE49-F238E27FC236}">
                    <a16:creationId xmlns:a16="http://schemas.microsoft.com/office/drawing/2014/main" id="{C997C7E5-8C61-401A-B8A5-ACA508C9B5AB}"/>
                  </a:ext>
                </a:extLst>
              </p:cNvPr>
              <p:cNvSpPr/>
              <p:nvPr/>
            </p:nvSpPr>
            <p:spPr bwMode="auto">
              <a:xfrm>
                <a:off x="3168650" y="3606800"/>
                <a:ext cx="981075" cy="671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3" name="íŝḻïḋé">
                <a:extLst>
                  <a:ext uri="{FF2B5EF4-FFF2-40B4-BE49-F238E27FC236}">
                    <a16:creationId xmlns:a16="http://schemas.microsoft.com/office/drawing/2014/main" id="{A30A2C19-C2CA-4589-BBA2-C01C65D1367A}"/>
                  </a:ext>
                </a:extLst>
              </p:cNvPr>
              <p:cNvSpPr/>
              <p:nvPr/>
            </p:nvSpPr>
            <p:spPr bwMode="auto">
              <a:xfrm>
                <a:off x="5080000" y="3606800"/>
                <a:ext cx="981075" cy="671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4" name="íṩḷîḓe">
                <a:extLst>
                  <a:ext uri="{FF2B5EF4-FFF2-40B4-BE49-F238E27FC236}">
                    <a16:creationId xmlns:a16="http://schemas.microsoft.com/office/drawing/2014/main" id="{67603F1E-EA1B-4547-97FB-FAFB339989C5}"/>
                  </a:ext>
                </a:extLst>
              </p:cNvPr>
              <p:cNvSpPr/>
              <p:nvPr/>
            </p:nvSpPr>
            <p:spPr bwMode="auto">
              <a:xfrm>
                <a:off x="6794500" y="3606800"/>
                <a:ext cx="981075" cy="671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5" name="išḷïḋê">
                <a:extLst>
                  <a:ext uri="{FF2B5EF4-FFF2-40B4-BE49-F238E27FC236}">
                    <a16:creationId xmlns:a16="http://schemas.microsoft.com/office/drawing/2014/main" id="{E0A65C80-AFEE-417F-9C30-002864C6A8E9}"/>
                  </a:ext>
                </a:extLst>
              </p:cNvPr>
              <p:cNvSpPr/>
              <p:nvPr/>
            </p:nvSpPr>
            <p:spPr bwMode="auto">
              <a:xfrm>
                <a:off x="8597900" y="3606800"/>
                <a:ext cx="981075" cy="671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6" name="ïṡḷîḓê">
                <a:extLst>
                  <a:ext uri="{FF2B5EF4-FFF2-40B4-BE49-F238E27FC236}">
                    <a16:creationId xmlns:a16="http://schemas.microsoft.com/office/drawing/2014/main" id="{547C52E8-9D17-4508-8409-3C6878AE5F38}"/>
                  </a:ext>
                </a:extLst>
              </p:cNvPr>
              <p:cNvSpPr/>
              <p:nvPr/>
            </p:nvSpPr>
            <p:spPr bwMode="auto">
              <a:xfrm>
                <a:off x="10287000" y="3606800"/>
                <a:ext cx="981075" cy="671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lc="http://schemas.openxmlformats.org/drawingml/2006/lockedCanvas" xmlns:p14="http://schemas.microsoft.com/office/powerpoint/2010/main" xmlns:a14="http://schemas.microsoft.com/office/drawing/2010/main" xmlns:a16="http://schemas.microsoft.com/office/drawing/2014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grpSp>
            <p:nvGrpSpPr>
              <p:cNvPr id="37" name="îṣḷîďê">
                <a:extLst>
                  <a:ext uri="{FF2B5EF4-FFF2-40B4-BE49-F238E27FC236}">
                    <a16:creationId xmlns:a16="http://schemas.microsoft.com/office/drawing/2014/main" id="{62B43AB9-F37D-4034-B126-DF10746EAD68}"/>
                  </a:ext>
                </a:extLst>
              </p:cNvPr>
              <p:cNvGrpSpPr/>
              <p:nvPr/>
            </p:nvGrpSpPr>
            <p:grpSpPr>
              <a:xfrm>
                <a:off x="2058194" y="1732562"/>
                <a:ext cx="2741864" cy="1118050"/>
                <a:chOff x="1345940" y="2031959"/>
                <a:chExt cx="2741864" cy="1118050"/>
              </a:xfrm>
            </p:grpSpPr>
            <p:sp>
              <p:nvSpPr>
                <p:cNvPr id="38" name="ïṣļíḍê">
                  <a:extLst>
                    <a:ext uri="{FF2B5EF4-FFF2-40B4-BE49-F238E27FC236}">
                      <a16:creationId xmlns:a16="http://schemas.microsoft.com/office/drawing/2014/main" id="{297BF5DB-D333-4758-94BF-37D02DB6ACE3}"/>
                    </a:ext>
                  </a:extLst>
                </p:cNvPr>
                <p:cNvSpPr txBox="1"/>
                <p:nvPr/>
              </p:nvSpPr>
              <p:spPr bwMode="auto">
                <a:xfrm>
                  <a:off x="1345940" y="2031959"/>
                  <a:ext cx="2741864" cy="39286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/>
                    <a:t>Text here</a:t>
                  </a:r>
                </a:p>
              </p:txBody>
            </p:sp>
            <p:sp>
              <p:nvSpPr>
                <p:cNvPr id="39" name="î$ļîḍê">
                  <a:extLst>
                    <a:ext uri="{FF2B5EF4-FFF2-40B4-BE49-F238E27FC236}">
                      <a16:creationId xmlns:a16="http://schemas.microsoft.com/office/drawing/2014/main" id="{6795F3A8-D8D1-47D4-A24B-A4E35BA0F717}"/>
                    </a:ext>
                  </a:extLst>
                </p:cNvPr>
                <p:cNvSpPr txBox="1"/>
                <p:nvPr/>
              </p:nvSpPr>
              <p:spPr bwMode="auto">
                <a:xfrm>
                  <a:off x="1345940" y="2424822"/>
                  <a:ext cx="2741864" cy="725187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</p:grpSp>
        <p:sp>
          <p:nvSpPr>
            <p:cNvPr id="7" name="iṣḻïḓé">
              <a:extLst>
                <a:ext uri="{FF2B5EF4-FFF2-40B4-BE49-F238E27FC236}">
                  <a16:creationId xmlns:a16="http://schemas.microsoft.com/office/drawing/2014/main" id="{4A616561-7890-4696-BC7C-80F4A2B8C5B6}"/>
                </a:ext>
              </a:extLst>
            </p:cNvPr>
            <p:cNvSpPr txBox="1"/>
            <p:nvPr/>
          </p:nvSpPr>
          <p:spPr bwMode="auto">
            <a:xfrm>
              <a:off x="4800059" y="1729963"/>
              <a:ext cx="2736098" cy="3928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8" name="ïṥļïḑê">
              <a:extLst>
                <a:ext uri="{FF2B5EF4-FFF2-40B4-BE49-F238E27FC236}">
                  <a16:creationId xmlns:a16="http://schemas.microsoft.com/office/drawing/2014/main" id="{D6EC7244-46EB-4218-8771-656B937322D9}"/>
                </a:ext>
              </a:extLst>
            </p:cNvPr>
            <p:cNvSpPr txBox="1"/>
            <p:nvPr/>
          </p:nvSpPr>
          <p:spPr bwMode="auto">
            <a:xfrm>
              <a:off x="4800058" y="2122826"/>
              <a:ext cx="2736101" cy="72518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9" name="ï$ḻíḓe">
              <a:extLst>
                <a:ext uri="{FF2B5EF4-FFF2-40B4-BE49-F238E27FC236}">
                  <a16:creationId xmlns:a16="http://schemas.microsoft.com/office/drawing/2014/main" id="{325E0951-3C33-46E7-941E-935EEA773201}"/>
                </a:ext>
              </a:extLst>
            </p:cNvPr>
            <p:cNvSpPr txBox="1"/>
            <p:nvPr/>
          </p:nvSpPr>
          <p:spPr bwMode="auto">
            <a:xfrm>
              <a:off x="7855492" y="1739027"/>
              <a:ext cx="2431508" cy="3928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10" name="îṣḻiďé">
              <a:extLst>
                <a:ext uri="{FF2B5EF4-FFF2-40B4-BE49-F238E27FC236}">
                  <a16:creationId xmlns:a16="http://schemas.microsoft.com/office/drawing/2014/main" id="{93305854-C664-4A07-B978-48B23DA52E6A}"/>
                </a:ext>
              </a:extLst>
            </p:cNvPr>
            <p:cNvSpPr txBox="1"/>
            <p:nvPr/>
          </p:nvSpPr>
          <p:spPr bwMode="auto">
            <a:xfrm>
              <a:off x="7536159" y="2131890"/>
              <a:ext cx="2736099" cy="72518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1" name="i$1ïdè">
              <a:extLst>
                <a:ext uri="{FF2B5EF4-FFF2-40B4-BE49-F238E27FC236}">
                  <a16:creationId xmlns:a16="http://schemas.microsoft.com/office/drawing/2014/main" id="{11F34DB6-3DA9-4325-AE38-4B1711DD7B21}"/>
                </a:ext>
              </a:extLst>
            </p:cNvPr>
            <p:cNvSpPr txBox="1"/>
            <p:nvPr/>
          </p:nvSpPr>
          <p:spPr bwMode="auto">
            <a:xfrm>
              <a:off x="687263" y="5116708"/>
              <a:ext cx="2741864" cy="3928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2" name="íṩľïḑé">
              <a:extLst>
                <a:ext uri="{FF2B5EF4-FFF2-40B4-BE49-F238E27FC236}">
                  <a16:creationId xmlns:a16="http://schemas.microsoft.com/office/drawing/2014/main" id="{116A981D-B576-41CC-A340-3EEABB7DF687}"/>
                </a:ext>
              </a:extLst>
            </p:cNvPr>
            <p:cNvSpPr txBox="1"/>
            <p:nvPr/>
          </p:nvSpPr>
          <p:spPr bwMode="auto">
            <a:xfrm>
              <a:off x="687263" y="5509571"/>
              <a:ext cx="2741864" cy="72518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13" name="iSļiďe">
              <a:extLst>
                <a:ext uri="{FF2B5EF4-FFF2-40B4-BE49-F238E27FC236}">
                  <a16:creationId xmlns:a16="http://schemas.microsoft.com/office/drawing/2014/main" id="{9799F188-77D7-4AD8-B021-4AB53CC3995C}"/>
                </a:ext>
              </a:extLst>
            </p:cNvPr>
            <p:cNvSpPr txBox="1"/>
            <p:nvPr/>
          </p:nvSpPr>
          <p:spPr bwMode="auto">
            <a:xfrm>
              <a:off x="5940811" y="5122413"/>
              <a:ext cx="2741864" cy="3928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4" name="isḻïḍe">
              <a:extLst>
                <a:ext uri="{FF2B5EF4-FFF2-40B4-BE49-F238E27FC236}">
                  <a16:creationId xmlns:a16="http://schemas.microsoft.com/office/drawing/2014/main" id="{D491AC37-5C3E-4417-9125-A274A02113B5}"/>
                </a:ext>
              </a:extLst>
            </p:cNvPr>
            <p:cNvSpPr txBox="1"/>
            <p:nvPr/>
          </p:nvSpPr>
          <p:spPr bwMode="auto">
            <a:xfrm>
              <a:off x="5940811" y="5515276"/>
              <a:ext cx="2741864" cy="72518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15" name="ïśľídê">
              <a:extLst>
                <a:ext uri="{FF2B5EF4-FFF2-40B4-BE49-F238E27FC236}">
                  <a16:creationId xmlns:a16="http://schemas.microsoft.com/office/drawing/2014/main" id="{A8DE1674-B1AD-4EDC-A7FD-F83365FAAE27}"/>
                </a:ext>
              </a:extLst>
            </p:cNvPr>
            <p:cNvSpPr txBox="1"/>
            <p:nvPr/>
          </p:nvSpPr>
          <p:spPr bwMode="auto">
            <a:xfrm>
              <a:off x="8778624" y="5127477"/>
              <a:ext cx="2741864" cy="3928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6" name="iSļíḓé">
              <a:extLst>
                <a:ext uri="{FF2B5EF4-FFF2-40B4-BE49-F238E27FC236}">
                  <a16:creationId xmlns:a16="http://schemas.microsoft.com/office/drawing/2014/main" id="{C52CD677-80A0-4AAB-AF98-36FF5FAD5CEE}"/>
                </a:ext>
              </a:extLst>
            </p:cNvPr>
            <p:cNvSpPr txBox="1"/>
            <p:nvPr/>
          </p:nvSpPr>
          <p:spPr bwMode="auto">
            <a:xfrm>
              <a:off x="8778624" y="5520340"/>
              <a:ext cx="2741864" cy="72518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5480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78CE9A-D6DD-498C-AAC6-4E2B300A1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AA4402C-0E60-4BD8-9D05-C3A938638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20639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EA7A439-8FD3-4526-8116-BB6C08A709CB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72409"/>
            <a:ext cx="10845800" cy="3873320"/>
            <a:chOff x="673100" y="1472409"/>
            <a:chExt cx="10845800" cy="3873320"/>
          </a:xfrm>
        </p:grpSpPr>
        <p:sp>
          <p:nvSpPr>
            <p:cNvPr id="6" name="išḻíḋè">
              <a:extLst>
                <a:ext uri="{FF2B5EF4-FFF2-40B4-BE49-F238E27FC236}">
                  <a16:creationId xmlns:a16="http://schemas.microsoft.com/office/drawing/2014/main" id="{45B77CE0-D1C4-4413-B9CA-BD581221AC73}"/>
                </a:ext>
              </a:extLst>
            </p:cNvPr>
            <p:cNvSpPr/>
            <p:nvPr/>
          </p:nvSpPr>
          <p:spPr>
            <a:xfrm>
              <a:off x="6100582" y="2816120"/>
              <a:ext cx="2044743" cy="2529609"/>
            </a:xfrm>
            <a:custGeom>
              <a:avLst/>
              <a:gdLst>
                <a:gd name="connsiteX0" fmla="*/ 0 w 2044743"/>
                <a:gd name="connsiteY0" fmla="*/ 0 h 2529609"/>
                <a:gd name="connsiteX1" fmla="*/ 1428764 w 2044743"/>
                <a:gd name="connsiteY1" fmla="*/ 0 h 2529609"/>
                <a:gd name="connsiteX2" fmla="*/ 2044743 w 2044743"/>
                <a:gd name="connsiteY2" fmla="*/ 1264805 h 2529609"/>
                <a:gd name="connsiteX3" fmla="*/ 1428764 w 2044743"/>
                <a:gd name="connsiteY3" fmla="*/ 2529609 h 2529609"/>
                <a:gd name="connsiteX4" fmla="*/ 0 w 2044743"/>
                <a:gd name="connsiteY4" fmla="*/ 2529609 h 2529609"/>
                <a:gd name="connsiteX5" fmla="*/ 0 w 2044743"/>
                <a:gd name="connsiteY5" fmla="*/ 0 h 2529609"/>
                <a:gd name="connsiteX6" fmla="*/ 1741055 w 2044743"/>
                <a:gd name="connsiteY6" fmla="*/ 1158586 h 2529609"/>
                <a:gd name="connsiteX7" fmla="*/ 1634837 w 2044743"/>
                <a:gd name="connsiteY7" fmla="*/ 1264804 h 2529609"/>
                <a:gd name="connsiteX8" fmla="*/ 1741055 w 2044743"/>
                <a:gd name="connsiteY8" fmla="*/ 1371022 h 2529609"/>
                <a:gd name="connsiteX9" fmla="*/ 1847273 w 2044743"/>
                <a:gd name="connsiteY9" fmla="*/ 1264804 h 2529609"/>
                <a:gd name="connsiteX10" fmla="*/ 1741055 w 2044743"/>
                <a:gd name="connsiteY10" fmla="*/ 1158586 h 2529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4743" h="2529609">
                  <a:moveTo>
                    <a:pt x="0" y="0"/>
                  </a:moveTo>
                  <a:lnTo>
                    <a:pt x="1428764" y="0"/>
                  </a:lnTo>
                  <a:lnTo>
                    <a:pt x="2044743" y="1264805"/>
                  </a:lnTo>
                  <a:lnTo>
                    <a:pt x="1428764" y="2529609"/>
                  </a:lnTo>
                  <a:lnTo>
                    <a:pt x="0" y="2529609"/>
                  </a:lnTo>
                  <a:lnTo>
                    <a:pt x="0" y="0"/>
                  </a:lnTo>
                  <a:close/>
                  <a:moveTo>
                    <a:pt x="1741055" y="1158586"/>
                  </a:moveTo>
                  <a:cubicBezTo>
                    <a:pt x="1682392" y="1158586"/>
                    <a:pt x="1634837" y="1206141"/>
                    <a:pt x="1634837" y="1264804"/>
                  </a:cubicBezTo>
                  <a:cubicBezTo>
                    <a:pt x="1634837" y="1323467"/>
                    <a:pt x="1682392" y="1371022"/>
                    <a:pt x="1741055" y="1371022"/>
                  </a:cubicBezTo>
                  <a:cubicBezTo>
                    <a:pt x="1799718" y="1371022"/>
                    <a:pt x="1847273" y="1323467"/>
                    <a:pt x="1847273" y="1264804"/>
                  </a:cubicBezTo>
                  <a:cubicBezTo>
                    <a:pt x="1847273" y="1206141"/>
                    <a:pt x="1799718" y="1158586"/>
                    <a:pt x="1741055" y="115858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7" name="íšľídé">
              <a:extLst>
                <a:ext uri="{FF2B5EF4-FFF2-40B4-BE49-F238E27FC236}">
                  <a16:creationId xmlns:a16="http://schemas.microsoft.com/office/drawing/2014/main" id="{5A6834D3-7800-4D07-A0BC-7D2758116035}"/>
                </a:ext>
              </a:extLst>
            </p:cNvPr>
            <p:cNvSpPr/>
            <p:nvPr/>
          </p:nvSpPr>
          <p:spPr bwMode="auto">
            <a:xfrm>
              <a:off x="6635379" y="3706773"/>
              <a:ext cx="600454" cy="605426"/>
            </a:xfrm>
            <a:custGeom>
              <a:avLst/>
              <a:gdLst>
                <a:gd name="connsiteX0" fmla="*/ 127971 w 596840"/>
                <a:gd name="connsiteY0" fmla="*/ 403597 h 601782"/>
                <a:gd name="connsiteX1" fmla="*/ 93674 w 596840"/>
                <a:gd name="connsiteY1" fmla="*/ 415017 h 601782"/>
                <a:gd name="connsiteX2" fmla="*/ 90354 w 596840"/>
                <a:gd name="connsiteY2" fmla="*/ 417595 h 601782"/>
                <a:gd name="connsiteX3" fmla="*/ 81503 w 596840"/>
                <a:gd name="connsiteY3" fmla="*/ 420174 h 601782"/>
                <a:gd name="connsiteX4" fmla="*/ 81503 w 596840"/>
                <a:gd name="connsiteY4" fmla="*/ 545789 h 601782"/>
                <a:gd name="connsiteX5" fmla="*/ 81872 w 596840"/>
                <a:gd name="connsiteY5" fmla="*/ 545789 h 601782"/>
                <a:gd name="connsiteX6" fmla="*/ 90354 w 596840"/>
                <a:gd name="connsiteY6" fmla="*/ 548736 h 601782"/>
                <a:gd name="connsiteX7" fmla="*/ 147149 w 596840"/>
                <a:gd name="connsiteY7" fmla="*/ 570102 h 601782"/>
                <a:gd name="connsiteX8" fmla="*/ 307943 w 596840"/>
                <a:gd name="connsiteY8" fmla="*/ 570102 h 601782"/>
                <a:gd name="connsiteX9" fmla="*/ 555772 w 596840"/>
                <a:gd name="connsiteY9" fmla="*/ 463642 h 601782"/>
                <a:gd name="connsiteX10" fmla="*/ 568311 w 596840"/>
                <a:gd name="connsiteY10" fmla="*/ 446697 h 601782"/>
                <a:gd name="connsiteX11" fmla="*/ 553559 w 596840"/>
                <a:gd name="connsiteY11" fmla="*/ 431593 h 601782"/>
                <a:gd name="connsiteX12" fmla="*/ 519630 w 596840"/>
                <a:gd name="connsiteY12" fmla="*/ 420174 h 601782"/>
                <a:gd name="connsiteX13" fmla="*/ 474637 w 596840"/>
                <a:gd name="connsiteY13" fmla="*/ 447434 h 601782"/>
                <a:gd name="connsiteX14" fmla="*/ 474268 w 596840"/>
                <a:gd name="connsiteY14" fmla="*/ 447802 h 601782"/>
                <a:gd name="connsiteX15" fmla="*/ 360680 w 596840"/>
                <a:gd name="connsiteY15" fmla="*/ 501953 h 601782"/>
                <a:gd name="connsiteX16" fmla="*/ 353304 w 596840"/>
                <a:gd name="connsiteY16" fmla="*/ 501953 h 601782"/>
                <a:gd name="connsiteX17" fmla="*/ 216851 w 596840"/>
                <a:gd name="connsiteY17" fmla="*/ 501953 h 601782"/>
                <a:gd name="connsiteX18" fmla="*/ 202836 w 596840"/>
                <a:gd name="connsiteY18" fmla="*/ 487586 h 601782"/>
                <a:gd name="connsiteX19" fmla="*/ 216851 w 596840"/>
                <a:gd name="connsiteY19" fmla="*/ 473220 h 601782"/>
                <a:gd name="connsiteX20" fmla="*/ 345191 w 596840"/>
                <a:gd name="connsiteY20" fmla="*/ 473220 h 601782"/>
                <a:gd name="connsiteX21" fmla="*/ 358836 w 596840"/>
                <a:gd name="connsiteY21" fmla="*/ 452959 h 601782"/>
                <a:gd name="connsiteX22" fmla="*/ 302779 w 596840"/>
                <a:gd name="connsiteY22" fmla="*/ 403597 h 601782"/>
                <a:gd name="connsiteX23" fmla="*/ 25816 w 596840"/>
                <a:gd name="connsiteY23" fmla="*/ 389599 h 601782"/>
                <a:gd name="connsiteX24" fmla="*/ 25816 w 596840"/>
                <a:gd name="connsiteY24" fmla="*/ 417964 h 601782"/>
                <a:gd name="connsiteX25" fmla="*/ 54213 w 596840"/>
                <a:gd name="connsiteY25" fmla="*/ 417964 h 601782"/>
                <a:gd name="connsiteX26" fmla="*/ 54213 w 596840"/>
                <a:gd name="connsiteY26" fmla="*/ 389599 h 601782"/>
                <a:gd name="connsiteX27" fmla="*/ 0 w 596840"/>
                <a:gd name="connsiteY27" fmla="*/ 366023 h 601782"/>
                <a:gd name="connsiteX28" fmla="*/ 81503 w 596840"/>
                <a:gd name="connsiteY28" fmla="*/ 366023 h 601782"/>
                <a:gd name="connsiteX29" fmla="*/ 81503 w 596840"/>
                <a:gd name="connsiteY29" fmla="*/ 388862 h 601782"/>
                <a:gd name="connsiteX30" fmla="*/ 127971 w 596840"/>
                <a:gd name="connsiteY30" fmla="*/ 375232 h 601782"/>
                <a:gd name="connsiteX31" fmla="*/ 303148 w 596840"/>
                <a:gd name="connsiteY31" fmla="*/ 374864 h 601782"/>
                <a:gd name="connsiteX32" fmla="*/ 387233 w 596840"/>
                <a:gd name="connsiteY32" fmla="*/ 452959 h 601782"/>
                <a:gd name="connsiteX33" fmla="*/ 384283 w 596840"/>
                <a:gd name="connsiteY33" fmla="*/ 471378 h 601782"/>
                <a:gd name="connsiteX34" fmla="*/ 451403 w 596840"/>
                <a:gd name="connsiteY34" fmla="*/ 430488 h 601782"/>
                <a:gd name="connsiteX35" fmla="*/ 519630 w 596840"/>
                <a:gd name="connsiteY35" fmla="*/ 391809 h 601782"/>
                <a:gd name="connsiteX36" fmla="*/ 571261 w 596840"/>
                <a:gd name="connsiteY36" fmla="*/ 409123 h 601782"/>
                <a:gd name="connsiteX37" fmla="*/ 596708 w 596840"/>
                <a:gd name="connsiteY37" fmla="*/ 444487 h 601782"/>
                <a:gd name="connsiteX38" fmla="*/ 576793 w 596840"/>
                <a:gd name="connsiteY38" fmla="*/ 482797 h 601782"/>
                <a:gd name="connsiteX39" fmla="*/ 307943 w 596840"/>
                <a:gd name="connsiteY39" fmla="*/ 598835 h 601782"/>
                <a:gd name="connsiteX40" fmla="*/ 147149 w 596840"/>
                <a:gd name="connsiteY40" fmla="*/ 598835 h 601782"/>
                <a:gd name="connsiteX41" fmla="*/ 88879 w 596840"/>
                <a:gd name="connsiteY41" fmla="*/ 581521 h 601782"/>
                <a:gd name="connsiteX42" fmla="*/ 81503 w 596840"/>
                <a:gd name="connsiteY42" fmla="*/ 576733 h 601782"/>
                <a:gd name="connsiteX43" fmla="*/ 81503 w 596840"/>
                <a:gd name="connsiteY43" fmla="*/ 601782 h 601782"/>
                <a:gd name="connsiteX44" fmla="*/ 0 w 596840"/>
                <a:gd name="connsiteY44" fmla="*/ 601782 h 601782"/>
                <a:gd name="connsiteX45" fmla="*/ 293937 w 596840"/>
                <a:gd name="connsiteY45" fmla="*/ 151010 h 601782"/>
                <a:gd name="connsiteX46" fmla="*/ 322336 w 596840"/>
                <a:gd name="connsiteY46" fmla="*/ 151010 h 601782"/>
                <a:gd name="connsiteX47" fmla="*/ 322336 w 596840"/>
                <a:gd name="connsiteY47" fmla="*/ 172738 h 601782"/>
                <a:gd name="connsiteX48" fmla="*/ 351471 w 596840"/>
                <a:gd name="connsiteY48" fmla="*/ 180472 h 601782"/>
                <a:gd name="connsiteX49" fmla="*/ 355159 w 596840"/>
                <a:gd name="connsiteY49" fmla="*/ 182313 h 601782"/>
                <a:gd name="connsiteX50" fmla="*/ 346308 w 596840"/>
                <a:gd name="connsiteY50" fmla="*/ 212144 h 601782"/>
                <a:gd name="connsiteX51" fmla="*/ 340038 w 596840"/>
                <a:gd name="connsiteY51" fmla="*/ 209566 h 601782"/>
                <a:gd name="connsiteX52" fmla="*/ 311640 w 596840"/>
                <a:gd name="connsiteY52" fmla="*/ 202569 h 601782"/>
                <a:gd name="connsiteX53" fmla="*/ 294306 w 596840"/>
                <a:gd name="connsiteY53" fmla="*/ 214354 h 601782"/>
                <a:gd name="connsiteX54" fmla="*/ 319385 w 596840"/>
                <a:gd name="connsiteY54" fmla="*/ 232767 h 601782"/>
                <a:gd name="connsiteX55" fmla="*/ 359954 w 596840"/>
                <a:gd name="connsiteY55" fmla="*/ 279907 h 601782"/>
                <a:gd name="connsiteX56" fmla="*/ 320860 w 596840"/>
                <a:gd name="connsiteY56" fmla="*/ 324836 h 601782"/>
                <a:gd name="connsiteX57" fmla="*/ 320860 w 596840"/>
                <a:gd name="connsiteY57" fmla="*/ 349511 h 601782"/>
                <a:gd name="connsiteX58" fmla="*/ 292462 w 596840"/>
                <a:gd name="connsiteY58" fmla="*/ 349511 h 601782"/>
                <a:gd name="connsiteX59" fmla="*/ 292462 w 596840"/>
                <a:gd name="connsiteY59" fmla="*/ 326678 h 601782"/>
                <a:gd name="connsiteX60" fmla="*/ 257056 w 596840"/>
                <a:gd name="connsiteY60" fmla="*/ 315998 h 601782"/>
                <a:gd name="connsiteX61" fmla="*/ 254106 w 596840"/>
                <a:gd name="connsiteY61" fmla="*/ 314156 h 601782"/>
                <a:gd name="connsiteX62" fmla="*/ 262957 w 596840"/>
                <a:gd name="connsiteY62" fmla="*/ 283590 h 601782"/>
                <a:gd name="connsiteX63" fmla="*/ 268121 w 596840"/>
                <a:gd name="connsiteY63" fmla="*/ 286536 h 601782"/>
                <a:gd name="connsiteX64" fmla="*/ 302051 w 596840"/>
                <a:gd name="connsiteY64" fmla="*/ 296111 h 601782"/>
                <a:gd name="connsiteX65" fmla="*/ 321967 w 596840"/>
                <a:gd name="connsiteY65" fmla="*/ 282485 h 601782"/>
                <a:gd name="connsiteX66" fmla="*/ 299838 w 596840"/>
                <a:gd name="connsiteY66" fmla="*/ 263334 h 601782"/>
                <a:gd name="connsiteX67" fmla="*/ 256688 w 596840"/>
                <a:gd name="connsiteY67" fmla="*/ 217668 h 601782"/>
                <a:gd name="connsiteX68" fmla="*/ 293937 w 596840"/>
                <a:gd name="connsiteY68" fmla="*/ 174580 h 601782"/>
                <a:gd name="connsiteX69" fmla="*/ 312389 w 596840"/>
                <a:gd name="connsiteY69" fmla="*/ 0 h 601782"/>
                <a:gd name="connsiteX70" fmla="*/ 324190 w 596840"/>
                <a:gd name="connsiteY70" fmla="*/ 8102 h 601782"/>
                <a:gd name="connsiteX71" fmla="*/ 524442 w 596840"/>
                <a:gd name="connsiteY71" fmla="*/ 145097 h 601782"/>
                <a:gd name="connsiteX72" fmla="*/ 501208 w 596840"/>
                <a:gd name="connsiteY72" fmla="*/ 178977 h 601782"/>
                <a:gd name="connsiteX73" fmla="*/ 476499 w 596840"/>
                <a:gd name="connsiteY73" fmla="*/ 162037 h 601782"/>
                <a:gd name="connsiteX74" fmla="*/ 476499 w 596840"/>
                <a:gd name="connsiteY74" fmla="*/ 367529 h 601782"/>
                <a:gd name="connsiteX75" fmla="*/ 466173 w 596840"/>
                <a:gd name="connsiteY75" fmla="*/ 377472 h 601782"/>
                <a:gd name="connsiteX76" fmla="*/ 435195 w 596840"/>
                <a:gd name="connsiteY76" fmla="*/ 403987 h 601782"/>
                <a:gd name="connsiteX77" fmla="*/ 435195 w 596840"/>
                <a:gd name="connsiteY77" fmla="*/ 136258 h 601782"/>
                <a:gd name="connsiteX78" fmla="*/ 312389 w 596840"/>
                <a:gd name="connsiteY78" fmla="*/ 50084 h 601782"/>
                <a:gd name="connsiteX79" fmla="*/ 186632 w 596840"/>
                <a:gd name="connsiteY79" fmla="*/ 136626 h 601782"/>
                <a:gd name="connsiteX80" fmla="*/ 186632 w 596840"/>
                <a:gd name="connsiteY80" fmla="*/ 354271 h 601782"/>
                <a:gd name="connsiteX81" fmla="*/ 145327 w 596840"/>
                <a:gd name="connsiteY81" fmla="*/ 354271 h 601782"/>
                <a:gd name="connsiteX82" fmla="*/ 145327 w 596840"/>
                <a:gd name="connsiteY82" fmla="*/ 164246 h 601782"/>
                <a:gd name="connsiteX83" fmla="*/ 125413 w 596840"/>
                <a:gd name="connsiteY83" fmla="*/ 177872 h 601782"/>
                <a:gd name="connsiteX84" fmla="*/ 102179 w 596840"/>
                <a:gd name="connsiteY84" fmla="*/ 143623 h 601782"/>
                <a:gd name="connsiteX85" fmla="*/ 156391 w 596840"/>
                <a:gd name="connsiteY85" fmla="*/ 106797 h 601782"/>
                <a:gd name="connsiteX86" fmla="*/ 156391 w 596840"/>
                <a:gd name="connsiteY86" fmla="*/ 39036 h 601782"/>
                <a:gd name="connsiteX87" fmla="*/ 208021 w 596840"/>
                <a:gd name="connsiteY87" fmla="*/ 39036 h 601782"/>
                <a:gd name="connsiteX88" fmla="*/ 208021 w 596840"/>
                <a:gd name="connsiteY88" fmla="*/ 71443 h 601782"/>
                <a:gd name="connsiteX89" fmla="*/ 300956 w 596840"/>
                <a:gd name="connsiteY89" fmla="*/ 8102 h 60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96840" h="601782">
                  <a:moveTo>
                    <a:pt x="127971" y="403597"/>
                  </a:moveTo>
                  <a:cubicBezTo>
                    <a:pt x="115432" y="403597"/>
                    <a:pt x="103262" y="407649"/>
                    <a:pt x="93674" y="415017"/>
                  </a:cubicBezTo>
                  <a:lnTo>
                    <a:pt x="90354" y="417595"/>
                  </a:lnTo>
                  <a:cubicBezTo>
                    <a:pt x="87773" y="419437"/>
                    <a:pt x="84822" y="420174"/>
                    <a:pt x="81503" y="420174"/>
                  </a:cubicBezTo>
                  <a:lnTo>
                    <a:pt x="81503" y="545789"/>
                  </a:lnTo>
                  <a:cubicBezTo>
                    <a:pt x="81872" y="545789"/>
                    <a:pt x="81872" y="545789"/>
                    <a:pt x="81872" y="545789"/>
                  </a:cubicBezTo>
                  <a:cubicBezTo>
                    <a:pt x="84822" y="545789"/>
                    <a:pt x="87773" y="546894"/>
                    <a:pt x="90354" y="548736"/>
                  </a:cubicBezTo>
                  <a:cubicBezTo>
                    <a:pt x="90723" y="549105"/>
                    <a:pt x="119858" y="570102"/>
                    <a:pt x="147149" y="570102"/>
                  </a:cubicBezTo>
                  <a:lnTo>
                    <a:pt x="307943" y="570102"/>
                  </a:lnTo>
                  <a:cubicBezTo>
                    <a:pt x="435176" y="570102"/>
                    <a:pt x="523687" y="499374"/>
                    <a:pt x="555772" y="463642"/>
                  </a:cubicBezTo>
                  <a:cubicBezTo>
                    <a:pt x="559091" y="459958"/>
                    <a:pt x="568311" y="449644"/>
                    <a:pt x="568311" y="446697"/>
                  </a:cubicBezTo>
                  <a:cubicBezTo>
                    <a:pt x="568311" y="446697"/>
                    <a:pt x="567942" y="443013"/>
                    <a:pt x="553559" y="431593"/>
                  </a:cubicBezTo>
                  <a:cubicBezTo>
                    <a:pt x="548765" y="427541"/>
                    <a:pt x="535488" y="420174"/>
                    <a:pt x="519630" y="420174"/>
                  </a:cubicBezTo>
                  <a:cubicBezTo>
                    <a:pt x="502297" y="420174"/>
                    <a:pt x="487176" y="429383"/>
                    <a:pt x="474637" y="447434"/>
                  </a:cubicBezTo>
                  <a:cubicBezTo>
                    <a:pt x="474268" y="447434"/>
                    <a:pt x="474268" y="447434"/>
                    <a:pt x="474268" y="447802"/>
                  </a:cubicBezTo>
                  <a:cubicBezTo>
                    <a:pt x="435914" y="496796"/>
                    <a:pt x="382070" y="501953"/>
                    <a:pt x="360680" y="501953"/>
                  </a:cubicBezTo>
                  <a:lnTo>
                    <a:pt x="353304" y="501953"/>
                  </a:lnTo>
                  <a:lnTo>
                    <a:pt x="216851" y="501953"/>
                  </a:lnTo>
                  <a:cubicBezTo>
                    <a:pt x="209106" y="501953"/>
                    <a:pt x="202836" y="495322"/>
                    <a:pt x="202836" y="487586"/>
                  </a:cubicBezTo>
                  <a:cubicBezTo>
                    <a:pt x="202836" y="479850"/>
                    <a:pt x="209106" y="473220"/>
                    <a:pt x="216851" y="473220"/>
                  </a:cubicBezTo>
                  <a:lnTo>
                    <a:pt x="345191" y="473220"/>
                  </a:lnTo>
                  <a:cubicBezTo>
                    <a:pt x="345928" y="473220"/>
                    <a:pt x="358836" y="472115"/>
                    <a:pt x="358836" y="452959"/>
                  </a:cubicBezTo>
                  <a:cubicBezTo>
                    <a:pt x="358836" y="419806"/>
                    <a:pt x="330808" y="403597"/>
                    <a:pt x="302779" y="403597"/>
                  </a:cubicBezTo>
                  <a:close/>
                  <a:moveTo>
                    <a:pt x="25816" y="389599"/>
                  </a:moveTo>
                  <a:lnTo>
                    <a:pt x="25816" y="417964"/>
                  </a:lnTo>
                  <a:lnTo>
                    <a:pt x="54213" y="417964"/>
                  </a:lnTo>
                  <a:lnTo>
                    <a:pt x="54213" y="389599"/>
                  </a:lnTo>
                  <a:close/>
                  <a:moveTo>
                    <a:pt x="0" y="366023"/>
                  </a:moveTo>
                  <a:lnTo>
                    <a:pt x="81503" y="366023"/>
                  </a:lnTo>
                  <a:lnTo>
                    <a:pt x="81503" y="388862"/>
                  </a:lnTo>
                  <a:cubicBezTo>
                    <a:pt x="95149" y="380021"/>
                    <a:pt x="111376" y="375232"/>
                    <a:pt x="127971" y="375232"/>
                  </a:cubicBezTo>
                  <a:lnTo>
                    <a:pt x="303148" y="374864"/>
                  </a:lnTo>
                  <a:cubicBezTo>
                    <a:pt x="352198" y="375232"/>
                    <a:pt x="387602" y="408754"/>
                    <a:pt x="387233" y="452959"/>
                  </a:cubicBezTo>
                  <a:cubicBezTo>
                    <a:pt x="387233" y="461063"/>
                    <a:pt x="386127" y="466589"/>
                    <a:pt x="384283" y="471378"/>
                  </a:cubicBezTo>
                  <a:cubicBezTo>
                    <a:pt x="405304" y="467326"/>
                    <a:pt x="430751" y="456643"/>
                    <a:pt x="451403" y="430488"/>
                  </a:cubicBezTo>
                  <a:cubicBezTo>
                    <a:pt x="474268" y="398440"/>
                    <a:pt x="501190" y="391809"/>
                    <a:pt x="519630" y="391809"/>
                  </a:cubicBezTo>
                  <a:cubicBezTo>
                    <a:pt x="541758" y="391809"/>
                    <a:pt x="561304" y="401018"/>
                    <a:pt x="571261" y="409123"/>
                  </a:cubicBezTo>
                  <a:cubicBezTo>
                    <a:pt x="586013" y="420542"/>
                    <a:pt x="595601" y="431225"/>
                    <a:pt x="596708" y="444487"/>
                  </a:cubicBezTo>
                  <a:cubicBezTo>
                    <a:pt x="598183" y="459221"/>
                    <a:pt x="587119" y="471378"/>
                    <a:pt x="576793" y="482797"/>
                  </a:cubicBezTo>
                  <a:cubicBezTo>
                    <a:pt x="542126" y="521108"/>
                    <a:pt x="446609" y="598835"/>
                    <a:pt x="307943" y="598835"/>
                  </a:cubicBezTo>
                  <a:lnTo>
                    <a:pt x="147149" y="598835"/>
                  </a:lnTo>
                  <a:cubicBezTo>
                    <a:pt x="125021" y="598835"/>
                    <a:pt x="103262" y="589257"/>
                    <a:pt x="88879" y="581521"/>
                  </a:cubicBezTo>
                  <a:cubicBezTo>
                    <a:pt x="88879" y="581521"/>
                    <a:pt x="84822" y="578206"/>
                    <a:pt x="81503" y="576733"/>
                  </a:cubicBezTo>
                  <a:lnTo>
                    <a:pt x="81503" y="601782"/>
                  </a:lnTo>
                  <a:lnTo>
                    <a:pt x="0" y="601782"/>
                  </a:lnTo>
                  <a:close/>
                  <a:moveTo>
                    <a:pt x="293937" y="151010"/>
                  </a:moveTo>
                  <a:lnTo>
                    <a:pt x="322336" y="151010"/>
                  </a:lnTo>
                  <a:lnTo>
                    <a:pt x="322336" y="172738"/>
                  </a:lnTo>
                  <a:cubicBezTo>
                    <a:pt x="333031" y="173475"/>
                    <a:pt x="342620" y="176053"/>
                    <a:pt x="351471" y="180472"/>
                  </a:cubicBezTo>
                  <a:lnTo>
                    <a:pt x="355159" y="182313"/>
                  </a:lnTo>
                  <a:lnTo>
                    <a:pt x="346308" y="212144"/>
                  </a:lnTo>
                  <a:lnTo>
                    <a:pt x="340038" y="209566"/>
                  </a:lnTo>
                  <a:cubicBezTo>
                    <a:pt x="334506" y="206988"/>
                    <a:pt x="325286" y="202569"/>
                    <a:pt x="311640" y="202569"/>
                  </a:cubicBezTo>
                  <a:cubicBezTo>
                    <a:pt x="300945" y="202569"/>
                    <a:pt x="294306" y="206988"/>
                    <a:pt x="294306" y="214354"/>
                  </a:cubicBezTo>
                  <a:cubicBezTo>
                    <a:pt x="294306" y="220614"/>
                    <a:pt x="300576" y="225034"/>
                    <a:pt x="319385" y="232767"/>
                  </a:cubicBezTo>
                  <a:cubicBezTo>
                    <a:pt x="347783" y="243447"/>
                    <a:pt x="359954" y="257442"/>
                    <a:pt x="359954" y="279907"/>
                  </a:cubicBezTo>
                  <a:cubicBezTo>
                    <a:pt x="359954" y="302372"/>
                    <a:pt x="344833" y="319681"/>
                    <a:pt x="320860" y="324836"/>
                  </a:cubicBezTo>
                  <a:lnTo>
                    <a:pt x="320860" y="349511"/>
                  </a:lnTo>
                  <a:lnTo>
                    <a:pt x="292462" y="349511"/>
                  </a:lnTo>
                  <a:lnTo>
                    <a:pt x="292462" y="326678"/>
                  </a:lnTo>
                  <a:cubicBezTo>
                    <a:pt x="279185" y="325573"/>
                    <a:pt x="265539" y="321522"/>
                    <a:pt x="257056" y="315998"/>
                  </a:cubicBezTo>
                  <a:lnTo>
                    <a:pt x="254106" y="314156"/>
                  </a:lnTo>
                  <a:lnTo>
                    <a:pt x="262957" y="283590"/>
                  </a:lnTo>
                  <a:lnTo>
                    <a:pt x="268121" y="286536"/>
                  </a:lnTo>
                  <a:cubicBezTo>
                    <a:pt x="278447" y="292796"/>
                    <a:pt x="290987" y="296111"/>
                    <a:pt x="302051" y="296111"/>
                  </a:cubicBezTo>
                  <a:cubicBezTo>
                    <a:pt x="314222" y="296111"/>
                    <a:pt x="321967" y="290587"/>
                    <a:pt x="321967" y="282485"/>
                  </a:cubicBezTo>
                  <a:cubicBezTo>
                    <a:pt x="321967" y="276592"/>
                    <a:pt x="319385" y="270332"/>
                    <a:pt x="299838" y="263334"/>
                  </a:cubicBezTo>
                  <a:cubicBezTo>
                    <a:pt x="278447" y="255601"/>
                    <a:pt x="256688" y="244184"/>
                    <a:pt x="256688" y="217668"/>
                  </a:cubicBezTo>
                  <a:cubicBezTo>
                    <a:pt x="256688" y="196308"/>
                    <a:pt x="270702" y="179736"/>
                    <a:pt x="293937" y="174580"/>
                  </a:cubicBezTo>
                  <a:close/>
                  <a:moveTo>
                    <a:pt x="312389" y="0"/>
                  </a:moveTo>
                  <a:lnTo>
                    <a:pt x="324190" y="8102"/>
                  </a:lnTo>
                  <a:lnTo>
                    <a:pt x="524442" y="145097"/>
                  </a:lnTo>
                  <a:lnTo>
                    <a:pt x="501208" y="178977"/>
                  </a:lnTo>
                  <a:lnTo>
                    <a:pt x="476499" y="162037"/>
                  </a:lnTo>
                  <a:lnTo>
                    <a:pt x="476499" y="367529"/>
                  </a:lnTo>
                  <a:cubicBezTo>
                    <a:pt x="473180" y="370843"/>
                    <a:pt x="469861" y="374158"/>
                    <a:pt x="466173" y="377472"/>
                  </a:cubicBezTo>
                  <a:cubicBezTo>
                    <a:pt x="456216" y="386679"/>
                    <a:pt x="445890" y="395149"/>
                    <a:pt x="435195" y="403987"/>
                  </a:cubicBezTo>
                  <a:lnTo>
                    <a:pt x="435195" y="136258"/>
                  </a:lnTo>
                  <a:lnTo>
                    <a:pt x="312389" y="50084"/>
                  </a:lnTo>
                  <a:lnTo>
                    <a:pt x="186632" y="136626"/>
                  </a:lnTo>
                  <a:lnTo>
                    <a:pt x="186632" y="354271"/>
                  </a:lnTo>
                  <a:lnTo>
                    <a:pt x="145327" y="354271"/>
                  </a:lnTo>
                  <a:lnTo>
                    <a:pt x="145327" y="164246"/>
                  </a:lnTo>
                  <a:lnTo>
                    <a:pt x="125413" y="177872"/>
                  </a:lnTo>
                  <a:lnTo>
                    <a:pt x="102179" y="143623"/>
                  </a:lnTo>
                  <a:lnTo>
                    <a:pt x="156391" y="106797"/>
                  </a:lnTo>
                  <a:lnTo>
                    <a:pt x="156391" y="39036"/>
                  </a:lnTo>
                  <a:lnTo>
                    <a:pt x="208021" y="39036"/>
                  </a:lnTo>
                  <a:lnTo>
                    <a:pt x="208021" y="71443"/>
                  </a:lnTo>
                  <a:lnTo>
                    <a:pt x="300956" y="8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8" name="ïṣḷïḓe">
              <a:extLst>
                <a:ext uri="{FF2B5EF4-FFF2-40B4-BE49-F238E27FC236}">
                  <a16:creationId xmlns:a16="http://schemas.microsoft.com/office/drawing/2014/main" id="{5F265E85-CFB0-4FFE-A30E-38973DA1499A}"/>
                </a:ext>
              </a:extLst>
            </p:cNvPr>
            <p:cNvSpPr/>
            <p:nvPr/>
          </p:nvSpPr>
          <p:spPr>
            <a:xfrm flipH="1">
              <a:off x="4055839" y="2816119"/>
              <a:ext cx="2044743" cy="2529609"/>
            </a:xfrm>
            <a:custGeom>
              <a:avLst/>
              <a:gdLst>
                <a:gd name="connsiteX0" fmla="*/ 0 w 2044743"/>
                <a:gd name="connsiteY0" fmla="*/ 0 h 2529609"/>
                <a:gd name="connsiteX1" fmla="*/ 1428764 w 2044743"/>
                <a:gd name="connsiteY1" fmla="*/ 0 h 2529609"/>
                <a:gd name="connsiteX2" fmla="*/ 2044743 w 2044743"/>
                <a:gd name="connsiteY2" fmla="*/ 1264805 h 2529609"/>
                <a:gd name="connsiteX3" fmla="*/ 1428764 w 2044743"/>
                <a:gd name="connsiteY3" fmla="*/ 2529609 h 2529609"/>
                <a:gd name="connsiteX4" fmla="*/ 0 w 2044743"/>
                <a:gd name="connsiteY4" fmla="*/ 2529609 h 2529609"/>
                <a:gd name="connsiteX5" fmla="*/ 0 w 2044743"/>
                <a:gd name="connsiteY5" fmla="*/ 0 h 2529609"/>
                <a:gd name="connsiteX6" fmla="*/ 1741055 w 2044743"/>
                <a:gd name="connsiteY6" fmla="*/ 1158586 h 2529609"/>
                <a:gd name="connsiteX7" fmla="*/ 1634837 w 2044743"/>
                <a:gd name="connsiteY7" fmla="*/ 1264804 h 2529609"/>
                <a:gd name="connsiteX8" fmla="*/ 1741055 w 2044743"/>
                <a:gd name="connsiteY8" fmla="*/ 1371022 h 2529609"/>
                <a:gd name="connsiteX9" fmla="*/ 1847273 w 2044743"/>
                <a:gd name="connsiteY9" fmla="*/ 1264804 h 2529609"/>
                <a:gd name="connsiteX10" fmla="*/ 1741055 w 2044743"/>
                <a:gd name="connsiteY10" fmla="*/ 1158586 h 2529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4743" h="2529609">
                  <a:moveTo>
                    <a:pt x="0" y="0"/>
                  </a:moveTo>
                  <a:lnTo>
                    <a:pt x="1428764" y="0"/>
                  </a:lnTo>
                  <a:lnTo>
                    <a:pt x="2044743" y="1264805"/>
                  </a:lnTo>
                  <a:lnTo>
                    <a:pt x="1428764" y="2529609"/>
                  </a:lnTo>
                  <a:lnTo>
                    <a:pt x="0" y="2529609"/>
                  </a:lnTo>
                  <a:lnTo>
                    <a:pt x="0" y="0"/>
                  </a:lnTo>
                  <a:close/>
                  <a:moveTo>
                    <a:pt x="1741055" y="1158586"/>
                  </a:moveTo>
                  <a:cubicBezTo>
                    <a:pt x="1682392" y="1158586"/>
                    <a:pt x="1634837" y="1206141"/>
                    <a:pt x="1634837" y="1264804"/>
                  </a:cubicBezTo>
                  <a:cubicBezTo>
                    <a:pt x="1634837" y="1323467"/>
                    <a:pt x="1682392" y="1371022"/>
                    <a:pt x="1741055" y="1371022"/>
                  </a:cubicBezTo>
                  <a:cubicBezTo>
                    <a:pt x="1799718" y="1371022"/>
                    <a:pt x="1847273" y="1323467"/>
                    <a:pt x="1847273" y="1264804"/>
                  </a:cubicBezTo>
                  <a:cubicBezTo>
                    <a:pt x="1847273" y="1206141"/>
                    <a:pt x="1799718" y="1158586"/>
                    <a:pt x="1741055" y="115858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" name="îŝḷîḍê">
              <a:extLst>
                <a:ext uri="{FF2B5EF4-FFF2-40B4-BE49-F238E27FC236}">
                  <a16:creationId xmlns:a16="http://schemas.microsoft.com/office/drawing/2014/main" id="{2617C081-01CD-4FED-A93D-E691F84DDEB5}"/>
                </a:ext>
              </a:extLst>
            </p:cNvPr>
            <p:cNvSpPr/>
            <p:nvPr/>
          </p:nvSpPr>
          <p:spPr bwMode="auto">
            <a:xfrm>
              <a:off x="5009354" y="3706773"/>
              <a:ext cx="556431" cy="605426"/>
            </a:xfrm>
            <a:custGeom>
              <a:avLst/>
              <a:gdLst>
                <a:gd name="connsiteX0" fmla="*/ 256195 w 556902"/>
                <a:gd name="connsiteY0" fmla="*/ 511374 h 605937"/>
                <a:gd name="connsiteX1" fmla="*/ 256195 w 556902"/>
                <a:gd name="connsiteY1" fmla="*/ 578847 h 605937"/>
                <a:gd name="connsiteX2" fmla="*/ 289630 w 556902"/>
                <a:gd name="connsiteY2" fmla="*/ 578847 h 605937"/>
                <a:gd name="connsiteX3" fmla="*/ 289630 w 556902"/>
                <a:gd name="connsiteY3" fmla="*/ 511374 h 605937"/>
                <a:gd name="connsiteX4" fmla="*/ 180686 w 556902"/>
                <a:gd name="connsiteY4" fmla="*/ 421832 h 605937"/>
                <a:gd name="connsiteX5" fmla="*/ 376216 w 556902"/>
                <a:gd name="connsiteY5" fmla="*/ 421832 h 605937"/>
                <a:gd name="connsiteX6" fmla="*/ 389732 w 556902"/>
                <a:gd name="connsiteY6" fmla="*/ 435330 h 605937"/>
                <a:gd name="connsiteX7" fmla="*/ 376216 w 556902"/>
                <a:gd name="connsiteY7" fmla="*/ 448929 h 605937"/>
                <a:gd name="connsiteX8" fmla="*/ 180686 w 556902"/>
                <a:gd name="connsiteY8" fmla="*/ 448929 h 605937"/>
                <a:gd name="connsiteX9" fmla="*/ 167169 w 556902"/>
                <a:gd name="connsiteY9" fmla="*/ 435330 h 605937"/>
                <a:gd name="connsiteX10" fmla="*/ 180686 w 556902"/>
                <a:gd name="connsiteY10" fmla="*/ 421832 h 605937"/>
                <a:gd name="connsiteX11" fmla="*/ 180686 w 556902"/>
                <a:gd name="connsiteY11" fmla="*/ 355077 h 605937"/>
                <a:gd name="connsiteX12" fmla="*/ 376216 w 556902"/>
                <a:gd name="connsiteY12" fmla="*/ 355077 h 605937"/>
                <a:gd name="connsiteX13" fmla="*/ 389732 w 556902"/>
                <a:gd name="connsiteY13" fmla="*/ 368676 h 605937"/>
                <a:gd name="connsiteX14" fmla="*/ 376216 w 556902"/>
                <a:gd name="connsiteY14" fmla="*/ 382174 h 605937"/>
                <a:gd name="connsiteX15" fmla="*/ 180686 w 556902"/>
                <a:gd name="connsiteY15" fmla="*/ 382174 h 605937"/>
                <a:gd name="connsiteX16" fmla="*/ 167169 w 556902"/>
                <a:gd name="connsiteY16" fmla="*/ 368676 h 605937"/>
                <a:gd name="connsiteX17" fmla="*/ 180686 w 556902"/>
                <a:gd name="connsiteY17" fmla="*/ 355077 h 605937"/>
                <a:gd name="connsiteX18" fmla="*/ 180686 w 556902"/>
                <a:gd name="connsiteY18" fmla="*/ 288322 h 605937"/>
                <a:gd name="connsiteX19" fmla="*/ 376216 w 556902"/>
                <a:gd name="connsiteY19" fmla="*/ 288322 h 605937"/>
                <a:gd name="connsiteX20" fmla="*/ 389732 w 556902"/>
                <a:gd name="connsiteY20" fmla="*/ 301921 h 605937"/>
                <a:gd name="connsiteX21" fmla="*/ 376216 w 556902"/>
                <a:gd name="connsiteY21" fmla="*/ 315419 h 605937"/>
                <a:gd name="connsiteX22" fmla="*/ 180686 w 556902"/>
                <a:gd name="connsiteY22" fmla="*/ 315419 h 605937"/>
                <a:gd name="connsiteX23" fmla="*/ 167169 w 556902"/>
                <a:gd name="connsiteY23" fmla="*/ 301921 h 605937"/>
                <a:gd name="connsiteX24" fmla="*/ 180686 w 556902"/>
                <a:gd name="connsiteY24" fmla="*/ 288322 h 605937"/>
                <a:gd name="connsiteX25" fmla="*/ 180686 w 556902"/>
                <a:gd name="connsiteY25" fmla="*/ 221708 h 605937"/>
                <a:gd name="connsiteX26" fmla="*/ 376216 w 556902"/>
                <a:gd name="connsiteY26" fmla="*/ 221708 h 605937"/>
                <a:gd name="connsiteX27" fmla="*/ 389732 w 556902"/>
                <a:gd name="connsiteY27" fmla="*/ 235186 h 605937"/>
                <a:gd name="connsiteX28" fmla="*/ 376216 w 556902"/>
                <a:gd name="connsiteY28" fmla="*/ 248664 h 605937"/>
                <a:gd name="connsiteX29" fmla="*/ 180686 w 556902"/>
                <a:gd name="connsiteY29" fmla="*/ 248664 h 605937"/>
                <a:gd name="connsiteX30" fmla="*/ 167169 w 556902"/>
                <a:gd name="connsiteY30" fmla="*/ 235186 h 605937"/>
                <a:gd name="connsiteX31" fmla="*/ 180686 w 556902"/>
                <a:gd name="connsiteY31" fmla="*/ 221708 h 605937"/>
                <a:gd name="connsiteX32" fmla="*/ 438002 w 556902"/>
                <a:gd name="connsiteY32" fmla="*/ 218149 h 605937"/>
                <a:gd name="connsiteX33" fmla="*/ 438002 w 556902"/>
                <a:gd name="connsiteY33" fmla="*/ 249197 h 605937"/>
                <a:gd name="connsiteX34" fmla="*/ 493590 w 556902"/>
                <a:gd name="connsiteY34" fmla="*/ 249197 h 605937"/>
                <a:gd name="connsiteX35" fmla="*/ 507208 w 556902"/>
                <a:gd name="connsiteY35" fmla="*/ 262691 h 605937"/>
                <a:gd name="connsiteX36" fmla="*/ 493590 w 556902"/>
                <a:gd name="connsiteY36" fmla="*/ 276186 h 605937"/>
                <a:gd name="connsiteX37" fmla="*/ 438002 w 556902"/>
                <a:gd name="connsiteY37" fmla="*/ 276186 h 605937"/>
                <a:gd name="connsiteX38" fmla="*/ 438002 w 556902"/>
                <a:gd name="connsiteY38" fmla="*/ 315857 h 605937"/>
                <a:gd name="connsiteX39" fmla="*/ 493590 w 556902"/>
                <a:gd name="connsiteY39" fmla="*/ 315857 h 605937"/>
                <a:gd name="connsiteX40" fmla="*/ 507208 w 556902"/>
                <a:gd name="connsiteY40" fmla="*/ 329453 h 605937"/>
                <a:gd name="connsiteX41" fmla="*/ 493590 w 556902"/>
                <a:gd name="connsiteY41" fmla="*/ 342948 h 605937"/>
                <a:gd name="connsiteX42" fmla="*/ 438002 w 556902"/>
                <a:gd name="connsiteY42" fmla="*/ 342948 h 605937"/>
                <a:gd name="connsiteX43" fmla="*/ 438002 w 556902"/>
                <a:gd name="connsiteY43" fmla="*/ 382619 h 605937"/>
                <a:gd name="connsiteX44" fmla="*/ 493590 w 556902"/>
                <a:gd name="connsiteY44" fmla="*/ 382619 h 605937"/>
                <a:gd name="connsiteX45" fmla="*/ 507208 w 556902"/>
                <a:gd name="connsiteY45" fmla="*/ 396114 h 605937"/>
                <a:gd name="connsiteX46" fmla="*/ 493590 w 556902"/>
                <a:gd name="connsiteY46" fmla="*/ 409710 h 605937"/>
                <a:gd name="connsiteX47" fmla="*/ 438002 w 556902"/>
                <a:gd name="connsiteY47" fmla="*/ 409710 h 605937"/>
                <a:gd name="connsiteX48" fmla="*/ 438002 w 556902"/>
                <a:gd name="connsiteY48" fmla="*/ 449381 h 605937"/>
                <a:gd name="connsiteX49" fmla="*/ 493590 w 556902"/>
                <a:gd name="connsiteY49" fmla="*/ 449381 h 605937"/>
                <a:gd name="connsiteX50" fmla="*/ 507208 w 556902"/>
                <a:gd name="connsiteY50" fmla="*/ 462876 h 605937"/>
                <a:gd name="connsiteX51" fmla="*/ 493590 w 556902"/>
                <a:gd name="connsiteY51" fmla="*/ 476370 h 605937"/>
                <a:gd name="connsiteX52" fmla="*/ 438002 w 556902"/>
                <a:gd name="connsiteY52" fmla="*/ 476370 h 605937"/>
                <a:gd name="connsiteX53" fmla="*/ 438002 w 556902"/>
                <a:gd name="connsiteY53" fmla="*/ 516042 h 605937"/>
                <a:gd name="connsiteX54" fmla="*/ 493590 w 556902"/>
                <a:gd name="connsiteY54" fmla="*/ 516042 h 605937"/>
                <a:gd name="connsiteX55" fmla="*/ 507208 w 556902"/>
                <a:gd name="connsiteY55" fmla="*/ 529638 h 605937"/>
                <a:gd name="connsiteX56" fmla="*/ 493590 w 556902"/>
                <a:gd name="connsiteY56" fmla="*/ 543132 h 605937"/>
                <a:gd name="connsiteX57" fmla="*/ 438002 w 556902"/>
                <a:gd name="connsiteY57" fmla="*/ 543132 h 605937"/>
                <a:gd name="connsiteX58" fmla="*/ 438002 w 556902"/>
                <a:gd name="connsiteY58" fmla="*/ 578847 h 605937"/>
                <a:gd name="connsiteX59" fmla="*/ 529870 w 556902"/>
                <a:gd name="connsiteY59" fmla="*/ 578847 h 605937"/>
                <a:gd name="connsiteX60" fmla="*/ 529870 w 556902"/>
                <a:gd name="connsiteY60" fmla="*/ 218149 h 605937"/>
                <a:gd name="connsiteX61" fmla="*/ 27032 w 556902"/>
                <a:gd name="connsiteY61" fmla="*/ 218149 h 605937"/>
                <a:gd name="connsiteX62" fmla="*/ 27032 w 556902"/>
                <a:gd name="connsiteY62" fmla="*/ 578847 h 605937"/>
                <a:gd name="connsiteX63" fmla="*/ 118900 w 556902"/>
                <a:gd name="connsiteY63" fmla="*/ 578847 h 605937"/>
                <a:gd name="connsiteX64" fmla="*/ 118900 w 556902"/>
                <a:gd name="connsiteY64" fmla="*/ 543132 h 605937"/>
                <a:gd name="connsiteX65" fmla="*/ 63312 w 556902"/>
                <a:gd name="connsiteY65" fmla="*/ 543132 h 605937"/>
                <a:gd name="connsiteX66" fmla="*/ 49796 w 556902"/>
                <a:gd name="connsiteY66" fmla="*/ 529638 h 605937"/>
                <a:gd name="connsiteX67" fmla="*/ 63312 w 556902"/>
                <a:gd name="connsiteY67" fmla="*/ 516042 h 605937"/>
                <a:gd name="connsiteX68" fmla="*/ 118900 w 556902"/>
                <a:gd name="connsiteY68" fmla="*/ 516042 h 605937"/>
                <a:gd name="connsiteX69" fmla="*/ 118900 w 556902"/>
                <a:gd name="connsiteY69" fmla="*/ 476370 h 605937"/>
                <a:gd name="connsiteX70" fmla="*/ 63312 w 556902"/>
                <a:gd name="connsiteY70" fmla="*/ 476370 h 605937"/>
                <a:gd name="connsiteX71" fmla="*/ 49796 w 556902"/>
                <a:gd name="connsiteY71" fmla="*/ 462876 h 605937"/>
                <a:gd name="connsiteX72" fmla="*/ 63312 w 556902"/>
                <a:gd name="connsiteY72" fmla="*/ 449381 h 605937"/>
                <a:gd name="connsiteX73" fmla="*/ 118900 w 556902"/>
                <a:gd name="connsiteY73" fmla="*/ 449381 h 605937"/>
                <a:gd name="connsiteX74" fmla="*/ 118900 w 556902"/>
                <a:gd name="connsiteY74" fmla="*/ 409710 h 605937"/>
                <a:gd name="connsiteX75" fmla="*/ 63312 w 556902"/>
                <a:gd name="connsiteY75" fmla="*/ 409710 h 605937"/>
                <a:gd name="connsiteX76" fmla="*/ 49796 w 556902"/>
                <a:gd name="connsiteY76" fmla="*/ 396114 h 605937"/>
                <a:gd name="connsiteX77" fmla="*/ 63312 w 556902"/>
                <a:gd name="connsiteY77" fmla="*/ 382619 h 605937"/>
                <a:gd name="connsiteX78" fmla="*/ 118900 w 556902"/>
                <a:gd name="connsiteY78" fmla="*/ 382619 h 605937"/>
                <a:gd name="connsiteX79" fmla="*/ 118900 w 556902"/>
                <a:gd name="connsiteY79" fmla="*/ 342948 h 605937"/>
                <a:gd name="connsiteX80" fmla="*/ 63312 w 556902"/>
                <a:gd name="connsiteY80" fmla="*/ 342948 h 605937"/>
                <a:gd name="connsiteX81" fmla="*/ 49796 w 556902"/>
                <a:gd name="connsiteY81" fmla="*/ 329453 h 605937"/>
                <a:gd name="connsiteX82" fmla="*/ 63312 w 556902"/>
                <a:gd name="connsiteY82" fmla="*/ 315857 h 605937"/>
                <a:gd name="connsiteX83" fmla="*/ 118900 w 556902"/>
                <a:gd name="connsiteY83" fmla="*/ 315857 h 605937"/>
                <a:gd name="connsiteX84" fmla="*/ 118900 w 556902"/>
                <a:gd name="connsiteY84" fmla="*/ 276186 h 605937"/>
                <a:gd name="connsiteX85" fmla="*/ 63312 w 556902"/>
                <a:gd name="connsiteY85" fmla="*/ 276186 h 605937"/>
                <a:gd name="connsiteX86" fmla="*/ 49796 w 556902"/>
                <a:gd name="connsiteY86" fmla="*/ 262691 h 605937"/>
                <a:gd name="connsiteX87" fmla="*/ 63312 w 556902"/>
                <a:gd name="connsiteY87" fmla="*/ 249197 h 605937"/>
                <a:gd name="connsiteX88" fmla="*/ 118900 w 556902"/>
                <a:gd name="connsiteY88" fmla="*/ 249197 h 605937"/>
                <a:gd name="connsiteX89" fmla="*/ 118900 w 556902"/>
                <a:gd name="connsiteY89" fmla="*/ 218149 h 605937"/>
                <a:gd name="connsiteX90" fmla="*/ 180686 w 556902"/>
                <a:gd name="connsiteY90" fmla="*/ 154954 h 605937"/>
                <a:gd name="connsiteX91" fmla="*/ 376216 w 556902"/>
                <a:gd name="connsiteY91" fmla="*/ 154954 h 605937"/>
                <a:gd name="connsiteX92" fmla="*/ 389732 w 556902"/>
                <a:gd name="connsiteY92" fmla="*/ 168417 h 605937"/>
                <a:gd name="connsiteX93" fmla="*/ 376216 w 556902"/>
                <a:gd name="connsiteY93" fmla="*/ 181981 h 605937"/>
                <a:gd name="connsiteX94" fmla="*/ 180686 w 556902"/>
                <a:gd name="connsiteY94" fmla="*/ 181981 h 605937"/>
                <a:gd name="connsiteX95" fmla="*/ 167169 w 556902"/>
                <a:gd name="connsiteY95" fmla="*/ 168417 h 605937"/>
                <a:gd name="connsiteX96" fmla="*/ 180686 w 556902"/>
                <a:gd name="connsiteY96" fmla="*/ 154954 h 605937"/>
                <a:gd name="connsiteX97" fmla="*/ 145933 w 556902"/>
                <a:gd name="connsiteY97" fmla="*/ 69812 h 605937"/>
                <a:gd name="connsiteX98" fmla="*/ 145933 w 556902"/>
                <a:gd name="connsiteY98" fmla="*/ 578847 h 605937"/>
                <a:gd name="connsiteX99" fmla="*/ 229062 w 556902"/>
                <a:gd name="connsiteY99" fmla="*/ 578847 h 605937"/>
                <a:gd name="connsiteX100" fmla="*/ 229062 w 556902"/>
                <a:gd name="connsiteY100" fmla="*/ 497880 h 605937"/>
                <a:gd name="connsiteX101" fmla="*/ 242679 w 556902"/>
                <a:gd name="connsiteY101" fmla="*/ 484284 h 605937"/>
                <a:gd name="connsiteX102" fmla="*/ 303146 w 556902"/>
                <a:gd name="connsiteY102" fmla="*/ 484284 h 605937"/>
                <a:gd name="connsiteX103" fmla="*/ 316764 w 556902"/>
                <a:gd name="connsiteY103" fmla="*/ 497880 h 605937"/>
                <a:gd name="connsiteX104" fmla="*/ 316764 w 556902"/>
                <a:gd name="connsiteY104" fmla="*/ 578847 h 605937"/>
                <a:gd name="connsiteX105" fmla="*/ 410969 w 556902"/>
                <a:gd name="connsiteY105" fmla="*/ 578847 h 605937"/>
                <a:gd name="connsiteX106" fmla="*/ 410969 w 556902"/>
                <a:gd name="connsiteY106" fmla="*/ 69812 h 605937"/>
                <a:gd name="connsiteX107" fmla="*/ 335971 w 556902"/>
                <a:gd name="connsiteY107" fmla="*/ 69812 h 605937"/>
                <a:gd name="connsiteX108" fmla="*/ 331397 w 556902"/>
                <a:gd name="connsiteY108" fmla="*/ 75291 h 605937"/>
                <a:gd name="connsiteX109" fmla="*/ 289020 w 556902"/>
                <a:gd name="connsiteY109" fmla="*/ 117499 h 605937"/>
                <a:gd name="connsiteX110" fmla="*/ 279467 w 556902"/>
                <a:gd name="connsiteY110" fmla="*/ 121456 h 605937"/>
                <a:gd name="connsiteX111" fmla="*/ 269915 w 556902"/>
                <a:gd name="connsiteY111" fmla="*/ 117499 h 605937"/>
                <a:gd name="connsiteX112" fmla="*/ 226724 w 556902"/>
                <a:gd name="connsiteY112" fmla="*/ 74378 h 605937"/>
                <a:gd name="connsiteX113" fmla="*/ 222761 w 556902"/>
                <a:gd name="connsiteY113" fmla="*/ 69812 h 605937"/>
                <a:gd name="connsiteX114" fmla="*/ 256805 w 556902"/>
                <a:gd name="connsiteY114" fmla="*/ 26995 h 605937"/>
                <a:gd name="connsiteX115" fmla="*/ 245423 w 556902"/>
                <a:gd name="connsiteY115" fmla="*/ 31662 h 605937"/>
                <a:gd name="connsiteX116" fmla="*/ 240748 w 556902"/>
                <a:gd name="connsiteY116" fmla="*/ 43229 h 605937"/>
                <a:gd name="connsiteX117" fmla="*/ 245830 w 556902"/>
                <a:gd name="connsiteY117" fmla="*/ 55201 h 605937"/>
                <a:gd name="connsiteX118" fmla="*/ 279467 w 556902"/>
                <a:gd name="connsiteY118" fmla="*/ 88785 h 605937"/>
                <a:gd name="connsiteX119" fmla="*/ 312190 w 556902"/>
                <a:gd name="connsiteY119" fmla="*/ 56115 h 605937"/>
                <a:gd name="connsiteX120" fmla="*/ 316865 w 556902"/>
                <a:gd name="connsiteY120" fmla="*/ 44548 h 605937"/>
                <a:gd name="connsiteX121" fmla="*/ 311784 w 556902"/>
                <a:gd name="connsiteY121" fmla="*/ 32575 h 605937"/>
                <a:gd name="connsiteX122" fmla="*/ 299691 w 556902"/>
                <a:gd name="connsiteY122" fmla="*/ 27502 h 605937"/>
                <a:gd name="connsiteX123" fmla="*/ 288207 w 556902"/>
                <a:gd name="connsiteY123" fmla="*/ 32170 h 605937"/>
                <a:gd name="connsiteX124" fmla="*/ 278553 w 556902"/>
                <a:gd name="connsiteY124" fmla="*/ 36127 h 605937"/>
                <a:gd name="connsiteX125" fmla="*/ 269000 w 556902"/>
                <a:gd name="connsiteY125" fmla="*/ 32170 h 605937"/>
                <a:gd name="connsiteX126" fmla="*/ 257008 w 556902"/>
                <a:gd name="connsiteY126" fmla="*/ 26995 h 605937"/>
                <a:gd name="connsiteX127" fmla="*/ 251457 w 556902"/>
                <a:gd name="connsiteY127" fmla="*/ 323 h 605937"/>
                <a:gd name="connsiteX128" fmla="*/ 278654 w 556902"/>
                <a:gd name="connsiteY128" fmla="*/ 5789 h 605937"/>
                <a:gd name="connsiteX129" fmla="*/ 299996 w 556902"/>
                <a:gd name="connsiteY129" fmla="*/ 412 h 605937"/>
                <a:gd name="connsiteX130" fmla="*/ 330889 w 556902"/>
                <a:gd name="connsiteY130" fmla="*/ 13501 h 605937"/>
                <a:gd name="connsiteX131" fmla="*/ 343897 w 556902"/>
                <a:gd name="connsiteY131" fmla="*/ 42823 h 605937"/>
                <a:gd name="connsiteX132" fmla="*/ 424485 w 556902"/>
                <a:gd name="connsiteY132" fmla="*/ 42823 h 605937"/>
                <a:gd name="connsiteX133" fmla="*/ 438002 w 556902"/>
                <a:gd name="connsiteY133" fmla="*/ 56317 h 605937"/>
                <a:gd name="connsiteX134" fmla="*/ 438002 w 556902"/>
                <a:gd name="connsiteY134" fmla="*/ 191059 h 605937"/>
                <a:gd name="connsiteX135" fmla="*/ 543386 w 556902"/>
                <a:gd name="connsiteY135" fmla="*/ 191059 h 605937"/>
                <a:gd name="connsiteX136" fmla="*/ 556902 w 556902"/>
                <a:gd name="connsiteY136" fmla="*/ 204655 h 605937"/>
                <a:gd name="connsiteX137" fmla="*/ 556902 w 556902"/>
                <a:gd name="connsiteY137" fmla="*/ 592443 h 605937"/>
                <a:gd name="connsiteX138" fmla="*/ 543386 w 556902"/>
                <a:gd name="connsiteY138" fmla="*/ 605937 h 605937"/>
                <a:gd name="connsiteX139" fmla="*/ 13516 w 556902"/>
                <a:gd name="connsiteY139" fmla="*/ 605937 h 605937"/>
                <a:gd name="connsiteX140" fmla="*/ 0 w 556902"/>
                <a:gd name="connsiteY140" fmla="*/ 592443 h 605937"/>
                <a:gd name="connsiteX141" fmla="*/ 0 w 556902"/>
                <a:gd name="connsiteY141" fmla="*/ 204655 h 605937"/>
                <a:gd name="connsiteX142" fmla="*/ 13516 w 556902"/>
                <a:gd name="connsiteY142" fmla="*/ 191059 h 605937"/>
                <a:gd name="connsiteX143" fmla="*/ 118900 w 556902"/>
                <a:gd name="connsiteY143" fmla="*/ 191059 h 605937"/>
                <a:gd name="connsiteX144" fmla="*/ 118900 w 556902"/>
                <a:gd name="connsiteY144" fmla="*/ 56317 h 605937"/>
                <a:gd name="connsiteX145" fmla="*/ 132417 w 556902"/>
                <a:gd name="connsiteY145" fmla="*/ 42823 h 605937"/>
                <a:gd name="connsiteX146" fmla="*/ 213716 w 556902"/>
                <a:gd name="connsiteY146" fmla="*/ 42823 h 605937"/>
                <a:gd name="connsiteX147" fmla="*/ 226318 w 556902"/>
                <a:gd name="connsiteY147" fmla="*/ 12587 h 605937"/>
                <a:gd name="connsiteX148" fmla="*/ 251457 w 556902"/>
                <a:gd name="connsiteY148" fmla="*/ 323 h 60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556902" h="605937">
                  <a:moveTo>
                    <a:pt x="256195" y="511374"/>
                  </a:moveTo>
                  <a:lnTo>
                    <a:pt x="256195" y="578847"/>
                  </a:lnTo>
                  <a:lnTo>
                    <a:pt x="289630" y="578847"/>
                  </a:lnTo>
                  <a:lnTo>
                    <a:pt x="289630" y="511374"/>
                  </a:lnTo>
                  <a:close/>
                  <a:moveTo>
                    <a:pt x="180686" y="421832"/>
                  </a:moveTo>
                  <a:lnTo>
                    <a:pt x="376216" y="421832"/>
                  </a:lnTo>
                  <a:cubicBezTo>
                    <a:pt x="383635" y="421832"/>
                    <a:pt x="389732" y="427921"/>
                    <a:pt x="389732" y="435330"/>
                  </a:cubicBezTo>
                  <a:cubicBezTo>
                    <a:pt x="389732" y="442840"/>
                    <a:pt x="383635" y="448929"/>
                    <a:pt x="376216" y="448929"/>
                  </a:cubicBezTo>
                  <a:lnTo>
                    <a:pt x="180686" y="448929"/>
                  </a:lnTo>
                  <a:cubicBezTo>
                    <a:pt x="173267" y="448929"/>
                    <a:pt x="167169" y="442840"/>
                    <a:pt x="167169" y="435330"/>
                  </a:cubicBezTo>
                  <a:cubicBezTo>
                    <a:pt x="167169" y="427921"/>
                    <a:pt x="173267" y="421832"/>
                    <a:pt x="180686" y="421832"/>
                  </a:cubicBezTo>
                  <a:close/>
                  <a:moveTo>
                    <a:pt x="180686" y="355077"/>
                  </a:moveTo>
                  <a:lnTo>
                    <a:pt x="376216" y="355077"/>
                  </a:lnTo>
                  <a:cubicBezTo>
                    <a:pt x="383635" y="355077"/>
                    <a:pt x="389732" y="361166"/>
                    <a:pt x="389732" y="368676"/>
                  </a:cubicBezTo>
                  <a:cubicBezTo>
                    <a:pt x="389732" y="376085"/>
                    <a:pt x="383635" y="382174"/>
                    <a:pt x="376216" y="382174"/>
                  </a:cubicBezTo>
                  <a:lnTo>
                    <a:pt x="180686" y="382174"/>
                  </a:lnTo>
                  <a:cubicBezTo>
                    <a:pt x="173267" y="382174"/>
                    <a:pt x="167169" y="376085"/>
                    <a:pt x="167169" y="368676"/>
                  </a:cubicBezTo>
                  <a:cubicBezTo>
                    <a:pt x="167169" y="361166"/>
                    <a:pt x="173267" y="355077"/>
                    <a:pt x="180686" y="355077"/>
                  </a:cubicBezTo>
                  <a:close/>
                  <a:moveTo>
                    <a:pt x="180686" y="288322"/>
                  </a:moveTo>
                  <a:lnTo>
                    <a:pt x="376216" y="288322"/>
                  </a:lnTo>
                  <a:cubicBezTo>
                    <a:pt x="383635" y="288322"/>
                    <a:pt x="389732" y="294411"/>
                    <a:pt x="389732" y="301921"/>
                  </a:cubicBezTo>
                  <a:cubicBezTo>
                    <a:pt x="389732" y="309330"/>
                    <a:pt x="383635" y="315419"/>
                    <a:pt x="376216" y="315419"/>
                  </a:cubicBezTo>
                  <a:lnTo>
                    <a:pt x="180686" y="315419"/>
                  </a:lnTo>
                  <a:cubicBezTo>
                    <a:pt x="173267" y="315419"/>
                    <a:pt x="167169" y="309330"/>
                    <a:pt x="167169" y="301921"/>
                  </a:cubicBezTo>
                  <a:cubicBezTo>
                    <a:pt x="167169" y="294411"/>
                    <a:pt x="173267" y="288322"/>
                    <a:pt x="180686" y="288322"/>
                  </a:cubicBezTo>
                  <a:close/>
                  <a:moveTo>
                    <a:pt x="180686" y="221708"/>
                  </a:moveTo>
                  <a:lnTo>
                    <a:pt x="376216" y="221708"/>
                  </a:lnTo>
                  <a:cubicBezTo>
                    <a:pt x="383635" y="221708"/>
                    <a:pt x="389732" y="227687"/>
                    <a:pt x="389732" y="235186"/>
                  </a:cubicBezTo>
                  <a:cubicBezTo>
                    <a:pt x="389732" y="242685"/>
                    <a:pt x="383635" y="248664"/>
                    <a:pt x="376216" y="248664"/>
                  </a:cubicBezTo>
                  <a:lnTo>
                    <a:pt x="180686" y="248664"/>
                  </a:lnTo>
                  <a:cubicBezTo>
                    <a:pt x="173267" y="248664"/>
                    <a:pt x="167169" y="242685"/>
                    <a:pt x="167169" y="235186"/>
                  </a:cubicBezTo>
                  <a:cubicBezTo>
                    <a:pt x="167169" y="227687"/>
                    <a:pt x="173267" y="221708"/>
                    <a:pt x="180686" y="221708"/>
                  </a:cubicBezTo>
                  <a:close/>
                  <a:moveTo>
                    <a:pt x="438002" y="218149"/>
                  </a:moveTo>
                  <a:lnTo>
                    <a:pt x="438002" y="249197"/>
                  </a:lnTo>
                  <a:lnTo>
                    <a:pt x="493590" y="249197"/>
                  </a:lnTo>
                  <a:cubicBezTo>
                    <a:pt x="501110" y="249197"/>
                    <a:pt x="507208" y="255183"/>
                    <a:pt x="507208" y="262691"/>
                  </a:cubicBezTo>
                  <a:cubicBezTo>
                    <a:pt x="507208" y="270199"/>
                    <a:pt x="501110" y="276186"/>
                    <a:pt x="493590" y="276186"/>
                  </a:cubicBezTo>
                  <a:lnTo>
                    <a:pt x="438002" y="276186"/>
                  </a:lnTo>
                  <a:lnTo>
                    <a:pt x="438002" y="315857"/>
                  </a:lnTo>
                  <a:lnTo>
                    <a:pt x="493590" y="315857"/>
                  </a:lnTo>
                  <a:cubicBezTo>
                    <a:pt x="501110" y="315857"/>
                    <a:pt x="507208" y="321945"/>
                    <a:pt x="507208" y="329453"/>
                  </a:cubicBezTo>
                  <a:cubicBezTo>
                    <a:pt x="507208" y="336860"/>
                    <a:pt x="501110" y="342948"/>
                    <a:pt x="493590" y="342948"/>
                  </a:cubicBezTo>
                  <a:lnTo>
                    <a:pt x="438002" y="342948"/>
                  </a:lnTo>
                  <a:lnTo>
                    <a:pt x="438002" y="382619"/>
                  </a:lnTo>
                  <a:lnTo>
                    <a:pt x="493590" y="382619"/>
                  </a:lnTo>
                  <a:cubicBezTo>
                    <a:pt x="501110" y="382619"/>
                    <a:pt x="507208" y="388707"/>
                    <a:pt x="507208" y="396114"/>
                  </a:cubicBezTo>
                  <a:cubicBezTo>
                    <a:pt x="507208" y="403622"/>
                    <a:pt x="501110" y="409710"/>
                    <a:pt x="493590" y="409710"/>
                  </a:cubicBezTo>
                  <a:lnTo>
                    <a:pt x="438002" y="409710"/>
                  </a:lnTo>
                  <a:lnTo>
                    <a:pt x="438002" y="449381"/>
                  </a:lnTo>
                  <a:lnTo>
                    <a:pt x="493590" y="449381"/>
                  </a:lnTo>
                  <a:cubicBezTo>
                    <a:pt x="501110" y="449381"/>
                    <a:pt x="507208" y="455367"/>
                    <a:pt x="507208" y="462876"/>
                  </a:cubicBezTo>
                  <a:cubicBezTo>
                    <a:pt x="507208" y="470384"/>
                    <a:pt x="501110" y="476370"/>
                    <a:pt x="493590" y="476370"/>
                  </a:cubicBezTo>
                  <a:lnTo>
                    <a:pt x="438002" y="476370"/>
                  </a:lnTo>
                  <a:lnTo>
                    <a:pt x="438002" y="516042"/>
                  </a:lnTo>
                  <a:lnTo>
                    <a:pt x="493590" y="516042"/>
                  </a:lnTo>
                  <a:cubicBezTo>
                    <a:pt x="501110" y="516042"/>
                    <a:pt x="507208" y="522129"/>
                    <a:pt x="507208" y="529638"/>
                  </a:cubicBezTo>
                  <a:cubicBezTo>
                    <a:pt x="507208" y="537044"/>
                    <a:pt x="501110" y="543132"/>
                    <a:pt x="493590" y="543132"/>
                  </a:cubicBezTo>
                  <a:lnTo>
                    <a:pt x="438002" y="543132"/>
                  </a:lnTo>
                  <a:lnTo>
                    <a:pt x="438002" y="578847"/>
                  </a:lnTo>
                  <a:lnTo>
                    <a:pt x="529870" y="578847"/>
                  </a:lnTo>
                  <a:lnTo>
                    <a:pt x="529870" y="218149"/>
                  </a:lnTo>
                  <a:close/>
                  <a:moveTo>
                    <a:pt x="27032" y="218149"/>
                  </a:moveTo>
                  <a:lnTo>
                    <a:pt x="27032" y="578847"/>
                  </a:lnTo>
                  <a:lnTo>
                    <a:pt x="118900" y="578847"/>
                  </a:lnTo>
                  <a:lnTo>
                    <a:pt x="118900" y="543132"/>
                  </a:lnTo>
                  <a:lnTo>
                    <a:pt x="63312" y="543132"/>
                  </a:lnTo>
                  <a:cubicBezTo>
                    <a:pt x="55792" y="543132"/>
                    <a:pt x="49796" y="537044"/>
                    <a:pt x="49796" y="529638"/>
                  </a:cubicBezTo>
                  <a:cubicBezTo>
                    <a:pt x="49796" y="522129"/>
                    <a:pt x="55792" y="516042"/>
                    <a:pt x="63312" y="516042"/>
                  </a:cubicBezTo>
                  <a:lnTo>
                    <a:pt x="118900" y="516042"/>
                  </a:lnTo>
                  <a:lnTo>
                    <a:pt x="118900" y="476370"/>
                  </a:lnTo>
                  <a:lnTo>
                    <a:pt x="63312" y="476370"/>
                  </a:lnTo>
                  <a:cubicBezTo>
                    <a:pt x="55792" y="476370"/>
                    <a:pt x="49796" y="470384"/>
                    <a:pt x="49796" y="462876"/>
                  </a:cubicBezTo>
                  <a:cubicBezTo>
                    <a:pt x="49796" y="455367"/>
                    <a:pt x="55792" y="449381"/>
                    <a:pt x="63312" y="449381"/>
                  </a:cubicBezTo>
                  <a:lnTo>
                    <a:pt x="118900" y="449381"/>
                  </a:lnTo>
                  <a:lnTo>
                    <a:pt x="118900" y="409710"/>
                  </a:lnTo>
                  <a:lnTo>
                    <a:pt x="63312" y="409710"/>
                  </a:lnTo>
                  <a:cubicBezTo>
                    <a:pt x="55792" y="409710"/>
                    <a:pt x="49796" y="403622"/>
                    <a:pt x="49796" y="396114"/>
                  </a:cubicBezTo>
                  <a:cubicBezTo>
                    <a:pt x="49796" y="388707"/>
                    <a:pt x="55792" y="382619"/>
                    <a:pt x="63312" y="382619"/>
                  </a:cubicBezTo>
                  <a:lnTo>
                    <a:pt x="118900" y="382619"/>
                  </a:lnTo>
                  <a:lnTo>
                    <a:pt x="118900" y="342948"/>
                  </a:lnTo>
                  <a:lnTo>
                    <a:pt x="63312" y="342948"/>
                  </a:lnTo>
                  <a:cubicBezTo>
                    <a:pt x="55792" y="342948"/>
                    <a:pt x="49796" y="336860"/>
                    <a:pt x="49796" y="329453"/>
                  </a:cubicBezTo>
                  <a:cubicBezTo>
                    <a:pt x="49796" y="321945"/>
                    <a:pt x="55792" y="315857"/>
                    <a:pt x="63312" y="315857"/>
                  </a:cubicBezTo>
                  <a:lnTo>
                    <a:pt x="118900" y="315857"/>
                  </a:lnTo>
                  <a:lnTo>
                    <a:pt x="118900" y="276186"/>
                  </a:lnTo>
                  <a:lnTo>
                    <a:pt x="63312" y="276186"/>
                  </a:lnTo>
                  <a:cubicBezTo>
                    <a:pt x="55792" y="276186"/>
                    <a:pt x="49796" y="270199"/>
                    <a:pt x="49796" y="262691"/>
                  </a:cubicBezTo>
                  <a:cubicBezTo>
                    <a:pt x="49796" y="255183"/>
                    <a:pt x="55792" y="249197"/>
                    <a:pt x="63312" y="249197"/>
                  </a:cubicBezTo>
                  <a:lnTo>
                    <a:pt x="118900" y="249197"/>
                  </a:lnTo>
                  <a:lnTo>
                    <a:pt x="118900" y="218149"/>
                  </a:lnTo>
                  <a:close/>
                  <a:moveTo>
                    <a:pt x="180686" y="154954"/>
                  </a:moveTo>
                  <a:lnTo>
                    <a:pt x="376216" y="154954"/>
                  </a:lnTo>
                  <a:cubicBezTo>
                    <a:pt x="383635" y="154954"/>
                    <a:pt x="389732" y="161027"/>
                    <a:pt x="389732" y="168417"/>
                  </a:cubicBezTo>
                  <a:cubicBezTo>
                    <a:pt x="389732" y="175908"/>
                    <a:pt x="383635" y="181981"/>
                    <a:pt x="376216" y="181981"/>
                  </a:cubicBezTo>
                  <a:lnTo>
                    <a:pt x="180686" y="181981"/>
                  </a:lnTo>
                  <a:cubicBezTo>
                    <a:pt x="173267" y="181981"/>
                    <a:pt x="167169" y="175908"/>
                    <a:pt x="167169" y="168417"/>
                  </a:cubicBezTo>
                  <a:cubicBezTo>
                    <a:pt x="167169" y="161027"/>
                    <a:pt x="173267" y="154954"/>
                    <a:pt x="180686" y="154954"/>
                  </a:cubicBezTo>
                  <a:close/>
                  <a:moveTo>
                    <a:pt x="145933" y="69812"/>
                  </a:moveTo>
                  <a:lnTo>
                    <a:pt x="145933" y="578847"/>
                  </a:lnTo>
                  <a:lnTo>
                    <a:pt x="229062" y="578847"/>
                  </a:lnTo>
                  <a:lnTo>
                    <a:pt x="229062" y="497880"/>
                  </a:lnTo>
                  <a:cubicBezTo>
                    <a:pt x="229062" y="490372"/>
                    <a:pt x="235159" y="484284"/>
                    <a:pt x="242679" y="484284"/>
                  </a:cubicBezTo>
                  <a:lnTo>
                    <a:pt x="303146" y="484284"/>
                  </a:lnTo>
                  <a:cubicBezTo>
                    <a:pt x="310666" y="484284"/>
                    <a:pt x="316764" y="490372"/>
                    <a:pt x="316764" y="497880"/>
                  </a:cubicBezTo>
                  <a:lnTo>
                    <a:pt x="316764" y="578847"/>
                  </a:lnTo>
                  <a:lnTo>
                    <a:pt x="410969" y="578847"/>
                  </a:lnTo>
                  <a:lnTo>
                    <a:pt x="410969" y="69812"/>
                  </a:lnTo>
                  <a:lnTo>
                    <a:pt x="335971" y="69812"/>
                  </a:lnTo>
                  <a:cubicBezTo>
                    <a:pt x="334548" y="71740"/>
                    <a:pt x="333023" y="73566"/>
                    <a:pt x="331397" y="75291"/>
                  </a:cubicBezTo>
                  <a:lnTo>
                    <a:pt x="289020" y="117499"/>
                  </a:lnTo>
                  <a:cubicBezTo>
                    <a:pt x="286479" y="120036"/>
                    <a:pt x="283126" y="121456"/>
                    <a:pt x="279467" y="121456"/>
                  </a:cubicBezTo>
                  <a:cubicBezTo>
                    <a:pt x="275911" y="121456"/>
                    <a:pt x="272455" y="120036"/>
                    <a:pt x="269915" y="117499"/>
                  </a:cubicBezTo>
                  <a:lnTo>
                    <a:pt x="226724" y="74378"/>
                  </a:lnTo>
                  <a:cubicBezTo>
                    <a:pt x="225302" y="72957"/>
                    <a:pt x="223980" y="71435"/>
                    <a:pt x="222761" y="69812"/>
                  </a:cubicBezTo>
                  <a:close/>
                  <a:moveTo>
                    <a:pt x="256805" y="26995"/>
                  </a:moveTo>
                  <a:cubicBezTo>
                    <a:pt x="252435" y="26995"/>
                    <a:pt x="248472" y="28720"/>
                    <a:pt x="245423" y="31662"/>
                  </a:cubicBezTo>
                  <a:cubicBezTo>
                    <a:pt x="242374" y="34706"/>
                    <a:pt x="240748" y="38866"/>
                    <a:pt x="240748" y="43229"/>
                  </a:cubicBezTo>
                  <a:cubicBezTo>
                    <a:pt x="240850" y="47693"/>
                    <a:pt x="242679" y="51955"/>
                    <a:pt x="245830" y="55201"/>
                  </a:cubicBezTo>
                  <a:lnTo>
                    <a:pt x="279467" y="88785"/>
                  </a:lnTo>
                  <a:lnTo>
                    <a:pt x="312190" y="56115"/>
                  </a:lnTo>
                  <a:cubicBezTo>
                    <a:pt x="315239" y="53071"/>
                    <a:pt x="316865" y="49012"/>
                    <a:pt x="316865" y="44548"/>
                  </a:cubicBezTo>
                  <a:cubicBezTo>
                    <a:pt x="316764" y="40084"/>
                    <a:pt x="315036" y="35822"/>
                    <a:pt x="311784" y="32575"/>
                  </a:cubicBezTo>
                  <a:cubicBezTo>
                    <a:pt x="308532" y="29329"/>
                    <a:pt x="304264" y="27502"/>
                    <a:pt x="299691" y="27502"/>
                  </a:cubicBezTo>
                  <a:cubicBezTo>
                    <a:pt x="295321" y="27502"/>
                    <a:pt x="291256" y="29126"/>
                    <a:pt x="288207" y="32170"/>
                  </a:cubicBezTo>
                  <a:cubicBezTo>
                    <a:pt x="285666" y="34706"/>
                    <a:pt x="282211" y="36127"/>
                    <a:pt x="278553" y="36127"/>
                  </a:cubicBezTo>
                  <a:cubicBezTo>
                    <a:pt x="274996" y="36127"/>
                    <a:pt x="271541" y="34706"/>
                    <a:pt x="269000" y="32170"/>
                  </a:cubicBezTo>
                  <a:cubicBezTo>
                    <a:pt x="265748" y="28923"/>
                    <a:pt x="261480" y="27096"/>
                    <a:pt x="257008" y="26995"/>
                  </a:cubicBezTo>
                  <a:close/>
                  <a:moveTo>
                    <a:pt x="251457" y="323"/>
                  </a:moveTo>
                  <a:cubicBezTo>
                    <a:pt x="260692" y="-806"/>
                    <a:pt x="270270" y="1021"/>
                    <a:pt x="278654" y="5789"/>
                  </a:cubicBezTo>
                  <a:cubicBezTo>
                    <a:pt x="285057" y="2238"/>
                    <a:pt x="292374" y="310"/>
                    <a:pt x="299996" y="412"/>
                  </a:cubicBezTo>
                  <a:cubicBezTo>
                    <a:pt x="311682" y="513"/>
                    <a:pt x="322658" y="5181"/>
                    <a:pt x="330889" y="13501"/>
                  </a:cubicBezTo>
                  <a:cubicBezTo>
                    <a:pt x="338816" y="21415"/>
                    <a:pt x="343389" y="31764"/>
                    <a:pt x="343897" y="42823"/>
                  </a:cubicBezTo>
                  <a:lnTo>
                    <a:pt x="424485" y="42823"/>
                  </a:lnTo>
                  <a:cubicBezTo>
                    <a:pt x="432006" y="42823"/>
                    <a:pt x="438002" y="48809"/>
                    <a:pt x="438002" y="56317"/>
                  </a:cubicBezTo>
                  <a:lnTo>
                    <a:pt x="438002" y="191059"/>
                  </a:lnTo>
                  <a:lnTo>
                    <a:pt x="543386" y="191059"/>
                  </a:lnTo>
                  <a:cubicBezTo>
                    <a:pt x="550906" y="191059"/>
                    <a:pt x="556902" y="197147"/>
                    <a:pt x="556902" y="204655"/>
                  </a:cubicBezTo>
                  <a:lnTo>
                    <a:pt x="556902" y="592443"/>
                  </a:lnTo>
                  <a:cubicBezTo>
                    <a:pt x="556902" y="599849"/>
                    <a:pt x="550906" y="605937"/>
                    <a:pt x="543386" y="605937"/>
                  </a:cubicBezTo>
                  <a:lnTo>
                    <a:pt x="13516" y="605937"/>
                  </a:lnTo>
                  <a:cubicBezTo>
                    <a:pt x="5996" y="605937"/>
                    <a:pt x="0" y="599849"/>
                    <a:pt x="0" y="592443"/>
                  </a:cubicBezTo>
                  <a:lnTo>
                    <a:pt x="0" y="204655"/>
                  </a:lnTo>
                  <a:cubicBezTo>
                    <a:pt x="0" y="197147"/>
                    <a:pt x="5996" y="191059"/>
                    <a:pt x="13516" y="191059"/>
                  </a:cubicBezTo>
                  <a:lnTo>
                    <a:pt x="118900" y="191059"/>
                  </a:lnTo>
                  <a:lnTo>
                    <a:pt x="118900" y="56317"/>
                  </a:lnTo>
                  <a:cubicBezTo>
                    <a:pt x="118900" y="48809"/>
                    <a:pt x="124896" y="42823"/>
                    <a:pt x="132417" y="42823"/>
                  </a:cubicBezTo>
                  <a:lnTo>
                    <a:pt x="213716" y="42823"/>
                  </a:lnTo>
                  <a:cubicBezTo>
                    <a:pt x="213716" y="31358"/>
                    <a:pt x="218188" y="20603"/>
                    <a:pt x="226318" y="12587"/>
                  </a:cubicBezTo>
                  <a:cubicBezTo>
                    <a:pt x="233330" y="5536"/>
                    <a:pt x="242222" y="1452"/>
                    <a:pt x="251457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" name="îŝḻîdé">
              <a:extLst>
                <a:ext uri="{FF2B5EF4-FFF2-40B4-BE49-F238E27FC236}">
                  <a16:creationId xmlns:a16="http://schemas.microsoft.com/office/drawing/2014/main" id="{56F2B06B-17AD-45EC-BA2C-EDEF53ECD44E}"/>
                </a:ext>
              </a:extLst>
            </p:cNvPr>
            <p:cNvSpPr/>
            <p:nvPr/>
          </p:nvSpPr>
          <p:spPr>
            <a:xfrm>
              <a:off x="4764041" y="4413465"/>
              <a:ext cx="1047058" cy="27699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</a:rPr>
                <a:t>Text here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" name="í$liḋè">
              <a:extLst>
                <a:ext uri="{FF2B5EF4-FFF2-40B4-BE49-F238E27FC236}">
                  <a16:creationId xmlns:a16="http://schemas.microsoft.com/office/drawing/2014/main" id="{3E27BD7F-B795-45C8-9B81-934EB3DE9936}"/>
                </a:ext>
              </a:extLst>
            </p:cNvPr>
            <p:cNvSpPr/>
            <p:nvPr/>
          </p:nvSpPr>
          <p:spPr>
            <a:xfrm>
              <a:off x="6412078" y="4413465"/>
              <a:ext cx="1047056" cy="27699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</a:rPr>
                <a:t>Text here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iśḻidè">
              <a:extLst>
                <a:ext uri="{FF2B5EF4-FFF2-40B4-BE49-F238E27FC236}">
                  <a16:creationId xmlns:a16="http://schemas.microsoft.com/office/drawing/2014/main" id="{CC0C270E-0D02-4D6A-A84A-8B51CD332375}"/>
                </a:ext>
              </a:extLst>
            </p:cNvPr>
            <p:cNvSpPr/>
            <p:nvPr/>
          </p:nvSpPr>
          <p:spPr>
            <a:xfrm>
              <a:off x="3605615" y="3563738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iśľíḍe">
              <a:extLst>
                <a:ext uri="{FF2B5EF4-FFF2-40B4-BE49-F238E27FC236}">
                  <a16:creationId xmlns:a16="http://schemas.microsoft.com/office/drawing/2014/main" id="{BA3CB642-5253-474A-A77B-214003E9E3A7}"/>
                </a:ext>
              </a:extLst>
            </p:cNvPr>
            <p:cNvSpPr/>
            <p:nvPr/>
          </p:nvSpPr>
          <p:spPr>
            <a:xfrm>
              <a:off x="7554232" y="3563738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ïṩľiḋê">
              <a:extLst>
                <a:ext uri="{FF2B5EF4-FFF2-40B4-BE49-F238E27FC236}">
                  <a16:creationId xmlns:a16="http://schemas.microsoft.com/office/drawing/2014/main" id="{2BBE408F-EFCB-4B1A-A8A4-A3BEFAA252D0}"/>
                </a:ext>
              </a:extLst>
            </p:cNvPr>
            <p:cNvSpPr/>
            <p:nvPr/>
          </p:nvSpPr>
          <p:spPr>
            <a:xfrm>
              <a:off x="2139358" y="3563738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ïśļiḑé">
              <a:extLst>
                <a:ext uri="{FF2B5EF4-FFF2-40B4-BE49-F238E27FC236}">
                  <a16:creationId xmlns:a16="http://schemas.microsoft.com/office/drawing/2014/main" id="{70D6402E-9524-4A17-BE7A-26B628E20901}"/>
                </a:ext>
              </a:extLst>
            </p:cNvPr>
            <p:cNvSpPr/>
            <p:nvPr/>
          </p:nvSpPr>
          <p:spPr>
            <a:xfrm>
              <a:off x="9019381" y="3563738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9DF3320A-CD01-4823-89FE-E406FBEFCB47}"/>
                </a:ext>
              </a:extLst>
            </p:cNvPr>
            <p:cNvCxnSpPr>
              <a:cxnSpLocks/>
              <a:stCxn id="14" idx="6"/>
              <a:endCxn id="12" idx="2"/>
            </p:cNvCxnSpPr>
            <p:nvPr/>
          </p:nvCxnSpPr>
          <p:spPr>
            <a:xfrm>
              <a:off x="3173728" y="4080923"/>
              <a:ext cx="431887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7980C103-86A1-40A5-B6F4-D438F78B9BD3}"/>
                </a:ext>
              </a:extLst>
            </p:cNvPr>
            <p:cNvCxnSpPr>
              <a:cxnSpLocks/>
              <a:stCxn id="13" idx="6"/>
              <a:endCxn id="15" idx="2"/>
            </p:cNvCxnSpPr>
            <p:nvPr/>
          </p:nvCxnSpPr>
          <p:spPr>
            <a:xfrm>
              <a:off x="8588602" y="4080923"/>
              <a:ext cx="430779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íṧḻïdê">
              <a:extLst>
                <a:ext uri="{FF2B5EF4-FFF2-40B4-BE49-F238E27FC236}">
                  <a16:creationId xmlns:a16="http://schemas.microsoft.com/office/drawing/2014/main" id="{7F884DBC-54CC-41F4-975C-519B87E15D5F}"/>
                </a:ext>
              </a:extLst>
            </p:cNvPr>
            <p:cNvSpPr/>
            <p:nvPr/>
          </p:nvSpPr>
          <p:spPr>
            <a:xfrm>
              <a:off x="673100" y="4131556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FB52C33B-5F36-40C3-8FB6-C6946651EC33}"/>
                </a:ext>
              </a:extLst>
            </p:cNvPr>
            <p:cNvCxnSpPr>
              <a:cxnSpLocks/>
              <a:stCxn id="18" idx="7"/>
              <a:endCxn id="14" idx="2"/>
            </p:cNvCxnSpPr>
            <p:nvPr/>
          </p:nvCxnSpPr>
          <p:spPr>
            <a:xfrm flipV="1">
              <a:off x="1555990" y="4080923"/>
              <a:ext cx="583368" cy="20211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íŝlíḓè">
              <a:extLst>
                <a:ext uri="{FF2B5EF4-FFF2-40B4-BE49-F238E27FC236}">
                  <a16:creationId xmlns:a16="http://schemas.microsoft.com/office/drawing/2014/main" id="{0089EBA5-1091-4353-A165-505FDE70DF84}"/>
                </a:ext>
              </a:extLst>
            </p:cNvPr>
            <p:cNvSpPr/>
            <p:nvPr/>
          </p:nvSpPr>
          <p:spPr>
            <a:xfrm>
              <a:off x="10484530" y="4131556"/>
              <a:ext cx="1034370" cy="10343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225425" lvl="0" indent="-225425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b="1" kern="0" dirty="0">
                  <a:solidFill>
                    <a:prstClr val="black"/>
                  </a:solidFill>
                </a:rPr>
                <a:t>Text</a:t>
              </a:r>
              <a:endParaRPr lang="en-US" altLang="zh-CN" sz="800" b="1" kern="0" dirty="0">
                <a:solidFill>
                  <a:prstClr val="black"/>
                </a:solidFill>
              </a:endParaRPr>
            </a:p>
          </p:txBody>
        </p: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6A2A2184-CE5E-46D2-945B-2390804EBED6}"/>
                </a:ext>
              </a:extLst>
            </p:cNvPr>
            <p:cNvCxnSpPr>
              <a:cxnSpLocks/>
              <a:stCxn id="15" idx="6"/>
              <a:endCxn id="20" idx="1"/>
            </p:cNvCxnSpPr>
            <p:nvPr/>
          </p:nvCxnSpPr>
          <p:spPr>
            <a:xfrm>
              <a:off x="10053751" y="4080923"/>
              <a:ext cx="582259" cy="20211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ṣļíḍe">
              <a:extLst>
                <a:ext uri="{FF2B5EF4-FFF2-40B4-BE49-F238E27FC236}">
                  <a16:creationId xmlns:a16="http://schemas.microsoft.com/office/drawing/2014/main" id="{E45E8222-1EA0-4C5B-807B-D8BCF6B3B45F}"/>
                </a:ext>
              </a:extLst>
            </p:cNvPr>
            <p:cNvSpPr txBox="1"/>
            <p:nvPr/>
          </p:nvSpPr>
          <p:spPr>
            <a:xfrm>
              <a:off x="673100" y="1472409"/>
              <a:ext cx="4455000" cy="4304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23" name="íślïḑé">
              <a:extLst>
                <a:ext uri="{FF2B5EF4-FFF2-40B4-BE49-F238E27FC236}">
                  <a16:creationId xmlns:a16="http://schemas.microsoft.com/office/drawing/2014/main" id="{DBF03174-ECE4-4B08-9FA2-821F4D21B679}"/>
                </a:ext>
              </a:extLst>
            </p:cNvPr>
            <p:cNvSpPr txBox="1"/>
            <p:nvPr/>
          </p:nvSpPr>
          <p:spPr>
            <a:xfrm>
              <a:off x="673100" y="1902864"/>
              <a:ext cx="4455000" cy="4828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24" name="i$1íḋê">
              <a:extLst>
                <a:ext uri="{FF2B5EF4-FFF2-40B4-BE49-F238E27FC236}">
                  <a16:creationId xmlns:a16="http://schemas.microsoft.com/office/drawing/2014/main" id="{D5E7D8F5-CEBB-47A5-AB90-90C34118758C}"/>
                </a:ext>
              </a:extLst>
            </p:cNvPr>
            <p:cNvSpPr txBox="1"/>
            <p:nvPr/>
          </p:nvSpPr>
          <p:spPr>
            <a:xfrm>
              <a:off x="7063900" y="1472409"/>
              <a:ext cx="4455000" cy="4304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25" name="ïsļíḓè">
              <a:extLst>
                <a:ext uri="{FF2B5EF4-FFF2-40B4-BE49-F238E27FC236}">
                  <a16:creationId xmlns:a16="http://schemas.microsoft.com/office/drawing/2014/main" id="{0242F848-A4DF-4D7A-8F3E-F20E4F88F8FF}"/>
                </a:ext>
              </a:extLst>
            </p:cNvPr>
            <p:cNvSpPr txBox="1"/>
            <p:nvPr/>
          </p:nvSpPr>
          <p:spPr>
            <a:xfrm>
              <a:off x="7063900" y="1902864"/>
              <a:ext cx="4455000" cy="4828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5094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0C38DB-EC06-4A17-BCF0-82CFD2B57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2E7DABE-C9D3-4164-970C-B960E5E2F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1209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B596750-36CE-45AB-BE32-0ED5CF234DC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4704144"/>
            <a:chOff x="673100" y="1130300"/>
            <a:chExt cx="10845800" cy="4704144"/>
          </a:xfrm>
        </p:grpSpPr>
        <p:grpSp>
          <p:nvGrpSpPr>
            <p:cNvPr id="6" name="ïṡļíḓè">
              <a:extLst>
                <a:ext uri="{FF2B5EF4-FFF2-40B4-BE49-F238E27FC236}">
                  <a16:creationId xmlns:a16="http://schemas.microsoft.com/office/drawing/2014/main" id="{7CFB0E14-A97C-4E79-84B8-CA3EE6EBC181}"/>
                </a:ext>
              </a:extLst>
            </p:cNvPr>
            <p:cNvGrpSpPr/>
            <p:nvPr/>
          </p:nvGrpSpPr>
          <p:grpSpPr>
            <a:xfrm>
              <a:off x="8851959" y="3821084"/>
              <a:ext cx="2578029" cy="784007"/>
              <a:chOff x="1559496" y="3801006"/>
              <a:chExt cx="2578029" cy="784007"/>
            </a:xfrm>
          </p:grpSpPr>
          <p:sp>
            <p:nvSpPr>
              <p:cNvPr id="38" name="î$ḻïdê">
                <a:extLst>
                  <a:ext uri="{FF2B5EF4-FFF2-40B4-BE49-F238E27FC236}">
                    <a16:creationId xmlns:a16="http://schemas.microsoft.com/office/drawing/2014/main" id="{2C2FCC3A-79AC-42A1-B020-F3D91F767624}"/>
                  </a:ext>
                </a:extLst>
              </p:cNvPr>
              <p:cNvSpPr txBox="1"/>
              <p:nvPr/>
            </p:nvSpPr>
            <p:spPr>
              <a:xfrm>
                <a:off x="1559496" y="4107382"/>
                <a:ext cx="2578029" cy="4776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9" name="isľîďé">
                <a:extLst>
                  <a:ext uri="{FF2B5EF4-FFF2-40B4-BE49-F238E27FC236}">
                    <a16:creationId xmlns:a16="http://schemas.microsoft.com/office/drawing/2014/main" id="{27B66002-842C-435E-9601-2D1FD258D66A}"/>
                  </a:ext>
                </a:extLst>
              </p:cNvPr>
              <p:cNvSpPr/>
              <p:nvPr/>
            </p:nvSpPr>
            <p:spPr>
              <a:xfrm>
                <a:off x="1559496" y="3801006"/>
                <a:ext cx="2578029" cy="306375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7" name="ïṧlïḑè">
              <a:extLst>
                <a:ext uri="{FF2B5EF4-FFF2-40B4-BE49-F238E27FC236}">
                  <a16:creationId xmlns:a16="http://schemas.microsoft.com/office/drawing/2014/main" id="{AEBB4B8A-0063-4BDE-A8A1-9C9880D9D10E}"/>
                </a:ext>
              </a:extLst>
            </p:cNvPr>
            <p:cNvGrpSpPr/>
            <p:nvPr/>
          </p:nvGrpSpPr>
          <p:grpSpPr>
            <a:xfrm>
              <a:off x="7873643" y="2591730"/>
              <a:ext cx="2578029" cy="784007"/>
              <a:chOff x="1559496" y="3801006"/>
              <a:chExt cx="2578029" cy="784007"/>
            </a:xfrm>
          </p:grpSpPr>
          <p:sp>
            <p:nvSpPr>
              <p:cNvPr id="36" name="iṧľiḑe">
                <a:extLst>
                  <a:ext uri="{FF2B5EF4-FFF2-40B4-BE49-F238E27FC236}">
                    <a16:creationId xmlns:a16="http://schemas.microsoft.com/office/drawing/2014/main" id="{63398252-5E52-4A01-BC27-71511C4913DE}"/>
                  </a:ext>
                </a:extLst>
              </p:cNvPr>
              <p:cNvSpPr txBox="1"/>
              <p:nvPr/>
            </p:nvSpPr>
            <p:spPr>
              <a:xfrm>
                <a:off x="1559496" y="4107382"/>
                <a:ext cx="2578029" cy="4776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7" name="ïsḷïḍè">
                <a:extLst>
                  <a:ext uri="{FF2B5EF4-FFF2-40B4-BE49-F238E27FC236}">
                    <a16:creationId xmlns:a16="http://schemas.microsoft.com/office/drawing/2014/main" id="{11938A1F-68F2-433B-A5DB-511AE791DBAF}"/>
                  </a:ext>
                </a:extLst>
              </p:cNvPr>
              <p:cNvSpPr/>
              <p:nvPr/>
            </p:nvSpPr>
            <p:spPr>
              <a:xfrm>
                <a:off x="1559496" y="3801006"/>
                <a:ext cx="2578029" cy="306375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8" name="íSḻïḍè">
              <a:extLst>
                <a:ext uri="{FF2B5EF4-FFF2-40B4-BE49-F238E27FC236}">
                  <a16:creationId xmlns:a16="http://schemas.microsoft.com/office/drawing/2014/main" id="{CFE2524C-2F34-4987-ADC4-7F94718EA505}"/>
                </a:ext>
              </a:extLst>
            </p:cNvPr>
            <p:cNvGrpSpPr/>
            <p:nvPr/>
          </p:nvGrpSpPr>
          <p:grpSpPr>
            <a:xfrm>
              <a:off x="8940871" y="5050437"/>
              <a:ext cx="2578029" cy="784007"/>
              <a:chOff x="1559496" y="3801006"/>
              <a:chExt cx="2578029" cy="784007"/>
            </a:xfrm>
          </p:grpSpPr>
          <p:sp>
            <p:nvSpPr>
              <p:cNvPr id="34" name="îṧ1ïḓè">
                <a:extLst>
                  <a:ext uri="{FF2B5EF4-FFF2-40B4-BE49-F238E27FC236}">
                    <a16:creationId xmlns:a16="http://schemas.microsoft.com/office/drawing/2014/main" id="{C64AB4F9-0F29-409F-ABBA-60D34A04C6A5}"/>
                  </a:ext>
                </a:extLst>
              </p:cNvPr>
              <p:cNvSpPr txBox="1"/>
              <p:nvPr/>
            </p:nvSpPr>
            <p:spPr>
              <a:xfrm>
                <a:off x="1559496" y="4107382"/>
                <a:ext cx="2578029" cy="4776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5" name="iś1ïḑè">
                <a:extLst>
                  <a:ext uri="{FF2B5EF4-FFF2-40B4-BE49-F238E27FC236}">
                    <a16:creationId xmlns:a16="http://schemas.microsoft.com/office/drawing/2014/main" id="{2EC4B3A7-3AE0-456B-9053-50FBBE02C303}"/>
                  </a:ext>
                </a:extLst>
              </p:cNvPr>
              <p:cNvSpPr/>
              <p:nvPr/>
            </p:nvSpPr>
            <p:spPr>
              <a:xfrm>
                <a:off x="1559496" y="3801006"/>
                <a:ext cx="2578029" cy="306375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9" name="ïṥ1îḋe">
              <a:extLst>
                <a:ext uri="{FF2B5EF4-FFF2-40B4-BE49-F238E27FC236}">
                  <a16:creationId xmlns:a16="http://schemas.microsoft.com/office/drawing/2014/main" id="{98F2D978-DAE8-4CA7-915B-28B31B105A3A}"/>
                </a:ext>
              </a:extLst>
            </p:cNvPr>
            <p:cNvGrpSpPr/>
            <p:nvPr/>
          </p:nvGrpSpPr>
          <p:grpSpPr>
            <a:xfrm>
              <a:off x="2776201" y="3307643"/>
              <a:ext cx="2578029" cy="784007"/>
              <a:chOff x="1559496" y="3801006"/>
              <a:chExt cx="2578029" cy="784007"/>
            </a:xfrm>
          </p:grpSpPr>
          <p:sp>
            <p:nvSpPr>
              <p:cNvPr id="32" name="îṣḷîdè">
                <a:extLst>
                  <a:ext uri="{FF2B5EF4-FFF2-40B4-BE49-F238E27FC236}">
                    <a16:creationId xmlns:a16="http://schemas.microsoft.com/office/drawing/2014/main" id="{D0D1AE04-B7B2-48E9-A8EE-1624CE45B32E}"/>
                  </a:ext>
                </a:extLst>
              </p:cNvPr>
              <p:cNvSpPr txBox="1"/>
              <p:nvPr/>
            </p:nvSpPr>
            <p:spPr>
              <a:xfrm>
                <a:off x="1559496" y="4107382"/>
                <a:ext cx="2578029" cy="4776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3" name="ïšliḋè">
                <a:extLst>
                  <a:ext uri="{FF2B5EF4-FFF2-40B4-BE49-F238E27FC236}">
                    <a16:creationId xmlns:a16="http://schemas.microsoft.com/office/drawing/2014/main" id="{5FAFBD8D-7387-43FD-AB7D-0B51C8CA296D}"/>
                  </a:ext>
                </a:extLst>
              </p:cNvPr>
              <p:cNvSpPr/>
              <p:nvPr/>
            </p:nvSpPr>
            <p:spPr>
              <a:xfrm>
                <a:off x="1559496" y="3801006"/>
                <a:ext cx="2578029" cy="306375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10" name="is1îdè">
              <a:extLst>
                <a:ext uri="{FF2B5EF4-FFF2-40B4-BE49-F238E27FC236}">
                  <a16:creationId xmlns:a16="http://schemas.microsoft.com/office/drawing/2014/main" id="{1B64931C-6BC3-4B2F-84D6-1CED49E74C41}"/>
                </a:ext>
              </a:extLst>
            </p:cNvPr>
            <p:cNvGrpSpPr/>
            <p:nvPr/>
          </p:nvGrpSpPr>
          <p:grpSpPr>
            <a:xfrm>
              <a:off x="2687289" y="4703235"/>
              <a:ext cx="2578029" cy="784007"/>
              <a:chOff x="1559496" y="3801006"/>
              <a:chExt cx="2578029" cy="784007"/>
            </a:xfrm>
          </p:grpSpPr>
          <p:sp>
            <p:nvSpPr>
              <p:cNvPr id="30" name="íṥ1îḓê">
                <a:extLst>
                  <a:ext uri="{FF2B5EF4-FFF2-40B4-BE49-F238E27FC236}">
                    <a16:creationId xmlns:a16="http://schemas.microsoft.com/office/drawing/2014/main" id="{FDD292F3-2CA9-4162-8D3D-9318C29C3B78}"/>
                  </a:ext>
                </a:extLst>
              </p:cNvPr>
              <p:cNvSpPr txBox="1"/>
              <p:nvPr/>
            </p:nvSpPr>
            <p:spPr>
              <a:xfrm>
                <a:off x="1559496" y="4107382"/>
                <a:ext cx="2578029" cy="4776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1" name="išḷîḍè">
                <a:extLst>
                  <a:ext uri="{FF2B5EF4-FFF2-40B4-BE49-F238E27FC236}">
                    <a16:creationId xmlns:a16="http://schemas.microsoft.com/office/drawing/2014/main" id="{F3A35B0D-8565-47D7-97B2-B24B448A2DE7}"/>
                  </a:ext>
                </a:extLst>
              </p:cNvPr>
              <p:cNvSpPr/>
              <p:nvPr/>
            </p:nvSpPr>
            <p:spPr>
              <a:xfrm>
                <a:off x="1559496" y="3801006"/>
                <a:ext cx="2578029" cy="306375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sp>
          <p:nvSpPr>
            <p:cNvPr id="11" name="ïśľïḋé">
              <a:extLst>
                <a:ext uri="{FF2B5EF4-FFF2-40B4-BE49-F238E27FC236}">
                  <a16:creationId xmlns:a16="http://schemas.microsoft.com/office/drawing/2014/main" id="{335D1722-D7F0-4820-8E2E-3CF20345FAA4}"/>
                </a:ext>
              </a:extLst>
            </p:cNvPr>
            <p:cNvSpPr/>
            <p:nvPr/>
          </p:nvSpPr>
          <p:spPr bwMode="auto">
            <a:xfrm>
              <a:off x="5575524" y="2924944"/>
              <a:ext cx="3055139" cy="2664296"/>
            </a:xfrm>
            <a:custGeom>
              <a:avLst/>
              <a:gdLst>
                <a:gd name="T0" fmla="*/ 4504532 w 21410"/>
                <a:gd name="T1" fmla="*/ 3928635 h 21460"/>
                <a:gd name="T2" fmla="*/ 4504532 w 21410"/>
                <a:gd name="T3" fmla="*/ 3928635 h 21460"/>
                <a:gd name="T4" fmla="*/ 4504532 w 21410"/>
                <a:gd name="T5" fmla="*/ 3928635 h 21460"/>
                <a:gd name="T6" fmla="*/ 4504532 w 21410"/>
                <a:gd name="T7" fmla="*/ 3928635 h 2146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410" h="21460">
                  <a:moveTo>
                    <a:pt x="10087" y="1"/>
                  </a:moveTo>
                  <a:cubicBezTo>
                    <a:pt x="10004" y="-1"/>
                    <a:pt x="9920" y="0"/>
                    <a:pt x="9836" y="6"/>
                  </a:cubicBezTo>
                  <a:cubicBezTo>
                    <a:pt x="8489" y="98"/>
                    <a:pt x="7334" y="1235"/>
                    <a:pt x="7100" y="2753"/>
                  </a:cubicBezTo>
                  <a:cubicBezTo>
                    <a:pt x="6862" y="4295"/>
                    <a:pt x="7371" y="5484"/>
                    <a:pt x="8475" y="6368"/>
                  </a:cubicBezTo>
                  <a:cubicBezTo>
                    <a:pt x="9015" y="6801"/>
                    <a:pt x="9217" y="7418"/>
                    <a:pt x="9104" y="8148"/>
                  </a:cubicBezTo>
                  <a:cubicBezTo>
                    <a:pt x="8997" y="8863"/>
                    <a:pt x="8639" y="9355"/>
                    <a:pt x="8019" y="9582"/>
                  </a:cubicBezTo>
                  <a:cubicBezTo>
                    <a:pt x="7593" y="9738"/>
                    <a:pt x="7177" y="9921"/>
                    <a:pt x="6789" y="10183"/>
                  </a:cubicBezTo>
                  <a:cubicBezTo>
                    <a:pt x="6216" y="10568"/>
                    <a:pt x="5627" y="10604"/>
                    <a:pt x="5059" y="10185"/>
                  </a:cubicBezTo>
                  <a:cubicBezTo>
                    <a:pt x="4495" y="9770"/>
                    <a:pt x="4253" y="9160"/>
                    <a:pt x="4331" y="8392"/>
                  </a:cubicBezTo>
                  <a:cubicBezTo>
                    <a:pt x="4375" y="7950"/>
                    <a:pt x="4324" y="7528"/>
                    <a:pt x="4162" y="7122"/>
                  </a:cubicBezTo>
                  <a:cubicBezTo>
                    <a:pt x="3814" y="6252"/>
                    <a:pt x="3220" y="5773"/>
                    <a:pt x="2397" y="5725"/>
                  </a:cubicBezTo>
                  <a:cubicBezTo>
                    <a:pt x="1542" y="5676"/>
                    <a:pt x="877" y="6108"/>
                    <a:pt x="473" y="6978"/>
                  </a:cubicBezTo>
                  <a:cubicBezTo>
                    <a:pt x="84" y="7815"/>
                    <a:pt x="139" y="8668"/>
                    <a:pt x="615" y="9438"/>
                  </a:cubicBezTo>
                  <a:cubicBezTo>
                    <a:pt x="1175" y="10345"/>
                    <a:pt x="1970" y="10582"/>
                    <a:pt x="2890" y="10364"/>
                  </a:cubicBezTo>
                  <a:cubicBezTo>
                    <a:pt x="3411" y="10239"/>
                    <a:pt x="3861" y="10412"/>
                    <a:pt x="4243" y="10814"/>
                  </a:cubicBezTo>
                  <a:cubicBezTo>
                    <a:pt x="4798" y="11395"/>
                    <a:pt x="4894" y="12143"/>
                    <a:pt x="4553" y="13089"/>
                  </a:cubicBezTo>
                  <a:cubicBezTo>
                    <a:pt x="4293" y="13810"/>
                    <a:pt x="4158" y="14530"/>
                    <a:pt x="4139" y="15252"/>
                  </a:cubicBezTo>
                  <a:lnTo>
                    <a:pt x="4137" y="15237"/>
                  </a:lnTo>
                  <a:cubicBezTo>
                    <a:pt x="4088" y="15740"/>
                    <a:pt x="3871" y="16114"/>
                    <a:pt x="3452" y="16295"/>
                  </a:cubicBezTo>
                  <a:cubicBezTo>
                    <a:pt x="3035" y="16473"/>
                    <a:pt x="2657" y="16379"/>
                    <a:pt x="2331" y="16026"/>
                  </a:cubicBezTo>
                  <a:cubicBezTo>
                    <a:pt x="2145" y="15823"/>
                    <a:pt x="1929" y="15688"/>
                    <a:pt x="1677" y="15625"/>
                  </a:cubicBezTo>
                  <a:cubicBezTo>
                    <a:pt x="1136" y="15491"/>
                    <a:pt x="676" y="15662"/>
                    <a:pt x="328" y="16148"/>
                  </a:cubicBezTo>
                  <a:cubicBezTo>
                    <a:pt x="-34" y="16650"/>
                    <a:pt x="-98" y="17229"/>
                    <a:pt x="143" y="17823"/>
                  </a:cubicBezTo>
                  <a:cubicBezTo>
                    <a:pt x="377" y="18393"/>
                    <a:pt x="792" y="18697"/>
                    <a:pt x="1337" y="18713"/>
                  </a:cubicBezTo>
                  <a:cubicBezTo>
                    <a:pt x="1980" y="18731"/>
                    <a:pt x="2406" y="18341"/>
                    <a:pt x="2671" y="17690"/>
                  </a:cubicBezTo>
                  <a:cubicBezTo>
                    <a:pt x="2820" y="17323"/>
                    <a:pt x="3079" y="17117"/>
                    <a:pt x="3416" y="17042"/>
                  </a:cubicBezTo>
                  <a:cubicBezTo>
                    <a:pt x="3854" y="16946"/>
                    <a:pt x="4210" y="17077"/>
                    <a:pt x="4519" y="17667"/>
                  </a:cubicBezTo>
                  <a:cubicBezTo>
                    <a:pt x="4534" y="17712"/>
                    <a:pt x="4844" y="18471"/>
                    <a:pt x="5042" y="18820"/>
                  </a:cubicBezTo>
                  <a:cubicBezTo>
                    <a:pt x="5340" y="19343"/>
                    <a:pt x="5710" y="19797"/>
                    <a:pt x="6126" y="20175"/>
                  </a:cubicBezTo>
                  <a:cubicBezTo>
                    <a:pt x="6126" y="20175"/>
                    <a:pt x="6162" y="20211"/>
                    <a:pt x="6244" y="20282"/>
                  </a:cubicBezTo>
                  <a:lnTo>
                    <a:pt x="6237" y="20279"/>
                  </a:lnTo>
                  <a:cubicBezTo>
                    <a:pt x="6241" y="20283"/>
                    <a:pt x="6246" y="20287"/>
                    <a:pt x="6250" y="20291"/>
                  </a:cubicBezTo>
                  <a:cubicBezTo>
                    <a:pt x="7100" y="21006"/>
                    <a:pt x="8135" y="21438"/>
                    <a:pt x="9250" y="21457"/>
                  </a:cubicBezTo>
                  <a:cubicBezTo>
                    <a:pt x="10097" y="21487"/>
                    <a:pt x="10913" y="21286"/>
                    <a:pt x="11638" y="20903"/>
                  </a:cubicBezTo>
                  <a:cubicBezTo>
                    <a:pt x="12539" y="20410"/>
                    <a:pt x="13259" y="19679"/>
                    <a:pt x="13837" y="18730"/>
                  </a:cubicBezTo>
                  <a:cubicBezTo>
                    <a:pt x="14194" y="18144"/>
                    <a:pt x="14708" y="17915"/>
                    <a:pt x="15319" y="18009"/>
                  </a:cubicBezTo>
                  <a:cubicBezTo>
                    <a:pt x="15928" y="18105"/>
                    <a:pt x="16359" y="18483"/>
                    <a:pt x="16591" y="19150"/>
                  </a:cubicBezTo>
                  <a:cubicBezTo>
                    <a:pt x="16680" y="19406"/>
                    <a:pt x="16737" y="19673"/>
                    <a:pt x="16849" y="19921"/>
                  </a:cubicBezTo>
                  <a:cubicBezTo>
                    <a:pt x="17336" y="21003"/>
                    <a:pt x="18386" y="21598"/>
                    <a:pt x="19439" y="21373"/>
                  </a:cubicBezTo>
                  <a:cubicBezTo>
                    <a:pt x="20487" y="21148"/>
                    <a:pt x="21296" y="20132"/>
                    <a:pt x="21399" y="18907"/>
                  </a:cubicBezTo>
                  <a:cubicBezTo>
                    <a:pt x="21501" y="17691"/>
                    <a:pt x="20870" y="16487"/>
                    <a:pt x="19887" y="16060"/>
                  </a:cubicBezTo>
                  <a:cubicBezTo>
                    <a:pt x="18905" y="15631"/>
                    <a:pt x="18039" y="15899"/>
                    <a:pt x="17261" y="16670"/>
                  </a:cubicBezTo>
                  <a:cubicBezTo>
                    <a:pt x="16774" y="17152"/>
                    <a:pt x="16217" y="17206"/>
                    <a:pt x="15646" y="16928"/>
                  </a:cubicBezTo>
                  <a:cubicBezTo>
                    <a:pt x="15087" y="16656"/>
                    <a:pt x="14734" y="16170"/>
                    <a:pt x="14692" y="15444"/>
                  </a:cubicBezTo>
                  <a:cubicBezTo>
                    <a:pt x="14658" y="14883"/>
                    <a:pt x="14601" y="14326"/>
                    <a:pt x="14488" y="13780"/>
                  </a:cubicBezTo>
                  <a:lnTo>
                    <a:pt x="14479" y="13765"/>
                  </a:lnTo>
                  <a:cubicBezTo>
                    <a:pt x="14327" y="13035"/>
                    <a:pt x="14462" y="12374"/>
                    <a:pt x="14958" y="11839"/>
                  </a:cubicBezTo>
                  <a:cubicBezTo>
                    <a:pt x="15480" y="11275"/>
                    <a:pt x="16094" y="11145"/>
                    <a:pt x="16767" y="11438"/>
                  </a:cubicBezTo>
                  <a:cubicBezTo>
                    <a:pt x="17155" y="11607"/>
                    <a:pt x="17549" y="11654"/>
                    <a:pt x="17957" y="11568"/>
                  </a:cubicBezTo>
                  <a:cubicBezTo>
                    <a:pt x="18833" y="11381"/>
                    <a:pt x="19424" y="10797"/>
                    <a:pt x="19681" y="9827"/>
                  </a:cubicBezTo>
                  <a:cubicBezTo>
                    <a:pt x="19948" y="8820"/>
                    <a:pt x="19730" y="7915"/>
                    <a:pt x="19050" y="7206"/>
                  </a:cubicBezTo>
                  <a:cubicBezTo>
                    <a:pt x="18397" y="6524"/>
                    <a:pt x="17614" y="6367"/>
                    <a:pt x="16794" y="6733"/>
                  </a:cubicBezTo>
                  <a:cubicBezTo>
                    <a:pt x="15828" y="7164"/>
                    <a:pt x="15406" y="8050"/>
                    <a:pt x="15364" y="9206"/>
                  </a:cubicBezTo>
                  <a:cubicBezTo>
                    <a:pt x="15340" y="9859"/>
                    <a:pt x="15067" y="10350"/>
                    <a:pt x="14604" y="10700"/>
                  </a:cubicBezTo>
                  <a:cubicBezTo>
                    <a:pt x="13935" y="11210"/>
                    <a:pt x="13235" y="11130"/>
                    <a:pt x="12469" y="10476"/>
                  </a:cubicBezTo>
                  <a:cubicBezTo>
                    <a:pt x="12469" y="10476"/>
                    <a:pt x="11702" y="9992"/>
                    <a:pt x="11302" y="9766"/>
                  </a:cubicBezTo>
                  <a:cubicBezTo>
                    <a:pt x="10245" y="9174"/>
                    <a:pt x="10121" y="7465"/>
                    <a:pt x="11070" y="6668"/>
                  </a:cubicBezTo>
                  <a:cubicBezTo>
                    <a:pt x="11236" y="6529"/>
                    <a:pt x="11428" y="6435"/>
                    <a:pt x="11604" y="6312"/>
                  </a:cubicBezTo>
                  <a:cubicBezTo>
                    <a:pt x="12745" y="5503"/>
                    <a:pt x="13256" y="3864"/>
                    <a:pt x="12841" y="2360"/>
                  </a:cubicBezTo>
                  <a:cubicBezTo>
                    <a:pt x="12462" y="984"/>
                    <a:pt x="11338" y="38"/>
                    <a:pt x="10087" y="1"/>
                  </a:cubicBezTo>
                  <a:close/>
                  <a:moveTo>
                    <a:pt x="9231" y="10126"/>
                  </a:moveTo>
                  <a:cubicBezTo>
                    <a:pt x="9387" y="10117"/>
                    <a:pt x="9544" y="10116"/>
                    <a:pt x="9704" y="10126"/>
                  </a:cubicBezTo>
                  <a:cubicBezTo>
                    <a:pt x="12172" y="10277"/>
                    <a:pt x="14141" y="12744"/>
                    <a:pt x="14021" y="15643"/>
                  </a:cubicBezTo>
                  <a:cubicBezTo>
                    <a:pt x="13906" y="18437"/>
                    <a:pt x="11810" y="20694"/>
                    <a:pt x="9330" y="20606"/>
                  </a:cubicBezTo>
                  <a:cubicBezTo>
                    <a:pt x="6814" y="20563"/>
                    <a:pt x="4772" y="18048"/>
                    <a:pt x="4897" y="15109"/>
                  </a:cubicBezTo>
                  <a:cubicBezTo>
                    <a:pt x="5010" y="12454"/>
                    <a:pt x="6895" y="10263"/>
                    <a:pt x="9231" y="10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endParaRPr lang="id-ID">
                <a:solidFill>
                  <a:schemeClr val="tx2"/>
                </a:solidFill>
              </a:endParaRPr>
            </a:p>
          </p:txBody>
        </p:sp>
        <p:grpSp>
          <p:nvGrpSpPr>
            <p:cNvPr id="12" name="íSḻîḍê">
              <a:extLst>
                <a:ext uri="{FF2B5EF4-FFF2-40B4-BE49-F238E27FC236}">
                  <a16:creationId xmlns:a16="http://schemas.microsoft.com/office/drawing/2014/main" id="{2AC0A5FB-2B99-446A-B1D7-67F94E732FDC}"/>
                </a:ext>
              </a:extLst>
            </p:cNvPr>
            <p:cNvGrpSpPr/>
            <p:nvPr/>
          </p:nvGrpSpPr>
          <p:grpSpPr>
            <a:xfrm>
              <a:off x="8054243" y="4985927"/>
              <a:ext cx="502816" cy="502816"/>
              <a:chOff x="5675954" y="2249137"/>
              <a:chExt cx="648072" cy="648072"/>
            </a:xfrm>
          </p:grpSpPr>
          <p:sp>
            <p:nvSpPr>
              <p:cNvPr id="28" name="í$1ïḍê">
                <a:extLst>
                  <a:ext uri="{FF2B5EF4-FFF2-40B4-BE49-F238E27FC236}">
                    <a16:creationId xmlns:a16="http://schemas.microsoft.com/office/drawing/2014/main" id="{81763372-FCF1-4680-BA25-5FA279EAC075}"/>
                  </a:ext>
                </a:extLst>
              </p:cNvPr>
              <p:cNvSpPr/>
              <p:nvPr/>
            </p:nvSpPr>
            <p:spPr>
              <a:xfrm>
                <a:off x="5675954" y="2249137"/>
                <a:ext cx="648072" cy="64807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9" name="íṡ1íďé">
                <a:extLst>
                  <a:ext uri="{FF2B5EF4-FFF2-40B4-BE49-F238E27FC236}">
                    <a16:creationId xmlns:a16="http://schemas.microsoft.com/office/drawing/2014/main" id="{8D76CBD1-43DF-4DF7-83E9-F3C40E5DB44D}"/>
                  </a:ext>
                </a:extLst>
              </p:cNvPr>
              <p:cNvSpPr/>
              <p:nvPr/>
            </p:nvSpPr>
            <p:spPr bwMode="auto">
              <a:xfrm>
                <a:off x="5809844" y="2390028"/>
                <a:ext cx="380293" cy="366291"/>
              </a:xfrm>
              <a:custGeom>
                <a:avLst/>
                <a:gdLst>
                  <a:gd name="connsiteX0" fmla="*/ 297615 w 597921"/>
                  <a:gd name="connsiteY0" fmla="*/ 96957 h 598324"/>
                  <a:gd name="connsiteX1" fmla="*/ 323434 w 597921"/>
                  <a:gd name="connsiteY1" fmla="*/ 122740 h 598324"/>
                  <a:gd name="connsiteX2" fmla="*/ 323434 w 597921"/>
                  <a:gd name="connsiteY2" fmla="*/ 289852 h 598324"/>
                  <a:gd name="connsiteX3" fmla="*/ 462572 w 597921"/>
                  <a:gd name="connsiteY3" fmla="*/ 289852 h 598324"/>
                  <a:gd name="connsiteX4" fmla="*/ 487913 w 597921"/>
                  <a:gd name="connsiteY4" fmla="*/ 315157 h 598324"/>
                  <a:gd name="connsiteX5" fmla="*/ 462572 w 597921"/>
                  <a:gd name="connsiteY5" fmla="*/ 340463 h 598324"/>
                  <a:gd name="connsiteX6" fmla="*/ 297615 w 597921"/>
                  <a:gd name="connsiteY6" fmla="*/ 340463 h 598324"/>
                  <a:gd name="connsiteX7" fmla="*/ 272274 w 597921"/>
                  <a:gd name="connsiteY7" fmla="*/ 315157 h 598324"/>
                  <a:gd name="connsiteX8" fmla="*/ 272274 w 597921"/>
                  <a:gd name="connsiteY8" fmla="*/ 122740 h 598324"/>
                  <a:gd name="connsiteX9" fmla="*/ 297615 w 597921"/>
                  <a:gd name="connsiteY9" fmla="*/ 96957 h 598324"/>
                  <a:gd name="connsiteX10" fmla="*/ 298127 w 597921"/>
                  <a:gd name="connsiteY10" fmla="*/ 0 h 598324"/>
                  <a:gd name="connsiteX11" fmla="*/ 597921 w 597921"/>
                  <a:gd name="connsiteY11" fmla="*/ 299401 h 598324"/>
                  <a:gd name="connsiteX12" fmla="*/ 298127 w 597921"/>
                  <a:gd name="connsiteY12" fmla="*/ 598324 h 598324"/>
                  <a:gd name="connsiteX13" fmla="*/ 35150 w 597921"/>
                  <a:gd name="connsiteY13" fmla="*/ 442177 h 598324"/>
                  <a:gd name="connsiteX14" fmla="*/ 34194 w 597921"/>
                  <a:gd name="connsiteY14" fmla="*/ 432149 h 598324"/>
                  <a:gd name="connsiteX15" fmla="*/ 40410 w 597921"/>
                  <a:gd name="connsiteY15" fmla="*/ 424509 h 598324"/>
                  <a:gd name="connsiteX16" fmla="*/ 74836 w 597921"/>
                  <a:gd name="connsiteY16" fmla="*/ 407796 h 598324"/>
                  <a:gd name="connsiteX17" fmla="*/ 91571 w 597921"/>
                  <a:gd name="connsiteY17" fmla="*/ 413049 h 598324"/>
                  <a:gd name="connsiteX18" fmla="*/ 298127 w 597921"/>
                  <a:gd name="connsiteY18" fmla="*/ 534815 h 598324"/>
                  <a:gd name="connsiteX19" fmla="*/ 534328 w 597921"/>
                  <a:gd name="connsiteY19" fmla="*/ 299401 h 598324"/>
                  <a:gd name="connsiteX20" fmla="*/ 298127 w 597921"/>
                  <a:gd name="connsiteY20" fmla="*/ 63509 h 598324"/>
                  <a:gd name="connsiteX21" fmla="*/ 145123 w 597921"/>
                  <a:gd name="connsiteY21" fmla="*/ 120333 h 598324"/>
                  <a:gd name="connsiteX22" fmla="*/ 200587 w 597921"/>
                  <a:gd name="connsiteY22" fmla="*/ 142299 h 598324"/>
                  <a:gd name="connsiteX23" fmla="*/ 208237 w 597921"/>
                  <a:gd name="connsiteY23" fmla="*/ 152327 h 598324"/>
                  <a:gd name="connsiteX24" fmla="*/ 203456 w 597921"/>
                  <a:gd name="connsiteY24" fmla="*/ 164265 h 598324"/>
                  <a:gd name="connsiteX25" fmla="*/ 48060 w 597921"/>
                  <a:gd name="connsiteY25" fmla="*/ 285553 h 598324"/>
                  <a:gd name="connsiteX26" fmla="*/ 35150 w 597921"/>
                  <a:gd name="connsiteY26" fmla="*/ 287463 h 598324"/>
                  <a:gd name="connsiteX27" fmla="*/ 27500 w 597921"/>
                  <a:gd name="connsiteY27" fmla="*/ 277435 h 598324"/>
                  <a:gd name="connsiteX28" fmla="*/ 246 w 597921"/>
                  <a:gd name="connsiteY28" fmla="*/ 82132 h 598324"/>
                  <a:gd name="connsiteX29" fmla="*/ 4550 w 597921"/>
                  <a:gd name="connsiteY29" fmla="*/ 70194 h 598324"/>
                  <a:gd name="connsiteX30" fmla="*/ 17459 w 597921"/>
                  <a:gd name="connsiteY30" fmla="*/ 68762 h 598324"/>
                  <a:gd name="connsiteX31" fmla="*/ 80574 w 597921"/>
                  <a:gd name="connsiteY31" fmla="*/ 94070 h 598324"/>
                  <a:gd name="connsiteX32" fmla="*/ 298127 w 597921"/>
                  <a:gd name="connsiteY32" fmla="*/ 0 h 598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97921" h="598324">
                    <a:moveTo>
                      <a:pt x="297615" y="96957"/>
                    </a:moveTo>
                    <a:cubicBezTo>
                      <a:pt x="311959" y="96957"/>
                      <a:pt x="323434" y="108416"/>
                      <a:pt x="323434" y="122740"/>
                    </a:cubicBezTo>
                    <a:lnTo>
                      <a:pt x="323434" y="289852"/>
                    </a:lnTo>
                    <a:lnTo>
                      <a:pt x="462572" y="289852"/>
                    </a:lnTo>
                    <a:cubicBezTo>
                      <a:pt x="476438" y="289852"/>
                      <a:pt x="487913" y="301311"/>
                      <a:pt x="487913" y="315157"/>
                    </a:cubicBezTo>
                    <a:cubicBezTo>
                      <a:pt x="487913" y="329004"/>
                      <a:pt x="476438" y="340463"/>
                      <a:pt x="462572" y="340463"/>
                    </a:cubicBezTo>
                    <a:lnTo>
                      <a:pt x="297615" y="340463"/>
                    </a:lnTo>
                    <a:cubicBezTo>
                      <a:pt x="283749" y="340463"/>
                      <a:pt x="272274" y="329004"/>
                      <a:pt x="272274" y="315157"/>
                    </a:cubicBezTo>
                    <a:lnTo>
                      <a:pt x="272274" y="122740"/>
                    </a:lnTo>
                    <a:cubicBezTo>
                      <a:pt x="272274" y="108416"/>
                      <a:pt x="283749" y="96957"/>
                      <a:pt x="297615" y="96957"/>
                    </a:cubicBezTo>
                    <a:close/>
                    <a:moveTo>
                      <a:pt x="298127" y="0"/>
                    </a:moveTo>
                    <a:cubicBezTo>
                      <a:pt x="463564" y="0"/>
                      <a:pt x="597921" y="134181"/>
                      <a:pt x="597921" y="299401"/>
                    </a:cubicBezTo>
                    <a:cubicBezTo>
                      <a:pt x="597921" y="464143"/>
                      <a:pt x="463564" y="598324"/>
                      <a:pt x="298127" y="598324"/>
                    </a:cubicBezTo>
                    <a:cubicBezTo>
                      <a:pt x="188155" y="598324"/>
                      <a:pt x="87268" y="538635"/>
                      <a:pt x="35150" y="442177"/>
                    </a:cubicBezTo>
                    <a:cubicBezTo>
                      <a:pt x="33238" y="438835"/>
                      <a:pt x="32760" y="435492"/>
                      <a:pt x="34194" y="432149"/>
                    </a:cubicBezTo>
                    <a:cubicBezTo>
                      <a:pt x="35150" y="428807"/>
                      <a:pt x="37541" y="425942"/>
                      <a:pt x="40410" y="424509"/>
                    </a:cubicBezTo>
                    <a:lnTo>
                      <a:pt x="74836" y="407796"/>
                    </a:lnTo>
                    <a:cubicBezTo>
                      <a:pt x="81052" y="404931"/>
                      <a:pt x="88702" y="407319"/>
                      <a:pt x="91571" y="413049"/>
                    </a:cubicBezTo>
                    <a:cubicBezTo>
                      <a:pt x="133169" y="488018"/>
                      <a:pt x="212540" y="534815"/>
                      <a:pt x="298127" y="534815"/>
                    </a:cubicBezTo>
                    <a:cubicBezTo>
                      <a:pt x="428181" y="534815"/>
                      <a:pt x="534328" y="429284"/>
                      <a:pt x="534328" y="299401"/>
                    </a:cubicBezTo>
                    <a:cubicBezTo>
                      <a:pt x="534328" y="169517"/>
                      <a:pt x="428181" y="63509"/>
                      <a:pt x="298127" y="63509"/>
                    </a:cubicBezTo>
                    <a:cubicBezTo>
                      <a:pt x="242185" y="63509"/>
                      <a:pt x="187677" y="83565"/>
                      <a:pt x="145123" y="120333"/>
                    </a:cubicBezTo>
                    <a:lnTo>
                      <a:pt x="200587" y="142299"/>
                    </a:lnTo>
                    <a:cubicBezTo>
                      <a:pt x="204890" y="144209"/>
                      <a:pt x="207759" y="148029"/>
                      <a:pt x="208237" y="152327"/>
                    </a:cubicBezTo>
                    <a:cubicBezTo>
                      <a:pt x="208715" y="157102"/>
                      <a:pt x="207281" y="161399"/>
                      <a:pt x="203456" y="164265"/>
                    </a:cubicBezTo>
                    <a:lnTo>
                      <a:pt x="48060" y="285553"/>
                    </a:lnTo>
                    <a:cubicBezTo>
                      <a:pt x="44235" y="288418"/>
                      <a:pt x="39454" y="289373"/>
                      <a:pt x="35150" y="287463"/>
                    </a:cubicBezTo>
                    <a:cubicBezTo>
                      <a:pt x="31325" y="285553"/>
                      <a:pt x="27978" y="281733"/>
                      <a:pt x="27500" y="277435"/>
                    </a:cubicBezTo>
                    <a:lnTo>
                      <a:pt x="246" y="82132"/>
                    </a:lnTo>
                    <a:cubicBezTo>
                      <a:pt x="-710" y="77835"/>
                      <a:pt x="1203" y="73060"/>
                      <a:pt x="4550" y="70194"/>
                    </a:cubicBezTo>
                    <a:cubicBezTo>
                      <a:pt x="8375" y="67807"/>
                      <a:pt x="13156" y="66852"/>
                      <a:pt x="17459" y="68762"/>
                    </a:cubicBezTo>
                    <a:lnTo>
                      <a:pt x="80574" y="94070"/>
                    </a:lnTo>
                    <a:cubicBezTo>
                      <a:pt x="137472" y="33426"/>
                      <a:pt x="214931" y="0"/>
                      <a:pt x="29812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198"/>
              </a:p>
            </p:txBody>
          </p:sp>
        </p:grpSp>
        <p:grpSp>
          <p:nvGrpSpPr>
            <p:cNvPr id="13" name="îṩ1íḋê">
              <a:extLst>
                <a:ext uri="{FF2B5EF4-FFF2-40B4-BE49-F238E27FC236}">
                  <a16:creationId xmlns:a16="http://schemas.microsoft.com/office/drawing/2014/main" id="{4E3341A3-2784-4B3E-95CA-5C62AEF0FD4C}"/>
                </a:ext>
              </a:extLst>
            </p:cNvPr>
            <p:cNvGrpSpPr/>
            <p:nvPr/>
          </p:nvGrpSpPr>
          <p:grpSpPr>
            <a:xfrm>
              <a:off x="5632209" y="4910432"/>
              <a:ext cx="280010" cy="280010"/>
              <a:chOff x="7442747" y="2249137"/>
              <a:chExt cx="648072" cy="648072"/>
            </a:xfrm>
          </p:grpSpPr>
          <p:sp>
            <p:nvSpPr>
              <p:cNvPr id="26" name="iṩļîḍe">
                <a:extLst>
                  <a:ext uri="{FF2B5EF4-FFF2-40B4-BE49-F238E27FC236}">
                    <a16:creationId xmlns:a16="http://schemas.microsoft.com/office/drawing/2014/main" id="{06E62652-A879-49F3-B4BF-7918E4EB0625}"/>
                  </a:ext>
                </a:extLst>
              </p:cNvPr>
              <p:cNvSpPr/>
              <p:nvPr/>
            </p:nvSpPr>
            <p:spPr>
              <a:xfrm>
                <a:off x="7442747" y="2249137"/>
                <a:ext cx="648072" cy="64807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7" name="íṣľiḓê">
                <a:extLst>
                  <a:ext uri="{FF2B5EF4-FFF2-40B4-BE49-F238E27FC236}">
                    <a16:creationId xmlns:a16="http://schemas.microsoft.com/office/drawing/2014/main" id="{49808275-C91D-4ED8-A002-03C050FD4B74}"/>
                  </a:ext>
                </a:extLst>
              </p:cNvPr>
              <p:cNvSpPr/>
              <p:nvPr/>
            </p:nvSpPr>
            <p:spPr bwMode="auto">
              <a:xfrm>
                <a:off x="7576637" y="2390028"/>
                <a:ext cx="380293" cy="366291"/>
              </a:xfrm>
              <a:custGeom>
                <a:avLst/>
                <a:gdLst>
                  <a:gd name="connsiteX0" fmla="*/ 304701 w 609473"/>
                  <a:gd name="connsiteY0" fmla="*/ 381618 h 587034"/>
                  <a:gd name="connsiteX1" fmla="*/ 325879 w 609473"/>
                  <a:gd name="connsiteY1" fmla="*/ 394101 h 587034"/>
                  <a:gd name="connsiteX2" fmla="*/ 309542 w 609473"/>
                  <a:gd name="connsiteY2" fmla="*/ 410914 h 587034"/>
                  <a:gd name="connsiteX3" fmla="*/ 331022 w 609473"/>
                  <a:gd name="connsiteY3" fmla="*/ 433867 h 587034"/>
                  <a:gd name="connsiteX4" fmla="*/ 312466 w 609473"/>
                  <a:gd name="connsiteY4" fmla="*/ 468800 h 587034"/>
                  <a:gd name="connsiteX5" fmla="*/ 294112 w 609473"/>
                  <a:gd name="connsiteY5" fmla="*/ 468096 h 587034"/>
                  <a:gd name="connsiteX6" fmla="*/ 278380 w 609473"/>
                  <a:gd name="connsiteY6" fmla="*/ 432055 h 587034"/>
                  <a:gd name="connsiteX7" fmla="*/ 299861 w 609473"/>
                  <a:gd name="connsiteY7" fmla="*/ 410612 h 587034"/>
                  <a:gd name="connsiteX8" fmla="*/ 284028 w 609473"/>
                  <a:gd name="connsiteY8" fmla="*/ 393397 h 587034"/>
                  <a:gd name="connsiteX9" fmla="*/ 224835 w 609473"/>
                  <a:gd name="connsiteY9" fmla="*/ 380559 h 587034"/>
                  <a:gd name="connsiteX10" fmla="*/ 283211 w 609473"/>
                  <a:gd name="connsiteY10" fmla="*/ 483344 h 587034"/>
                  <a:gd name="connsiteX11" fmla="*/ 305190 w 609473"/>
                  <a:gd name="connsiteY11" fmla="*/ 499753 h 587034"/>
                  <a:gd name="connsiteX12" fmla="*/ 327069 w 609473"/>
                  <a:gd name="connsiteY12" fmla="*/ 483646 h 587034"/>
                  <a:gd name="connsiteX13" fmla="*/ 387865 w 609473"/>
                  <a:gd name="connsiteY13" fmla="*/ 380861 h 587034"/>
                  <a:gd name="connsiteX14" fmla="*/ 498972 w 609473"/>
                  <a:gd name="connsiteY14" fmla="*/ 386700 h 587034"/>
                  <a:gd name="connsiteX15" fmla="*/ 581344 w 609473"/>
                  <a:gd name="connsiteY15" fmla="*/ 414485 h 587034"/>
                  <a:gd name="connsiteX16" fmla="*/ 609473 w 609473"/>
                  <a:gd name="connsiteY16" fmla="*/ 494820 h 587034"/>
                  <a:gd name="connsiteX17" fmla="*/ 609473 w 609473"/>
                  <a:gd name="connsiteY17" fmla="*/ 529048 h 587034"/>
                  <a:gd name="connsiteX18" fmla="*/ 551399 w 609473"/>
                  <a:gd name="connsiteY18" fmla="*/ 587034 h 587034"/>
                  <a:gd name="connsiteX19" fmla="*/ 58074 w 609473"/>
                  <a:gd name="connsiteY19" fmla="*/ 587034 h 587034"/>
                  <a:gd name="connsiteX20" fmla="*/ 0 w 609473"/>
                  <a:gd name="connsiteY20" fmla="*/ 529048 h 587034"/>
                  <a:gd name="connsiteX21" fmla="*/ 0 w 609473"/>
                  <a:gd name="connsiteY21" fmla="*/ 494820 h 587034"/>
                  <a:gd name="connsiteX22" fmla="*/ 28129 w 609473"/>
                  <a:gd name="connsiteY22" fmla="*/ 414485 h 587034"/>
                  <a:gd name="connsiteX23" fmla="*/ 110501 w 609473"/>
                  <a:gd name="connsiteY23" fmla="*/ 386700 h 587034"/>
                  <a:gd name="connsiteX24" fmla="*/ 316407 w 609473"/>
                  <a:gd name="connsiteY24" fmla="*/ 206077 h 587034"/>
                  <a:gd name="connsiteX25" fmla="*/ 316407 w 609473"/>
                  <a:gd name="connsiteY25" fmla="*/ 272924 h 587034"/>
                  <a:gd name="connsiteX26" fmla="*/ 335965 w 609473"/>
                  <a:gd name="connsiteY26" fmla="*/ 266783 h 587034"/>
                  <a:gd name="connsiteX27" fmla="*/ 346551 w 609473"/>
                  <a:gd name="connsiteY27" fmla="*/ 239602 h 587034"/>
                  <a:gd name="connsiteX28" fmla="*/ 336570 w 609473"/>
                  <a:gd name="connsiteY28" fmla="*/ 216346 h 587034"/>
                  <a:gd name="connsiteX29" fmla="*/ 316407 w 609473"/>
                  <a:gd name="connsiteY29" fmla="*/ 206077 h 587034"/>
                  <a:gd name="connsiteX30" fmla="*/ 299872 w 609473"/>
                  <a:gd name="connsiteY30" fmla="*/ 94230 h 587034"/>
                  <a:gd name="connsiteX31" fmla="*/ 277793 w 609473"/>
                  <a:gd name="connsiteY31" fmla="*/ 102183 h 587034"/>
                  <a:gd name="connsiteX32" fmla="*/ 270534 w 609473"/>
                  <a:gd name="connsiteY32" fmla="*/ 122922 h 587034"/>
                  <a:gd name="connsiteX33" fmla="*/ 281322 w 609473"/>
                  <a:gd name="connsiteY33" fmla="*/ 145674 h 587034"/>
                  <a:gd name="connsiteX34" fmla="*/ 299872 w 609473"/>
                  <a:gd name="connsiteY34" fmla="*/ 154231 h 587034"/>
                  <a:gd name="connsiteX35" fmla="*/ 316407 w 609473"/>
                  <a:gd name="connsiteY35" fmla="*/ 42585 h 587034"/>
                  <a:gd name="connsiteX36" fmla="*/ 316407 w 609473"/>
                  <a:gd name="connsiteY36" fmla="*/ 56478 h 587034"/>
                  <a:gd name="connsiteX37" fmla="*/ 360061 w 609473"/>
                  <a:gd name="connsiteY37" fmla="*/ 70169 h 587034"/>
                  <a:gd name="connsiteX38" fmla="*/ 389904 w 609473"/>
                  <a:gd name="connsiteY38" fmla="*/ 129465 h 587034"/>
                  <a:gd name="connsiteX39" fmla="*/ 344837 w 609473"/>
                  <a:gd name="connsiteY39" fmla="*/ 129465 h 587034"/>
                  <a:gd name="connsiteX40" fmla="*/ 339797 w 609473"/>
                  <a:gd name="connsiteY40" fmla="*/ 107217 h 587034"/>
                  <a:gd name="connsiteX41" fmla="*/ 316407 w 609473"/>
                  <a:gd name="connsiteY41" fmla="*/ 93928 h 587034"/>
                  <a:gd name="connsiteX42" fmla="*/ 316407 w 609473"/>
                  <a:gd name="connsiteY42" fmla="*/ 159063 h 587034"/>
                  <a:gd name="connsiteX43" fmla="*/ 371050 w 609473"/>
                  <a:gd name="connsiteY43" fmla="*/ 183829 h 587034"/>
                  <a:gd name="connsiteX44" fmla="*/ 394037 w 609473"/>
                  <a:gd name="connsiteY44" fmla="*/ 234467 h 587034"/>
                  <a:gd name="connsiteX45" fmla="*/ 362380 w 609473"/>
                  <a:gd name="connsiteY45" fmla="*/ 297086 h 587034"/>
                  <a:gd name="connsiteX46" fmla="*/ 316407 w 609473"/>
                  <a:gd name="connsiteY46" fmla="*/ 311079 h 587034"/>
                  <a:gd name="connsiteX47" fmla="*/ 316407 w 609473"/>
                  <a:gd name="connsiteY47" fmla="*/ 318328 h 587034"/>
                  <a:gd name="connsiteX48" fmla="*/ 445959 w 609473"/>
                  <a:gd name="connsiteY48" fmla="*/ 180507 h 587034"/>
                  <a:gd name="connsiteX49" fmla="*/ 316407 w 609473"/>
                  <a:gd name="connsiteY49" fmla="*/ 42585 h 587034"/>
                  <a:gd name="connsiteX50" fmla="*/ 299872 w 609473"/>
                  <a:gd name="connsiteY50" fmla="*/ 42484 h 587034"/>
                  <a:gd name="connsiteX51" fmla="*/ 168808 w 609473"/>
                  <a:gd name="connsiteY51" fmla="*/ 180507 h 587034"/>
                  <a:gd name="connsiteX52" fmla="*/ 299872 w 609473"/>
                  <a:gd name="connsiteY52" fmla="*/ 318428 h 587034"/>
                  <a:gd name="connsiteX53" fmla="*/ 299872 w 609473"/>
                  <a:gd name="connsiteY53" fmla="*/ 311381 h 587034"/>
                  <a:gd name="connsiteX54" fmla="*/ 249564 w 609473"/>
                  <a:gd name="connsiteY54" fmla="*/ 296683 h 587034"/>
                  <a:gd name="connsiteX55" fmla="*/ 220729 w 609473"/>
                  <a:gd name="connsiteY55" fmla="*/ 229635 h 587034"/>
                  <a:gd name="connsiteX56" fmla="*/ 266904 w 609473"/>
                  <a:gd name="connsiteY56" fmla="*/ 229635 h 587034"/>
                  <a:gd name="connsiteX57" fmla="*/ 273659 w 609473"/>
                  <a:gd name="connsiteY57" fmla="*/ 258528 h 587034"/>
                  <a:gd name="connsiteX58" fmla="*/ 299872 w 609473"/>
                  <a:gd name="connsiteY58" fmla="*/ 273428 h 587034"/>
                  <a:gd name="connsiteX59" fmla="*/ 299872 w 609473"/>
                  <a:gd name="connsiteY59" fmla="*/ 200440 h 587034"/>
                  <a:gd name="connsiteX60" fmla="*/ 285959 w 609473"/>
                  <a:gd name="connsiteY60" fmla="*/ 196312 h 587034"/>
                  <a:gd name="connsiteX61" fmla="*/ 239784 w 609473"/>
                  <a:gd name="connsiteY61" fmla="*/ 169634 h 587034"/>
                  <a:gd name="connsiteX62" fmla="*/ 226375 w 609473"/>
                  <a:gd name="connsiteY62" fmla="*/ 128459 h 587034"/>
                  <a:gd name="connsiteX63" fmla="*/ 231618 w 609473"/>
                  <a:gd name="connsiteY63" fmla="*/ 99566 h 587034"/>
                  <a:gd name="connsiteX64" fmla="*/ 246237 w 609473"/>
                  <a:gd name="connsiteY64" fmla="*/ 77115 h 587034"/>
                  <a:gd name="connsiteX65" fmla="*/ 273256 w 609473"/>
                  <a:gd name="connsiteY65" fmla="*/ 60404 h 587034"/>
                  <a:gd name="connsiteX66" fmla="*/ 299872 w 609473"/>
                  <a:gd name="connsiteY66" fmla="*/ 56075 h 587034"/>
                  <a:gd name="connsiteX67" fmla="*/ 307333 w 609473"/>
                  <a:gd name="connsiteY67" fmla="*/ 0 h 587034"/>
                  <a:gd name="connsiteX68" fmla="*/ 488101 w 609473"/>
                  <a:gd name="connsiteY68" fmla="*/ 180507 h 587034"/>
                  <a:gd name="connsiteX69" fmla="*/ 307333 w 609473"/>
                  <a:gd name="connsiteY69" fmla="*/ 361013 h 587034"/>
                  <a:gd name="connsiteX70" fmla="*/ 126665 w 609473"/>
                  <a:gd name="connsiteY70" fmla="*/ 180507 h 587034"/>
                  <a:gd name="connsiteX71" fmla="*/ 307333 w 609473"/>
                  <a:gd name="connsiteY71" fmla="*/ 0 h 58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609473" h="587034">
                    <a:moveTo>
                      <a:pt x="304701" y="381618"/>
                    </a:moveTo>
                    <a:lnTo>
                      <a:pt x="325879" y="394101"/>
                    </a:lnTo>
                    <a:lnTo>
                      <a:pt x="309542" y="410914"/>
                    </a:lnTo>
                    <a:lnTo>
                      <a:pt x="331022" y="433867"/>
                    </a:lnTo>
                    <a:lnTo>
                      <a:pt x="312466" y="468800"/>
                    </a:lnTo>
                    <a:cubicBezTo>
                      <a:pt x="307021" y="479069"/>
                      <a:pt x="298751" y="478767"/>
                      <a:pt x="294112" y="468096"/>
                    </a:cubicBezTo>
                    <a:lnTo>
                      <a:pt x="278380" y="432055"/>
                    </a:lnTo>
                    <a:lnTo>
                      <a:pt x="299861" y="410612"/>
                    </a:lnTo>
                    <a:lnTo>
                      <a:pt x="284028" y="393397"/>
                    </a:lnTo>
                    <a:close/>
                    <a:moveTo>
                      <a:pt x="224835" y="380559"/>
                    </a:moveTo>
                    <a:lnTo>
                      <a:pt x="283211" y="483344"/>
                    </a:lnTo>
                    <a:cubicBezTo>
                      <a:pt x="289260" y="493914"/>
                      <a:pt x="297024" y="499753"/>
                      <a:pt x="305190" y="499753"/>
                    </a:cubicBezTo>
                    <a:cubicBezTo>
                      <a:pt x="313155" y="499753"/>
                      <a:pt x="320919" y="494015"/>
                      <a:pt x="327069" y="483646"/>
                    </a:cubicBezTo>
                    <a:lnTo>
                      <a:pt x="387865" y="380861"/>
                    </a:lnTo>
                    <a:lnTo>
                      <a:pt x="498972" y="386700"/>
                    </a:lnTo>
                    <a:cubicBezTo>
                      <a:pt x="529521" y="388311"/>
                      <a:pt x="565716" y="400492"/>
                      <a:pt x="581344" y="414485"/>
                    </a:cubicBezTo>
                    <a:cubicBezTo>
                      <a:pt x="597072" y="428679"/>
                      <a:pt x="609473" y="464015"/>
                      <a:pt x="609473" y="494820"/>
                    </a:cubicBezTo>
                    <a:lnTo>
                      <a:pt x="609473" y="529048"/>
                    </a:lnTo>
                    <a:cubicBezTo>
                      <a:pt x="609473" y="561061"/>
                      <a:pt x="583360" y="587034"/>
                      <a:pt x="551399" y="587034"/>
                    </a:cubicBezTo>
                    <a:lnTo>
                      <a:pt x="58074" y="587034"/>
                    </a:lnTo>
                    <a:cubicBezTo>
                      <a:pt x="26012" y="587034"/>
                      <a:pt x="0" y="561061"/>
                      <a:pt x="0" y="529048"/>
                    </a:cubicBezTo>
                    <a:lnTo>
                      <a:pt x="0" y="494820"/>
                    </a:lnTo>
                    <a:cubicBezTo>
                      <a:pt x="0" y="464015"/>
                      <a:pt x="12401" y="428679"/>
                      <a:pt x="28129" y="414485"/>
                    </a:cubicBezTo>
                    <a:cubicBezTo>
                      <a:pt x="43757" y="400492"/>
                      <a:pt x="79851" y="388311"/>
                      <a:pt x="110501" y="386700"/>
                    </a:cubicBezTo>
                    <a:close/>
                    <a:moveTo>
                      <a:pt x="316407" y="206077"/>
                    </a:moveTo>
                    <a:lnTo>
                      <a:pt x="316407" y="272924"/>
                    </a:lnTo>
                    <a:cubicBezTo>
                      <a:pt x="325379" y="271817"/>
                      <a:pt x="331832" y="269703"/>
                      <a:pt x="335965" y="266783"/>
                    </a:cubicBezTo>
                    <a:cubicBezTo>
                      <a:pt x="343023" y="261548"/>
                      <a:pt x="346551" y="252488"/>
                      <a:pt x="346551" y="239602"/>
                    </a:cubicBezTo>
                    <a:cubicBezTo>
                      <a:pt x="346551" y="229736"/>
                      <a:pt x="343224" y="222084"/>
                      <a:pt x="336570" y="216346"/>
                    </a:cubicBezTo>
                    <a:cubicBezTo>
                      <a:pt x="332638" y="213024"/>
                      <a:pt x="325884" y="209601"/>
                      <a:pt x="316407" y="206077"/>
                    </a:cubicBezTo>
                    <a:close/>
                    <a:moveTo>
                      <a:pt x="299872" y="94230"/>
                    </a:moveTo>
                    <a:cubicBezTo>
                      <a:pt x="289891" y="94431"/>
                      <a:pt x="282531" y="97149"/>
                      <a:pt x="277793" y="102183"/>
                    </a:cubicBezTo>
                    <a:cubicBezTo>
                      <a:pt x="272954" y="107317"/>
                      <a:pt x="270534" y="114163"/>
                      <a:pt x="270534" y="122922"/>
                    </a:cubicBezTo>
                    <a:cubicBezTo>
                      <a:pt x="270534" y="132586"/>
                      <a:pt x="274163" y="140137"/>
                      <a:pt x="281322" y="145674"/>
                    </a:cubicBezTo>
                    <a:cubicBezTo>
                      <a:pt x="285354" y="148795"/>
                      <a:pt x="291504" y="151613"/>
                      <a:pt x="299872" y="154231"/>
                    </a:cubicBezTo>
                    <a:close/>
                    <a:moveTo>
                      <a:pt x="316407" y="42585"/>
                    </a:moveTo>
                    <a:lnTo>
                      <a:pt x="316407" y="56478"/>
                    </a:lnTo>
                    <a:cubicBezTo>
                      <a:pt x="334957" y="57887"/>
                      <a:pt x="349576" y="62518"/>
                      <a:pt x="360061" y="70169"/>
                    </a:cubicBezTo>
                    <a:cubicBezTo>
                      <a:pt x="379318" y="82350"/>
                      <a:pt x="389198" y="102082"/>
                      <a:pt x="389904" y="129465"/>
                    </a:cubicBezTo>
                    <a:lnTo>
                      <a:pt x="344837" y="129465"/>
                    </a:lnTo>
                    <a:cubicBezTo>
                      <a:pt x="344031" y="119297"/>
                      <a:pt x="342317" y="111948"/>
                      <a:pt x="339797" y="107217"/>
                    </a:cubicBezTo>
                    <a:cubicBezTo>
                      <a:pt x="335562" y="99163"/>
                      <a:pt x="327698" y="94733"/>
                      <a:pt x="316407" y="93928"/>
                    </a:cubicBezTo>
                    <a:lnTo>
                      <a:pt x="316407" y="159063"/>
                    </a:lnTo>
                    <a:cubicBezTo>
                      <a:pt x="343527" y="168426"/>
                      <a:pt x="361674" y="176681"/>
                      <a:pt x="371050" y="183829"/>
                    </a:cubicBezTo>
                    <a:cubicBezTo>
                      <a:pt x="386375" y="195809"/>
                      <a:pt x="394037" y="212722"/>
                      <a:pt x="394037" y="234467"/>
                    </a:cubicBezTo>
                    <a:cubicBezTo>
                      <a:pt x="394037" y="263159"/>
                      <a:pt x="383451" y="284099"/>
                      <a:pt x="362380" y="297086"/>
                    </a:cubicBezTo>
                    <a:cubicBezTo>
                      <a:pt x="349475" y="305039"/>
                      <a:pt x="334151" y="309670"/>
                      <a:pt x="316407" y="311079"/>
                    </a:cubicBezTo>
                    <a:lnTo>
                      <a:pt x="316407" y="318328"/>
                    </a:lnTo>
                    <a:cubicBezTo>
                      <a:pt x="388593" y="313697"/>
                      <a:pt x="445959" y="253696"/>
                      <a:pt x="445959" y="180507"/>
                    </a:cubicBezTo>
                    <a:cubicBezTo>
                      <a:pt x="445959" y="107217"/>
                      <a:pt x="388593" y="47316"/>
                      <a:pt x="316407" y="42585"/>
                    </a:cubicBezTo>
                    <a:close/>
                    <a:moveTo>
                      <a:pt x="299872" y="42484"/>
                    </a:moveTo>
                    <a:cubicBezTo>
                      <a:pt x="226980" y="46410"/>
                      <a:pt x="168808" y="106713"/>
                      <a:pt x="168808" y="180507"/>
                    </a:cubicBezTo>
                    <a:cubicBezTo>
                      <a:pt x="168808" y="254199"/>
                      <a:pt x="226980" y="314502"/>
                      <a:pt x="299872" y="318428"/>
                    </a:cubicBezTo>
                    <a:lnTo>
                      <a:pt x="299872" y="311381"/>
                    </a:lnTo>
                    <a:cubicBezTo>
                      <a:pt x="277390" y="308864"/>
                      <a:pt x="260553" y="303931"/>
                      <a:pt x="249564" y="296683"/>
                    </a:cubicBezTo>
                    <a:cubicBezTo>
                      <a:pt x="230005" y="283596"/>
                      <a:pt x="220427" y="261246"/>
                      <a:pt x="220729" y="229635"/>
                    </a:cubicBezTo>
                    <a:lnTo>
                      <a:pt x="266904" y="229635"/>
                    </a:lnTo>
                    <a:cubicBezTo>
                      <a:pt x="268518" y="244031"/>
                      <a:pt x="270736" y="253696"/>
                      <a:pt x="273659" y="258528"/>
                    </a:cubicBezTo>
                    <a:cubicBezTo>
                      <a:pt x="278095" y="266179"/>
                      <a:pt x="286867" y="271112"/>
                      <a:pt x="299872" y="273428"/>
                    </a:cubicBezTo>
                    <a:lnTo>
                      <a:pt x="299872" y="200440"/>
                    </a:lnTo>
                    <a:lnTo>
                      <a:pt x="285959" y="196312"/>
                    </a:lnTo>
                    <a:cubicBezTo>
                      <a:pt x="264182" y="189970"/>
                      <a:pt x="248757" y="181010"/>
                      <a:pt x="239784" y="169634"/>
                    </a:cubicBezTo>
                    <a:cubicBezTo>
                      <a:pt x="230811" y="158258"/>
                      <a:pt x="226375" y="144466"/>
                      <a:pt x="226375" y="128459"/>
                    </a:cubicBezTo>
                    <a:cubicBezTo>
                      <a:pt x="226375" y="117787"/>
                      <a:pt x="228089" y="108223"/>
                      <a:pt x="231618" y="99566"/>
                    </a:cubicBezTo>
                    <a:cubicBezTo>
                      <a:pt x="235046" y="90908"/>
                      <a:pt x="239986" y="83357"/>
                      <a:pt x="246237" y="77115"/>
                    </a:cubicBezTo>
                    <a:cubicBezTo>
                      <a:pt x="254302" y="69062"/>
                      <a:pt x="263376" y="63424"/>
                      <a:pt x="273256" y="60404"/>
                    </a:cubicBezTo>
                    <a:cubicBezTo>
                      <a:pt x="279406" y="58390"/>
                      <a:pt x="288177" y="56981"/>
                      <a:pt x="299872" y="56075"/>
                    </a:cubicBezTo>
                    <a:close/>
                    <a:moveTo>
                      <a:pt x="307333" y="0"/>
                    </a:moveTo>
                    <a:cubicBezTo>
                      <a:pt x="407043" y="0"/>
                      <a:pt x="488101" y="80941"/>
                      <a:pt x="488101" y="180507"/>
                    </a:cubicBezTo>
                    <a:cubicBezTo>
                      <a:pt x="488101" y="279971"/>
                      <a:pt x="407043" y="361013"/>
                      <a:pt x="307333" y="361013"/>
                    </a:cubicBezTo>
                    <a:cubicBezTo>
                      <a:pt x="207724" y="361013"/>
                      <a:pt x="126665" y="279971"/>
                      <a:pt x="126665" y="180507"/>
                    </a:cubicBezTo>
                    <a:cubicBezTo>
                      <a:pt x="126665" y="80941"/>
                      <a:pt x="207724" y="0"/>
                      <a:pt x="3073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198"/>
              </a:p>
            </p:txBody>
          </p:sp>
        </p:grpSp>
        <p:grpSp>
          <p:nvGrpSpPr>
            <p:cNvPr id="14" name="ï$ḻîḋe">
              <a:extLst>
                <a:ext uri="{FF2B5EF4-FFF2-40B4-BE49-F238E27FC236}">
                  <a16:creationId xmlns:a16="http://schemas.microsoft.com/office/drawing/2014/main" id="{F5205E7F-917D-4F8A-9231-728C41C56663}"/>
                </a:ext>
              </a:extLst>
            </p:cNvPr>
            <p:cNvGrpSpPr/>
            <p:nvPr/>
          </p:nvGrpSpPr>
          <p:grpSpPr>
            <a:xfrm>
              <a:off x="7873643" y="3830022"/>
              <a:ext cx="431906" cy="431906"/>
              <a:chOff x="4792557" y="2249137"/>
              <a:chExt cx="648072" cy="648072"/>
            </a:xfrm>
          </p:grpSpPr>
          <p:sp>
            <p:nvSpPr>
              <p:cNvPr id="24" name="îslíḓê">
                <a:extLst>
                  <a:ext uri="{FF2B5EF4-FFF2-40B4-BE49-F238E27FC236}">
                    <a16:creationId xmlns:a16="http://schemas.microsoft.com/office/drawing/2014/main" id="{12E73010-10E3-4A73-853A-A8B828C3AD38}"/>
                  </a:ext>
                </a:extLst>
              </p:cNvPr>
              <p:cNvSpPr/>
              <p:nvPr/>
            </p:nvSpPr>
            <p:spPr>
              <a:xfrm>
                <a:off x="4792557" y="2249137"/>
                <a:ext cx="648072" cy="64807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5" name="ïṧļîḑê">
                <a:extLst>
                  <a:ext uri="{FF2B5EF4-FFF2-40B4-BE49-F238E27FC236}">
                    <a16:creationId xmlns:a16="http://schemas.microsoft.com/office/drawing/2014/main" id="{A8A72972-99F8-4225-8DB5-ECFF3B031946}"/>
                  </a:ext>
                </a:extLst>
              </p:cNvPr>
              <p:cNvSpPr/>
              <p:nvPr/>
            </p:nvSpPr>
            <p:spPr bwMode="auto">
              <a:xfrm>
                <a:off x="4926447" y="2390028"/>
                <a:ext cx="380293" cy="366291"/>
              </a:xfrm>
              <a:custGeom>
                <a:avLst/>
                <a:gdLst>
                  <a:gd name="T0" fmla="*/ 4096 w 6827"/>
                  <a:gd name="T1" fmla="*/ 4551 h 6827"/>
                  <a:gd name="T2" fmla="*/ 6258 w 6827"/>
                  <a:gd name="T3" fmla="*/ 4096 h 6827"/>
                  <a:gd name="T4" fmla="*/ 2348 w 6827"/>
                  <a:gd name="T5" fmla="*/ 4911 h 6827"/>
                  <a:gd name="T6" fmla="*/ 569 w 6827"/>
                  <a:gd name="T7" fmla="*/ 4551 h 6827"/>
                  <a:gd name="T8" fmla="*/ 569 w 6827"/>
                  <a:gd name="T9" fmla="*/ 3982 h 6827"/>
                  <a:gd name="T10" fmla="*/ 1707 w 6827"/>
                  <a:gd name="T11" fmla="*/ 2503 h 6827"/>
                  <a:gd name="T12" fmla="*/ 3868 w 6827"/>
                  <a:gd name="T13" fmla="*/ 2731 h 6827"/>
                  <a:gd name="T14" fmla="*/ 5827 w 6827"/>
                  <a:gd name="T15" fmla="*/ 2004 h 6827"/>
                  <a:gd name="T16" fmla="*/ 6258 w 6827"/>
                  <a:gd name="T17" fmla="*/ 1820 h 6827"/>
                  <a:gd name="T18" fmla="*/ 4779 w 6827"/>
                  <a:gd name="T19" fmla="*/ 0 h 6827"/>
                  <a:gd name="T20" fmla="*/ 2854 w 6827"/>
                  <a:gd name="T21" fmla="*/ 2381 h 6827"/>
                  <a:gd name="T22" fmla="*/ 1239 w 6827"/>
                  <a:gd name="T23" fmla="*/ 2257 h 6827"/>
                  <a:gd name="T24" fmla="*/ 569 w 6827"/>
                  <a:gd name="T25" fmla="*/ 2844 h 6827"/>
                  <a:gd name="T26" fmla="*/ 569 w 6827"/>
                  <a:gd name="T27" fmla="*/ 2276 h 6827"/>
                  <a:gd name="T28" fmla="*/ 569 w 6827"/>
                  <a:gd name="T29" fmla="*/ 1707 h 6827"/>
                  <a:gd name="T30" fmla="*/ 569 w 6827"/>
                  <a:gd name="T31" fmla="*/ 1138 h 6827"/>
                  <a:gd name="T32" fmla="*/ 569 w 6827"/>
                  <a:gd name="T33" fmla="*/ 569 h 6827"/>
                  <a:gd name="T34" fmla="*/ 341 w 6827"/>
                  <a:gd name="T35" fmla="*/ 0 h 6827"/>
                  <a:gd name="T36" fmla="*/ 114 w 6827"/>
                  <a:gd name="T37" fmla="*/ 569 h 6827"/>
                  <a:gd name="T38" fmla="*/ 114 w 6827"/>
                  <a:gd name="T39" fmla="*/ 1138 h 6827"/>
                  <a:gd name="T40" fmla="*/ 114 w 6827"/>
                  <a:gd name="T41" fmla="*/ 1707 h 6827"/>
                  <a:gd name="T42" fmla="*/ 114 w 6827"/>
                  <a:gd name="T43" fmla="*/ 2276 h 6827"/>
                  <a:gd name="T44" fmla="*/ 114 w 6827"/>
                  <a:gd name="T45" fmla="*/ 2844 h 6827"/>
                  <a:gd name="T46" fmla="*/ 114 w 6827"/>
                  <a:gd name="T47" fmla="*/ 3413 h 6827"/>
                  <a:gd name="T48" fmla="*/ 114 w 6827"/>
                  <a:gd name="T49" fmla="*/ 3982 h 6827"/>
                  <a:gd name="T50" fmla="*/ 114 w 6827"/>
                  <a:gd name="T51" fmla="*/ 4551 h 6827"/>
                  <a:gd name="T52" fmla="*/ 114 w 6827"/>
                  <a:gd name="T53" fmla="*/ 5120 h 6827"/>
                  <a:gd name="T54" fmla="*/ 114 w 6827"/>
                  <a:gd name="T55" fmla="*/ 5689 h 6827"/>
                  <a:gd name="T56" fmla="*/ 114 w 6827"/>
                  <a:gd name="T57" fmla="*/ 6258 h 6827"/>
                  <a:gd name="T58" fmla="*/ 683 w 6827"/>
                  <a:gd name="T59" fmla="*/ 6713 h 6827"/>
                  <a:gd name="T60" fmla="*/ 1252 w 6827"/>
                  <a:gd name="T61" fmla="*/ 6713 h 6827"/>
                  <a:gd name="T62" fmla="*/ 1820 w 6827"/>
                  <a:gd name="T63" fmla="*/ 6713 h 6827"/>
                  <a:gd name="T64" fmla="*/ 2389 w 6827"/>
                  <a:gd name="T65" fmla="*/ 6713 h 6827"/>
                  <a:gd name="T66" fmla="*/ 2958 w 6827"/>
                  <a:gd name="T67" fmla="*/ 6713 h 6827"/>
                  <a:gd name="T68" fmla="*/ 3527 w 6827"/>
                  <a:gd name="T69" fmla="*/ 6713 h 6827"/>
                  <a:gd name="T70" fmla="*/ 4096 w 6827"/>
                  <a:gd name="T71" fmla="*/ 6713 h 6827"/>
                  <a:gd name="T72" fmla="*/ 4665 w 6827"/>
                  <a:gd name="T73" fmla="*/ 6713 h 6827"/>
                  <a:gd name="T74" fmla="*/ 5234 w 6827"/>
                  <a:gd name="T75" fmla="*/ 6713 h 6827"/>
                  <a:gd name="T76" fmla="*/ 5803 w 6827"/>
                  <a:gd name="T77" fmla="*/ 6713 h 6827"/>
                  <a:gd name="T78" fmla="*/ 6371 w 6827"/>
                  <a:gd name="T79" fmla="*/ 6713 h 6827"/>
                  <a:gd name="T80" fmla="*/ 6827 w 6827"/>
                  <a:gd name="T81" fmla="*/ 6485 h 6827"/>
                  <a:gd name="T82" fmla="*/ 6371 w 6827"/>
                  <a:gd name="T83" fmla="*/ 6258 h 6827"/>
                  <a:gd name="T84" fmla="*/ 5803 w 6827"/>
                  <a:gd name="T85" fmla="*/ 6258 h 6827"/>
                  <a:gd name="T86" fmla="*/ 5234 w 6827"/>
                  <a:gd name="T87" fmla="*/ 6258 h 6827"/>
                  <a:gd name="T88" fmla="*/ 4665 w 6827"/>
                  <a:gd name="T89" fmla="*/ 6258 h 6827"/>
                  <a:gd name="T90" fmla="*/ 4096 w 6827"/>
                  <a:gd name="T91" fmla="*/ 6258 h 6827"/>
                  <a:gd name="T92" fmla="*/ 3527 w 6827"/>
                  <a:gd name="T93" fmla="*/ 6258 h 6827"/>
                  <a:gd name="T94" fmla="*/ 2958 w 6827"/>
                  <a:gd name="T95" fmla="*/ 6258 h 6827"/>
                  <a:gd name="T96" fmla="*/ 2389 w 6827"/>
                  <a:gd name="T97" fmla="*/ 6258 h 6827"/>
                  <a:gd name="T98" fmla="*/ 1820 w 6827"/>
                  <a:gd name="T99" fmla="*/ 6258 h 6827"/>
                  <a:gd name="T100" fmla="*/ 1252 w 6827"/>
                  <a:gd name="T101" fmla="*/ 6258 h 6827"/>
                  <a:gd name="T102" fmla="*/ 683 w 6827"/>
                  <a:gd name="T103" fmla="*/ 6258 h 6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827" h="6827">
                    <a:moveTo>
                      <a:pt x="1263" y="5234"/>
                    </a:moveTo>
                    <a:cubicBezTo>
                      <a:pt x="1316" y="5493"/>
                      <a:pt x="1546" y="5689"/>
                      <a:pt x="1820" y="5689"/>
                    </a:cubicBezTo>
                    <a:cubicBezTo>
                      <a:pt x="2114" y="5689"/>
                      <a:pt x="2354" y="5464"/>
                      <a:pt x="2383" y="5178"/>
                    </a:cubicBezTo>
                    <a:lnTo>
                      <a:pt x="3568" y="4191"/>
                    </a:lnTo>
                    <a:cubicBezTo>
                      <a:pt x="3652" y="4401"/>
                      <a:pt x="3856" y="4551"/>
                      <a:pt x="4096" y="4551"/>
                    </a:cubicBezTo>
                    <a:cubicBezTo>
                      <a:pt x="4348" y="4551"/>
                      <a:pt x="4560" y="4385"/>
                      <a:pt x="4635" y="4157"/>
                    </a:cubicBezTo>
                    <a:lnTo>
                      <a:pt x="5696" y="4736"/>
                    </a:lnTo>
                    <a:cubicBezTo>
                      <a:pt x="5732" y="5016"/>
                      <a:pt x="5969" y="5234"/>
                      <a:pt x="6258" y="5234"/>
                    </a:cubicBezTo>
                    <a:cubicBezTo>
                      <a:pt x="6571" y="5234"/>
                      <a:pt x="6827" y="4979"/>
                      <a:pt x="6827" y="4665"/>
                    </a:cubicBezTo>
                    <a:cubicBezTo>
                      <a:pt x="6827" y="4351"/>
                      <a:pt x="6571" y="4096"/>
                      <a:pt x="6258" y="4096"/>
                    </a:cubicBezTo>
                    <a:cubicBezTo>
                      <a:pt x="6006" y="4096"/>
                      <a:pt x="5794" y="4262"/>
                      <a:pt x="5719" y="4490"/>
                    </a:cubicBezTo>
                    <a:lnTo>
                      <a:pt x="4658" y="3911"/>
                    </a:lnTo>
                    <a:cubicBezTo>
                      <a:pt x="4622" y="3631"/>
                      <a:pt x="4385" y="3413"/>
                      <a:pt x="4096" y="3413"/>
                    </a:cubicBezTo>
                    <a:cubicBezTo>
                      <a:pt x="3802" y="3413"/>
                      <a:pt x="3563" y="3638"/>
                      <a:pt x="3533" y="3924"/>
                    </a:cubicBezTo>
                    <a:lnTo>
                      <a:pt x="2348" y="4911"/>
                    </a:lnTo>
                    <a:cubicBezTo>
                      <a:pt x="2265" y="4701"/>
                      <a:pt x="2060" y="4551"/>
                      <a:pt x="1820" y="4551"/>
                    </a:cubicBezTo>
                    <a:cubicBezTo>
                      <a:pt x="1546" y="4551"/>
                      <a:pt x="1316" y="4747"/>
                      <a:pt x="1263" y="5006"/>
                    </a:cubicBezTo>
                    <a:lnTo>
                      <a:pt x="455" y="5006"/>
                    </a:lnTo>
                    <a:lnTo>
                      <a:pt x="455" y="4551"/>
                    </a:lnTo>
                    <a:lnTo>
                      <a:pt x="569" y="4551"/>
                    </a:lnTo>
                    <a:cubicBezTo>
                      <a:pt x="632" y="4551"/>
                      <a:pt x="683" y="4500"/>
                      <a:pt x="683" y="4437"/>
                    </a:cubicBezTo>
                    <a:cubicBezTo>
                      <a:pt x="683" y="4374"/>
                      <a:pt x="632" y="4324"/>
                      <a:pt x="569" y="4324"/>
                    </a:cubicBezTo>
                    <a:lnTo>
                      <a:pt x="455" y="4324"/>
                    </a:lnTo>
                    <a:lnTo>
                      <a:pt x="455" y="3982"/>
                    </a:lnTo>
                    <a:lnTo>
                      <a:pt x="569" y="3982"/>
                    </a:lnTo>
                    <a:cubicBezTo>
                      <a:pt x="632" y="3982"/>
                      <a:pt x="683" y="3931"/>
                      <a:pt x="683" y="3868"/>
                    </a:cubicBezTo>
                    <a:cubicBezTo>
                      <a:pt x="683" y="3806"/>
                      <a:pt x="632" y="3755"/>
                      <a:pt x="569" y="3755"/>
                    </a:cubicBezTo>
                    <a:lnTo>
                      <a:pt x="480" y="3755"/>
                    </a:lnTo>
                    <a:lnTo>
                      <a:pt x="1407" y="2416"/>
                    </a:lnTo>
                    <a:cubicBezTo>
                      <a:pt x="1494" y="2470"/>
                      <a:pt x="1596" y="2503"/>
                      <a:pt x="1707" y="2503"/>
                    </a:cubicBezTo>
                    <a:cubicBezTo>
                      <a:pt x="1888" y="2503"/>
                      <a:pt x="2048" y="2416"/>
                      <a:pt x="2152" y="2284"/>
                    </a:cubicBezTo>
                    <a:lnTo>
                      <a:pt x="2752" y="2584"/>
                    </a:lnTo>
                    <a:cubicBezTo>
                      <a:pt x="2740" y="2631"/>
                      <a:pt x="2731" y="2680"/>
                      <a:pt x="2731" y="2731"/>
                    </a:cubicBezTo>
                    <a:cubicBezTo>
                      <a:pt x="2731" y="3044"/>
                      <a:pt x="2986" y="3300"/>
                      <a:pt x="3300" y="3300"/>
                    </a:cubicBezTo>
                    <a:cubicBezTo>
                      <a:pt x="3613" y="3300"/>
                      <a:pt x="3868" y="3044"/>
                      <a:pt x="3868" y="2731"/>
                    </a:cubicBezTo>
                    <a:cubicBezTo>
                      <a:pt x="3868" y="2608"/>
                      <a:pt x="3829" y="2496"/>
                      <a:pt x="3763" y="2403"/>
                    </a:cubicBezTo>
                    <a:lnTo>
                      <a:pt x="4488" y="1055"/>
                    </a:lnTo>
                    <a:cubicBezTo>
                      <a:pt x="4574" y="1107"/>
                      <a:pt x="4672" y="1138"/>
                      <a:pt x="4779" y="1138"/>
                    </a:cubicBezTo>
                    <a:cubicBezTo>
                      <a:pt x="4891" y="1138"/>
                      <a:pt x="4995" y="1104"/>
                      <a:pt x="5083" y="1048"/>
                    </a:cubicBezTo>
                    <a:lnTo>
                      <a:pt x="5827" y="2004"/>
                    </a:lnTo>
                    <a:cubicBezTo>
                      <a:pt x="5829" y="2007"/>
                      <a:pt x="5833" y="2009"/>
                      <a:pt x="5836" y="2011"/>
                    </a:cubicBezTo>
                    <a:cubicBezTo>
                      <a:pt x="5745" y="2112"/>
                      <a:pt x="5689" y="2244"/>
                      <a:pt x="5689" y="2389"/>
                    </a:cubicBezTo>
                    <a:cubicBezTo>
                      <a:pt x="5689" y="2703"/>
                      <a:pt x="5944" y="2958"/>
                      <a:pt x="6258" y="2958"/>
                    </a:cubicBezTo>
                    <a:cubicBezTo>
                      <a:pt x="6571" y="2958"/>
                      <a:pt x="6827" y="2703"/>
                      <a:pt x="6827" y="2389"/>
                    </a:cubicBezTo>
                    <a:cubicBezTo>
                      <a:pt x="6827" y="2076"/>
                      <a:pt x="6571" y="1820"/>
                      <a:pt x="6258" y="1820"/>
                    </a:cubicBezTo>
                    <a:cubicBezTo>
                      <a:pt x="6170" y="1820"/>
                      <a:pt x="6087" y="1842"/>
                      <a:pt x="6013" y="1878"/>
                    </a:cubicBezTo>
                    <a:cubicBezTo>
                      <a:pt x="6010" y="1874"/>
                      <a:pt x="6010" y="1869"/>
                      <a:pt x="6006" y="1864"/>
                    </a:cubicBezTo>
                    <a:lnTo>
                      <a:pt x="5248" y="890"/>
                    </a:lnTo>
                    <a:cubicBezTo>
                      <a:pt x="5311" y="798"/>
                      <a:pt x="5348" y="688"/>
                      <a:pt x="5348" y="569"/>
                    </a:cubicBezTo>
                    <a:cubicBezTo>
                      <a:pt x="5348" y="255"/>
                      <a:pt x="5092" y="0"/>
                      <a:pt x="4779" y="0"/>
                    </a:cubicBezTo>
                    <a:cubicBezTo>
                      <a:pt x="4465" y="0"/>
                      <a:pt x="4210" y="255"/>
                      <a:pt x="4210" y="569"/>
                    </a:cubicBezTo>
                    <a:cubicBezTo>
                      <a:pt x="4210" y="691"/>
                      <a:pt x="4249" y="804"/>
                      <a:pt x="4315" y="897"/>
                    </a:cubicBezTo>
                    <a:lnTo>
                      <a:pt x="3590" y="2244"/>
                    </a:lnTo>
                    <a:cubicBezTo>
                      <a:pt x="3505" y="2193"/>
                      <a:pt x="3406" y="2162"/>
                      <a:pt x="3300" y="2162"/>
                    </a:cubicBezTo>
                    <a:cubicBezTo>
                      <a:pt x="3118" y="2162"/>
                      <a:pt x="2959" y="2248"/>
                      <a:pt x="2854" y="2381"/>
                    </a:cubicBezTo>
                    <a:lnTo>
                      <a:pt x="2254" y="2081"/>
                    </a:lnTo>
                    <a:cubicBezTo>
                      <a:pt x="2267" y="2034"/>
                      <a:pt x="2276" y="1985"/>
                      <a:pt x="2276" y="1934"/>
                    </a:cubicBezTo>
                    <a:cubicBezTo>
                      <a:pt x="2276" y="1621"/>
                      <a:pt x="2020" y="1365"/>
                      <a:pt x="1707" y="1365"/>
                    </a:cubicBezTo>
                    <a:cubicBezTo>
                      <a:pt x="1393" y="1365"/>
                      <a:pt x="1138" y="1621"/>
                      <a:pt x="1138" y="1934"/>
                    </a:cubicBezTo>
                    <a:cubicBezTo>
                      <a:pt x="1138" y="2054"/>
                      <a:pt x="1176" y="2166"/>
                      <a:pt x="1239" y="2257"/>
                    </a:cubicBezTo>
                    <a:lnTo>
                      <a:pt x="593" y="3191"/>
                    </a:lnTo>
                    <a:cubicBezTo>
                      <a:pt x="585" y="3189"/>
                      <a:pt x="578" y="3186"/>
                      <a:pt x="569" y="3186"/>
                    </a:cubicBezTo>
                    <a:lnTo>
                      <a:pt x="455" y="3186"/>
                    </a:lnTo>
                    <a:lnTo>
                      <a:pt x="455" y="2844"/>
                    </a:lnTo>
                    <a:lnTo>
                      <a:pt x="569" y="2844"/>
                    </a:lnTo>
                    <a:cubicBezTo>
                      <a:pt x="632" y="2844"/>
                      <a:pt x="683" y="2794"/>
                      <a:pt x="683" y="2731"/>
                    </a:cubicBezTo>
                    <a:cubicBezTo>
                      <a:pt x="683" y="2668"/>
                      <a:pt x="632" y="2617"/>
                      <a:pt x="569" y="2617"/>
                    </a:cubicBezTo>
                    <a:lnTo>
                      <a:pt x="455" y="2617"/>
                    </a:lnTo>
                    <a:lnTo>
                      <a:pt x="455" y="2276"/>
                    </a:lnTo>
                    <a:lnTo>
                      <a:pt x="569" y="2276"/>
                    </a:lnTo>
                    <a:cubicBezTo>
                      <a:pt x="632" y="2276"/>
                      <a:pt x="683" y="2225"/>
                      <a:pt x="683" y="2162"/>
                    </a:cubicBezTo>
                    <a:cubicBezTo>
                      <a:pt x="683" y="2099"/>
                      <a:pt x="632" y="2048"/>
                      <a:pt x="569" y="2048"/>
                    </a:cubicBezTo>
                    <a:lnTo>
                      <a:pt x="455" y="2048"/>
                    </a:lnTo>
                    <a:lnTo>
                      <a:pt x="455" y="1707"/>
                    </a:lnTo>
                    <a:lnTo>
                      <a:pt x="569" y="1707"/>
                    </a:lnTo>
                    <a:cubicBezTo>
                      <a:pt x="632" y="1707"/>
                      <a:pt x="683" y="1656"/>
                      <a:pt x="683" y="1593"/>
                    </a:cubicBezTo>
                    <a:cubicBezTo>
                      <a:pt x="683" y="1530"/>
                      <a:pt x="632" y="1479"/>
                      <a:pt x="569" y="1479"/>
                    </a:cubicBezTo>
                    <a:lnTo>
                      <a:pt x="455" y="1479"/>
                    </a:lnTo>
                    <a:lnTo>
                      <a:pt x="455" y="1138"/>
                    </a:lnTo>
                    <a:lnTo>
                      <a:pt x="569" y="1138"/>
                    </a:lnTo>
                    <a:cubicBezTo>
                      <a:pt x="632" y="1138"/>
                      <a:pt x="683" y="1087"/>
                      <a:pt x="683" y="1024"/>
                    </a:cubicBezTo>
                    <a:cubicBezTo>
                      <a:pt x="683" y="961"/>
                      <a:pt x="632" y="910"/>
                      <a:pt x="569" y="910"/>
                    </a:cubicBezTo>
                    <a:lnTo>
                      <a:pt x="455" y="910"/>
                    </a:lnTo>
                    <a:lnTo>
                      <a:pt x="455" y="569"/>
                    </a:lnTo>
                    <a:lnTo>
                      <a:pt x="569" y="569"/>
                    </a:lnTo>
                    <a:cubicBezTo>
                      <a:pt x="632" y="569"/>
                      <a:pt x="683" y="518"/>
                      <a:pt x="683" y="455"/>
                    </a:cubicBezTo>
                    <a:cubicBezTo>
                      <a:pt x="683" y="392"/>
                      <a:pt x="632" y="341"/>
                      <a:pt x="569" y="341"/>
                    </a:cubicBezTo>
                    <a:lnTo>
                      <a:pt x="455" y="341"/>
                    </a:lnTo>
                    <a:lnTo>
                      <a:pt x="455" y="114"/>
                    </a:lnTo>
                    <a:cubicBezTo>
                      <a:pt x="455" y="51"/>
                      <a:pt x="404" y="0"/>
                      <a:pt x="341" y="0"/>
                    </a:cubicBezTo>
                    <a:cubicBezTo>
                      <a:pt x="278" y="0"/>
                      <a:pt x="228" y="51"/>
                      <a:pt x="228" y="114"/>
                    </a:cubicBezTo>
                    <a:lnTo>
                      <a:pt x="228" y="341"/>
                    </a:lnTo>
                    <a:lnTo>
                      <a:pt x="114" y="341"/>
                    </a:lnTo>
                    <a:cubicBezTo>
                      <a:pt x="51" y="341"/>
                      <a:pt x="0" y="392"/>
                      <a:pt x="0" y="455"/>
                    </a:cubicBezTo>
                    <a:cubicBezTo>
                      <a:pt x="0" y="518"/>
                      <a:pt x="51" y="569"/>
                      <a:pt x="114" y="569"/>
                    </a:cubicBezTo>
                    <a:lnTo>
                      <a:pt x="228" y="569"/>
                    </a:lnTo>
                    <a:lnTo>
                      <a:pt x="228" y="910"/>
                    </a:lnTo>
                    <a:lnTo>
                      <a:pt x="114" y="910"/>
                    </a:lnTo>
                    <a:cubicBezTo>
                      <a:pt x="51" y="910"/>
                      <a:pt x="0" y="961"/>
                      <a:pt x="0" y="1024"/>
                    </a:cubicBezTo>
                    <a:cubicBezTo>
                      <a:pt x="0" y="1087"/>
                      <a:pt x="51" y="1138"/>
                      <a:pt x="114" y="1138"/>
                    </a:cubicBezTo>
                    <a:lnTo>
                      <a:pt x="228" y="1138"/>
                    </a:lnTo>
                    <a:lnTo>
                      <a:pt x="228" y="1479"/>
                    </a:lnTo>
                    <a:lnTo>
                      <a:pt x="114" y="1479"/>
                    </a:lnTo>
                    <a:cubicBezTo>
                      <a:pt x="51" y="1479"/>
                      <a:pt x="0" y="1530"/>
                      <a:pt x="0" y="1593"/>
                    </a:cubicBezTo>
                    <a:cubicBezTo>
                      <a:pt x="0" y="1656"/>
                      <a:pt x="51" y="1707"/>
                      <a:pt x="114" y="1707"/>
                    </a:cubicBezTo>
                    <a:lnTo>
                      <a:pt x="228" y="1707"/>
                    </a:lnTo>
                    <a:lnTo>
                      <a:pt x="228" y="2048"/>
                    </a:lnTo>
                    <a:lnTo>
                      <a:pt x="114" y="2048"/>
                    </a:lnTo>
                    <a:cubicBezTo>
                      <a:pt x="51" y="2048"/>
                      <a:pt x="0" y="2099"/>
                      <a:pt x="0" y="2162"/>
                    </a:cubicBezTo>
                    <a:cubicBezTo>
                      <a:pt x="0" y="2225"/>
                      <a:pt x="51" y="2276"/>
                      <a:pt x="114" y="2276"/>
                    </a:cubicBezTo>
                    <a:lnTo>
                      <a:pt x="228" y="2276"/>
                    </a:lnTo>
                    <a:lnTo>
                      <a:pt x="228" y="2617"/>
                    </a:lnTo>
                    <a:lnTo>
                      <a:pt x="114" y="2617"/>
                    </a:lnTo>
                    <a:cubicBezTo>
                      <a:pt x="51" y="2617"/>
                      <a:pt x="0" y="2668"/>
                      <a:pt x="0" y="2731"/>
                    </a:cubicBezTo>
                    <a:cubicBezTo>
                      <a:pt x="0" y="2794"/>
                      <a:pt x="51" y="2844"/>
                      <a:pt x="114" y="2844"/>
                    </a:cubicBezTo>
                    <a:lnTo>
                      <a:pt x="228" y="2844"/>
                    </a:lnTo>
                    <a:lnTo>
                      <a:pt x="228" y="3186"/>
                    </a:lnTo>
                    <a:lnTo>
                      <a:pt x="114" y="3186"/>
                    </a:lnTo>
                    <a:cubicBezTo>
                      <a:pt x="51" y="3186"/>
                      <a:pt x="0" y="3237"/>
                      <a:pt x="0" y="3300"/>
                    </a:cubicBezTo>
                    <a:cubicBezTo>
                      <a:pt x="0" y="3362"/>
                      <a:pt x="51" y="3413"/>
                      <a:pt x="114" y="3413"/>
                    </a:cubicBezTo>
                    <a:lnTo>
                      <a:pt x="228" y="3413"/>
                    </a:lnTo>
                    <a:lnTo>
                      <a:pt x="228" y="3755"/>
                    </a:lnTo>
                    <a:lnTo>
                      <a:pt x="114" y="3755"/>
                    </a:lnTo>
                    <a:cubicBezTo>
                      <a:pt x="51" y="3755"/>
                      <a:pt x="0" y="3806"/>
                      <a:pt x="0" y="3868"/>
                    </a:cubicBezTo>
                    <a:cubicBezTo>
                      <a:pt x="0" y="3931"/>
                      <a:pt x="51" y="3982"/>
                      <a:pt x="114" y="3982"/>
                    </a:cubicBezTo>
                    <a:lnTo>
                      <a:pt x="228" y="3982"/>
                    </a:lnTo>
                    <a:lnTo>
                      <a:pt x="228" y="4324"/>
                    </a:lnTo>
                    <a:lnTo>
                      <a:pt x="114" y="4324"/>
                    </a:lnTo>
                    <a:cubicBezTo>
                      <a:pt x="51" y="4324"/>
                      <a:pt x="0" y="4374"/>
                      <a:pt x="0" y="4437"/>
                    </a:cubicBezTo>
                    <a:cubicBezTo>
                      <a:pt x="0" y="4500"/>
                      <a:pt x="51" y="4551"/>
                      <a:pt x="114" y="4551"/>
                    </a:cubicBezTo>
                    <a:lnTo>
                      <a:pt x="228" y="4551"/>
                    </a:lnTo>
                    <a:lnTo>
                      <a:pt x="228" y="4892"/>
                    </a:lnTo>
                    <a:lnTo>
                      <a:pt x="114" y="4892"/>
                    </a:lnTo>
                    <a:cubicBezTo>
                      <a:pt x="51" y="4892"/>
                      <a:pt x="0" y="4943"/>
                      <a:pt x="0" y="5006"/>
                    </a:cubicBezTo>
                    <a:cubicBezTo>
                      <a:pt x="0" y="5069"/>
                      <a:pt x="51" y="5120"/>
                      <a:pt x="114" y="5120"/>
                    </a:cubicBezTo>
                    <a:lnTo>
                      <a:pt x="228" y="5120"/>
                    </a:lnTo>
                    <a:lnTo>
                      <a:pt x="228" y="5461"/>
                    </a:lnTo>
                    <a:lnTo>
                      <a:pt x="114" y="5461"/>
                    </a:lnTo>
                    <a:cubicBezTo>
                      <a:pt x="51" y="5461"/>
                      <a:pt x="0" y="5512"/>
                      <a:pt x="0" y="5575"/>
                    </a:cubicBezTo>
                    <a:cubicBezTo>
                      <a:pt x="0" y="5638"/>
                      <a:pt x="51" y="5689"/>
                      <a:pt x="114" y="5689"/>
                    </a:cubicBezTo>
                    <a:lnTo>
                      <a:pt x="228" y="5689"/>
                    </a:lnTo>
                    <a:lnTo>
                      <a:pt x="228" y="6030"/>
                    </a:lnTo>
                    <a:lnTo>
                      <a:pt x="114" y="6030"/>
                    </a:lnTo>
                    <a:cubicBezTo>
                      <a:pt x="51" y="6030"/>
                      <a:pt x="0" y="6081"/>
                      <a:pt x="0" y="6144"/>
                    </a:cubicBezTo>
                    <a:cubicBezTo>
                      <a:pt x="0" y="6207"/>
                      <a:pt x="51" y="6258"/>
                      <a:pt x="114" y="6258"/>
                    </a:cubicBezTo>
                    <a:lnTo>
                      <a:pt x="228" y="6258"/>
                    </a:lnTo>
                    <a:lnTo>
                      <a:pt x="228" y="6485"/>
                    </a:lnTo>
                    <a:cubicBezTo>
                      <a:pt x="228" y="6548"/>
                      <a:pt x="278" y="6599"/>
                      <a:pt x="341" y="6599"/>
                    </a:cubicBezTo>
                    <a:lnTo>
                      <a:pt x="683" y="6599"/>
                    </a:lnTo>
                    <a:lnTo>
                      <a:pt x="683" y="6713"/>
                    </a:lnTo>
                    <a:cubicBezTo>
                      <a:pt x="683" y="6776"/>
                      <a:pt x="734" y="6827"/>
                      <a:pt x="796" y="6827"/>
                    </a:cubicBezTo>
                    <a:cubicBezTo>
                      <a:pt x="859" y="6827"/>
                      <a:pt x="910" y="6776"/>
                      <a:pt x="910" y="6713"/>
                    </a:cubicBezTo>
                    <a:lnTo>
                      <a:pt x="910" y="6599"/>
                    </a:lnTo>
                    <a:lnTo>
                      <a:pt x="1252" y="6599"/>
                    </a:lnTo>
                    <a:lnTo>
                      <a:pt x="1252" y="6713"/>
                    </a:lnTo>
                    <a:cubicBezTo>
                      <a:pt x="1252" y="6776"/>
                      <a:pt x="1302" y="6827"/>
                      <a:pt x="1365" y="6827"/>
                    </a:cubicBezTo>
                    <a:cubicBezTo>
                      <a:pt x="1428" y="6827"/>
                      <a:pt x="1479" y="6776"/>
                      <a:pt x="1479" y="6713"/>
                    </a:cubicBezTo>
                    <a:lnTo>
                      <a:pt x="1479" y="6599"/>
                    </a:lnTo>
                    <a:lnTo>
                      <a:pt x="1820" y="6599"/>
                    </a:lnTo>
                    <a:lnTo>
                      <a:pt x="1820" y="6713"/>
                    </a:lnTo>
                    <a:cubicBezTo>
                      <a:pt x="1820" y="6776"/>
                      <a:pt x="1871" y="6827"/>
                      <a:pt x="1934" y="6827"/>
                    </a:cubicBezTo>
                    <a:cubicBezTo>
                      <a:pt x="1997" y="6827"/>
                      <a:pt x="2048" y="6776"/>
                      <a:pt x="2048" y="6713"/>
                    </a:cubicBezTo>
                    <a:lnTo>
                      <a:pt x="2048" y="6599"/>
                    </a:lnTo>
                    <a:lnTo>
                      <a:pt x="2389" y="6599"/>
                    </a:lnTo>
                    <a:lnTo>
                      <a:pt x="2389" y="6713"/>
                    </a:lnTo>
                    <a:cubicBezTo>
                      <a:pt x="2389" y="6776"/>
                      <a:pt x="2440" y="6827"/>
                      <a:pt x="2503" y="6827"/>
                    </a:cubicBezTo>
                    <a:cubicBezTo>
                      <a:pt x="2566" y="6827"/>
                      <a:pt x="2617" y="6776"/>
                      <a:pt x="2617" y="6713"/>
                    </a:cubicBezTo>
                    <a:lnTo>
                      <a:pt x="2617" y="6599"/>
                    </a:lnTo>
                    <a:lnTo>
                      <a:pt x="2958" y="6599"/>
                    </a:lnTo>
                    <a:lnTo>
                      <a:pt x="2958" y="6713"/>
                    </a:lnTo>
                    <a:cubicBezTo>
                      <a:pt x="2958" y="6776"/>
                      <a:pt x="3009" y="6827"/>
                      <a:pt x="3072" y="6827"/>
                    </a:cubicBezTo>
                    <a:cubicBezTo>
                      <a:pt x="3135" y="6827"/>
                      <a:pt x="3186" y="6776"/>
                      <a:pt x="3186" y="6713"/>
                    </a:cubicBezTo>
                    <a:lnTo>
                      <a:pt x="3186" y="6599"/>
                    </a:lnTo>
                    <a:lnTo>
                      <a:pt x="3527" y="6599"/>
                    </a:lnTo>
                    <a:lnTo>
                      <a:pt x="3527" y="6713"/>
                    </a:lnTo>
                    <a:cubicBezTo>
                      <a:pt x="3527" y="6776"/>
                      <a:pt x="3578" y="6827"/>
                      <a:pt x="3641" y="6827"/>
                    </a:cubicBezTo>
                    <a:cubicBezTo>
                      <a:pt x="3704" y="6827"/>
                      <a:pt x="3755" y="6776"/>
                      <a:pt x="3755" y="6713"/>
                    </a:cubicBezTo>
                    <a:lnTo>
                      <a:pt x="3755" y="6599"/>
                    </a:lnTo>
                    <a:lnTo>
                      <a:pt x="4096" y="6599"/>
                    </a:lnTo>
                    <a:lnTo>
                      <a:pt x="4096" y="6713"/>
                    </a:lnTo>
                    <a:cubicBezTo>
                      <a:pt x="4096" y="6776"/>
                      <a:pt x="4147" y="6827"/>
                      <a:pt x="4210" y="6827"/>
                    </a:cubicBezTo>
                    <a:cubicBezTo>
                      <a:pt x="4273" y="6827"/>
                      <a:pt x="4323" y="6776"/>
                      <a:pt x="4323" y="6713"/>
                    </a:cubicBezTo>
                    <a:lnTo>
                      <a:pt x="4323" y="6599"/>
                    </a:lnTo>
                    <a:lnTo>
                      <a:pt x="4665" y="6599"/>
                    </a:lnTo>
                    <a:lnTo>
                      <a:pt x="4665" y="6713"/>
                    </a:lnTo>
                    <a:cubicBezTo>
                      <a:pt x="4665" y="6776"/>
                      <a:pt x="4716" y="6827"/>
                      <a:pt x="4779" y="6827"/>
                    </a:cubicBezTo>
                    <a:cubicBezTo>
                      <a:pt x="4842" y="6827"/>
                      <a:pt x="4892" y="6776"/>
                      <a:pt x="4892" y="6713"/>
                    </a:cubicBezTo>
                    <a:lnTo>
                      <a:pt x="4892" y="6599"/>
                    </a:lnTo>
                    <a:lnTo>
                      <a:pt x="5234" y="6599"/>
                    </a:lnTo>
                    <a:lnTo>
                      <a:pt x="5234" y="6713"/>
                    </a:lnTo>
                    <a:cubicBezTo>
                      <a:pt x="5234" y="6776"/>
                      <a:pt x="5285" y="6827"/>
                      <a:pt x="5347" y="6827"/>
                    </a:cubicBezTo>
                    <a:cubicBezTo>
                      <a:pt x="5410" y="6827"/>
                      <a:pt x="5461" y="6776"/>
                      <a:pt x="5461" y="6713"/>
                    </a:cubicBezTo>
                    <a:lnTo>
                      <a:pt x="5461" y="6599"/>
                    </a:lnTo>
                    <a:lnTo>
                      <a:pt x="5803" y="6599"/>
                    </a:lnTo>
                    <a:lnTo>
                      <a:pt x="5803" y="6713"/>
                    </a:lnTo>
                    <a:cubicBezTo>
                      <a:pt x="5803" y="6776"/>
                      <a:pt x="5853" y="6827"/>
                      <a:pt x="5916" y="6827"/>
                    </a:cubicBezTo>
                    <a:cubicBezTo>
                      <a:pt x="5979" y="6827"/>
                      <a:pt x="6030" y="6776"/>
                      <a:pt x="6030" y="6713"/>
                    </a:cubicBezTo>
                    <a:lnTo>
                      <a:pt x="6030" y="6599"/>
                    </a:lnTo>
                    <a:lnTo>
                      <a:pt x="6371" y="6599"/>
                    </a:lnTo>
                    <a:lnTo>
                      <a:pt x="6371" y="6713"/>
                    </a:lnTo>
                    <a:cubicBezTo>
                      <a:pt x="6371" y="6776"/>
                      <a:pt x="6422" y="6827"/>
                      <a:pt x="6485" y="6827"/>
                    </a:cubicBezTo>
                    <a:cubicBezTo>
                      <a:pt x="6548" y="6827"/>
                      <a:pt x="6599" y="6776"/>
                      <a:pt x="6599" y="6713"/>
                    </a:cubicBezTo>
                    <a:lnTo>
                      <a:pt x="6599" y="6599"/>
                    </a:lnTo>
                    <a:lnTo>
                      <a:pt x="6713" y="6599"/>
                    </a:lnTo>
                    <a:cubicBezTo>
                      <a:pt x="6776" y="6599"/>
                      <a:pt x="6827" y="6548"/>
                      <a:pt x="6827" y="6485"/>
                    </a:cubicBezTo>
                    <a:cubicBezTo>
                      <a:pt x="6827" y="6422"/>
                      <a:pt x="6776" y="6372"/>
                      <a:pt x="6713" y="6372"/>
                    </a:cubicBezTo>
                    <a:lnTo>
                      <a:pt x="6599" y="6372"/>
                    </a:lnTo>
                    <a:lnTo>
                      <a:pt x="6599" y="6258"/>
                    </a:lnTo>
                    <a:cubicBezTo>
                      <a:pt x="6599" y="6195"/>
                      <a:pt x="6548" y="6144"/>
                      <a:pt x="6485" y="6144"/>
                    </a:cubicBezTo>
                    <a:cubicBezTo>
                      <a:pt x="6422" y="6144"/>
                      <a:pt x="6371" y="6195"/>
                      <a:pt x="6371" y="6258"/>
                    </a:cubicBezTo>
                    <a:lnTo>
                      <a:pt x="6371" y="6372"/>
                    </a:lnTo>
                    <a:lnTo>
                      <a:pt x="6030" y="6372"/>
                    </a:lnTo>
                    <a:lnTo>
                      <a:pt x="6030" y="6258"/>
                    </a:lnTo>
                    <a:cubicBezTo>
                      <a:pt x="6030" y="6195"/>
                      <a:pt x="5979" y="6144"/>
                      <a:pt x="5916" y="6144"/>
                    </a:cubicBezTo>
                    <a:cubicBezTo>
                      <a:pt x="5853" y="6144"/>
                      <a:pt x="5803" y="6195"/>
                      <a:pt x="5803" y="6258"/>
                    </a:cubicBezTo>
                    <a:lnTo>
                      <a:pt x="5803" y="6372"/>
                    </a:lnTo>
                    <a:lnTo>
                      <a:pt x="5461" y="6372"/>
                    </a:lnTo>
                    <a:lnTo>
                      <a:pt x="5461" y="6258"/>
                    </a:lnTo>
                    <a:cubicBezTo>
                      <a:pt x="5461" y="6195"/>
                      <a:pt x="5410" y="6144"/>
                      <a:pt x="5347" y="6144"/>
                    </a:cubicBezTo>
                    <a:cubicBezTo>
                      <a:pt x="5285" y="6144"/>
                      <a:pt x="5234" y="6195"/>
                      <a:pt x="5234" y="6258"/>
                    </a:cubicBezTo>
                    <a:lnTo>
                      <a:pt x="5234" y="6372"/>
                    </a:lnTo>
                    <a:lnTo>
                      <a:pt x="4892" y="6372"/>
                    </a:lnTo>
                    <a:lnTo>
                      <a:pt x="4892" y="6258"/>
                    </a:lnTo>
                    <a:cubicBezTo>
                      <a:pt x="4892" y="6195"/>
                      <a:pt x="4842" y="6144"/>
                      <a:pt x="4779" y="6144"/>
                    </a:cubicBezTo>
                    <a:cubicBezTo>
                      <a:pt x="4716" y="6144"/>
                      <a:pt x="4665" y="6195"/>
                      <a:pt x="4665" y="6258"/>
                    </a:cubicBezTo>
                    <a:lnTo>
                      <a:pt x="4665" y="6372"/>
                    </a:lnTo>
                    <a:lnTo>
                      <a:pt x="4323" y="6372"/>
                    </a:lnTo>
                    <a:lnTo>
                      <a:pt x="4323" y="6258"/>
                    </a:lnTo>
                    <a:cubicBezTo>
                      <a:pt x="4323" y="6195"/>
                      <a:pt x="4273" y="6144"/>
                      <a:pt x="4210" y="6144"/>
                    </a:cubicBezTo>
                    <a:cubicBezTo>
                      <a:pt x="4147" y="6144"/>
                      <a:pt x="4096" y="6195"/>
                      <a:pt x="4096" y="6258"/>
                    </a:cubicBezTo>
                    <a:lnTo>
                      <a:pt x="4096" y="6372"/>
                    </a:lnTo>
                    <a:lnTo>
                      <a:pt x="3755" y="6372"/>
                    </a:lnTo>
                    <a:lnTo>
                      <a:pt x="3755" y="6258"/>
                    </a:lnTo>
                    <a:cubicBezTo>
                      <a:pt x="3755" y="6195"/>
                      <a:pt x="3704" y="6144"/>
                      <a:pt x="3641" y="6144"/>
                    </a:cubicBezTo>
                    <a:cubicBezTo>
                      <a:pt x="3578" y="6144"/>
                      <a:pt x="3527" y="6195"/>
                      <a:pt x="3527" y="6258"/>
                    </a:cubicBezTo>
                    <a:lnTo>
                      <a:pt x="3527" y="6372"/>
                    </a:lnTo>
                    <a:lnTo>
                      <a:pt x="3186" y="6372"/>
                    </a:lnTo>
                    <a:lnTo>
                      <a:pt x="3186" y="6258"/>
                    </a:lnTo>
                    <a:cubicBezTo>
                      <a:pt x="3186" y="6195"/>
                      <a:pt x="3135" y="6144"/>
                      <a:pt x="3072" y="6144"/>
                    </a:cubicBezTo>
                    <a:cubicBezTo>
                      <a:pt x="3009" y="6144"/>
                      <a:pt x="2958" y="6195"/>
                      <a:pt x="2958" y="6258"/>
                    </a:cubicBezTo>
                    <a:lnTo>
                      <a:pt x="2958" y="6372"/>
                    </a:lnTo>
                    <a:lnTo>
                      <a:pt x="2617" y="6372"/>
                    </a:lnTo>
                    <a:lnTo>
                      <a:pt x="2617" y="6258"/>
                    </a:lnTo>
                    <a:cubicBezTo>
                      <a:pt x="2617" y="6195"/>
                      <a:pt x="2566" y="6144"/>
                      <a:pt x="2503" y="6144"/>
                    </a:cubicBezTo>
                    <a:cubicBezTo>
                      <a:pt x="2440" y="6144"/>
                      <a:pt x="2389" y="6195"/>
                      <a:pt x="2389" y="6258"/>
                    </a:cubicBezTo>
                    <a:lnTo>
                      <a:pt x="2389" y="6372"/>
                    </a:lnTo>
                    <a:lnTo>
                      <a:pt x="2048" y="6372"/>
                    </a:lnTo>
                    <a:lnTo>
                      <a:pt x="2048" y="6258"/>
                    </a:lnTo>
                    <a:cubicBezTo>
                      <a:pt x="2048" y="6195"/>
                      <a:pt x="1997" y="6144"/>
                      <a:pt x="1934" y="6144"/>
                    </a:cubicBezTo>
                    <a:cubicBezTo>
                      <a:pt x="1871" y="6144"/>
                      <a:pt x="1820" y="6195"/>
                      <a:pt x="1820" y="6258"/>
                    </a:cubicBezTo>
                    <a:lnTo>
                      <a:pt x="1820" y="6372"/>
                    </a:lnTo>
                    <a:lnTo>
                      <a:pt x="1479" y="6372"/>
                    </a:lnTo>
                    <a:lnTo>
                      <a:pt x="1479" y="6258"/>
                    </a:lnTo>
                    <a:cubicBezTo>
                      <a:pt x="1479" y="6195"/>
                      <a:pt x="1428" y="6144"/>
                      <a:pt x="1365" y="6144"/>
                    </a:cubicBezTo>
                    <a:cubicBezTo>
                      <a:pt x="1302" y="6144"/>
                      <a:pt x="1252" y="6195"/>
                      <a:pt x="1252" y="6258"/>
                    </a:cubicBezTo>
                    <a:lnTo>
                      <a:pt x="1252" y="6372"/>
                    </a:lnTo>
                    <a:lnTo>
                      <a:pt x="910" y="6372"/>
                    </a:lnTo>
                    <a:lnTo>
                      <a:pt x="910" y="6258"/>
                    </a:lnTo>
                    <a:cubicBezTo>
                      <a:pt x="910" y="6195"/>
                      <a:pt x="859" y="6144"/>
                      <a:pt x="796" y="6144"/>
                    </a:cubicBezTo>
                    <a:cubicBezTo>
                      <a:pt x="734" y="6144"/>
                      <a:pt x="683" y="6195"/>
                      <a:pt x="683" y="6258"/>
                    </a:cubicBezTo>
                    <a:lnTo>
                      <a:pt x="683" y="6372"/>
                    </a:lnTo>
                    <a:lnTo>
                      <a:pt x="455" y="6372"/>
                    </a:lnTo>
                    <a:lnTo>
                      <a:pt x="455" y="5234"/>
                    </a:lnTo>
                    <a:lnTo>
                      <a:pt x="1263" y="523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1828343">
                  <a:lnSpc>
                    <a:spcPct val="150000"/>
                  </a:lnSpc>
                </a:pPr>
                <a:endParaRPr lang="en-GB" sz="3599" kern="0" dirty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15" name="isḷïḋê">
              <a:extLst>
                <a:ext uri="{FF2B5EF4-FFF2-40B4-BE49-F238E27FC236}">
                  <a16:creationId xmlns:a16="http://schemas.microsoft.com/office/drawing/2014/main" id="{A58847D0-95B3-40C5-9446-F2D9214A83B1}"/>
                </a:ext>
              </a:extLst>
            </p:cNvPr>
            <p:cNvGrpSpPr/>
            <p:nvPr/>
          </p:nvGrpSpPr>
          <p:grpSpPr>
            <a:xfrm>
              <a:off x="6684001" y="3022528"/>
              <a:ext cx="648072" cy="648072"/>
              <a:chOff x="3909160" y="2249137"/>
              <a:chExt cx="648072" cy="648072"/>
            </a:xfrm>
          </p:grpSpPr>
          <p:sp>
            <p:nvSpPr>
              <p:cNvPr id="22" name="íśliḋè">
                <a:extLst>
                  <a:ext uri="{FF2B5EF4-FFF2-40B4-BE49-F238E27FC236}">
                    <a16:creationId xmlns:a16="http://schemas.microsoft.com/office/drawing/2014/main" id="{1AA35A5C-A9F5-4BC8-864A-5DF083F04209}"/>
                  </a:ext>
                </a:extLst>
              </p:cNvPr>
              <p:cNvSpPr/>
              <p:nvPr/>
            </p:nvSpPr>
            <p:spPr>
              <a:xfrm>
                <a:off x="3909160" y="2249137"/>
                <a:ext cx="648072" cy="64807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3" name="ïṣḻiḑê">
                <a:extLst>
                  <a:ext uri="{FF2B5EF4-FFF2-40B4-BE49-F238E27FC236}">
                    <a16:creationId xmlns:a16="http://schemas.microsoft.com/office/drawing/2014/main" id="{BE47ABC9-D362-4C13-A530-552F1E486C9B}"/>
                  </a:ext>
                </a:extLst>
              </p:cNvPr>
              <p:cNvSpPr/>
              <p:nvPr/>
            </p:nvSpPr>
            <p:spPr bwMode="auto">
              <a:xfrm>
                <a:off x="4043050" y="2390028"/>
                <a:ext cx="380293" cy="366291"/>
              </a:xfrm>
              <a:custGeom>
                <a:avLst/>
                <a:gdLst>
                  <a:gd name="T0" fmla="*/ 3413 w 6827"/>
                  <a:gd name="T1" fmla="*/ 0 h 5912"/>
                  <a:gd name="T2" fmla="*/ 0 w 6827"/>
                  <a:gd name="T3" fmla="*/ 5912 h 5912"/>
                  <a:gd name="T4" fmla="*/ 6827 w 6827"/>
                  <a:gd name="T5" fmla="*/ 5912 h 5912"/>
                  <a:gd name="T6" fmla="*/ 3413 w 6827"/>
                  <a:gd name="T7" fmla="*/ 0 h 5912"/>
                  <a:gd name="T8" fmla="*/ 3413 w 6827"/>
                  <a:gd name="T9" fmla="*/ 972 h 5912"/>
                  <a:gd name="T10" fmla="*/ 4489 w 6827"/>
                  <a:gd name="T11" fmla="*/ 2835 h 5912"/>
                  <a:gd name="T12" fmla="*/ 2338 w 6827"/>
                  <a:gd name="T13" fmla="*/ 2835 h 5912"/>
                  <a:gd name="T14" fmla="*/ 3413 w 6827"/>
                  <a:gd name="T15" fmla="*/ 972 h 5912"/>
                  <a:gd name="T16" fmla="*/ 842 w 6827"/>
                  <a:gd name="T17" fmla="*/ 5426 h 5912"/>
                  <a:gd name="T18" fmla="*/ 1917 w 6827"/>
                  <a:gd name="T19" fmla="*/ 3564 h 5912"/>
                  <a:gd name="T20" fmla="*/ 2993 w 6827"/>
                  <a:gd name="T21" fmla="*/ 5426 h 5912"/>
                  <a:gd name="T22" fmla="*/ 842 w 6827"/>
                  <a:gd name="T23" fmla="*/ 5426 h 5912"/>
                  <a:gd name="T24" fmla="*/ 2338 w 6827"/>
                  <a:gd name="T25" fmla="*/ 3321 h 5912"/>
                  <a:gd name="T26" fmla="*/ 4489 w 6827"/>
                  <a:gd name="T27" fmla="*/ 3321 h 5912"/>
                  <a:gd name="T28" fmla="*/ 3413 w 6827"/>
                  <a:gd name="T29" fmla="*/ 5183 h 5912"/>
                  <a:gd name="T30" fmla="*/ 2338 w 6827"/>
                  <a:gd name="T31" fmla="*/ 3321 h 5912"/>
                  <a:gd name="T32" fmla="*/ 4910 w 6827"/>
                  <a:gd name="T33" fmla="*/ 3564 h 5912"/>
                  <a:gd name="T34" fmla="*/ 5985 w 6827"/>
                  <a:gd name="T35" fmla="*/ 5426 h 5912"/>
                  <a:gd name="T36" fmla="*/ 3834 w 6827"/>
                  <a:gd name="T37" fmla="*/ 5426 h 5912"/>
                  <a:gd name="T38" fmla="*/ 4910 w 6827"/>
                  <a:gd name="T39" fmla="*/ 3564 h 5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27" h="5912">
                    <a:moveTo>
                      <a:pt x="3413" y="0"/>
                    </a:moveTo>
                    <a:lnTo>
                      <a:pt x="0" y="5912"/>
                    </a:lnTo>
                    <a:lnTo>
                      <a:pt x="6827" y="5912"/>
                    </a:lnTo>
                    <a:lnTo>
                      <a:pt x="3413" y="0"/>
                    </a:lnTo>
                    <a:close/>
                    <a:moveTo>
                      <a:pt x="3413" y="972"/>
                    </a:moveTo>
                    <a:lnTo>
                      <a:pt x="4489" y="2835"/>
                    </a:lnTo>
                    <a:lnTo>
                      <a:pt x="2338" y="2835"/>
                    </a:lnTo>
                    <a:lnTo>
                      <a:pt x="3413" y="972"/>
                    </a:lnTo>
                    <a:close/>
                    <a:moveTo>
                      <a:pt x="842" y="5426"/>
                    </a:moveTo>
                    <a:lnTo>
                      <a:pt x="1917" y="3564"/>
                    </a:lnTo>
                    <a:lnTo>
                      <a:pt x="2993" y="5426"/>
                    </a:lnTo>
                    <a:lnTo>
                      <a:pt x="842" y="5426"/>
                    </a:lnTo>
                    <a:close/>
                    <a:moveTo>
                      <a:pt x="2338" y="3321"/>
                    </a:moveTo>
                    <a:lnTo>
                      <a:pt x="4489" y="3321"/>
                    </a:lnTo>
                    <a:lnTo>
                      <a:pt x="3413" y="5183"/>
                    </a:lnTo>
                    <a:lnTo>
                      <a:pt x="2338" y="3321"/>
                    </a:lnTo>
                    <a:close/>
                    <a:moveTo>
                      <a:pt x="4910" y="3564"/>
                    </a:moveTo>
                    <a:lnTo>
                      <a:pt x="5985" y="5426"/>
                    </a:lnTo>
                    <a:lnTo>
                      <a:pt x="3834" y="5426"/>
                    </a:lnTo>
                    <a:lnTo>
                      <a:pt x="4910" y="356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dirty="0"/>
              </a:p>
            </p:txBody>
          </p:sp>
        </p:grpSp>
        <p:grpSp>
          <p:nvGrpSpPr>
            <p:cNvPr id="16" name="ï$1îḋé">
              <a:extLst>
                <a:ext uri="{FF2B5EF4-FFF2-40B4-BE49-F238E27FC236}">
                  <a16:creationId xmlns:a16="http://schemas.microsoft.com/office/drawing/2014/main" id="{98386EF3-8CEB-43C7-9636-FD9A1B3DEA4A}"/>
                </a:ext>
              </a:extLst>
            </p:cNvPr>
            <p:cNvGrpSpPr/>
            <p:nvPr/>
          </p:nvGrpSpPr>
          <p:grpSpPr>
            <a:xfrm>
              <a:off x="5660499" y="3693274"/>
              <a:ext cx="453950" cy="453950"/>
              <a:chOff x="6559351" y="2249137"/>
              <a:chExt cx="648072" cy="648072"/>
            </a:xfrm>
          </p:grpSpPr>
          <p:sp>
            <p:nvSpPr>
              <p:cNvPr id="20" name="îśḷiḑé">
                <a:extLst>
                  <a:ext uri="{FF2B5EF4-FFF2-40B4-BE49-F238E27FC236}">
                    <a16:creationId xmlns:a16="http://schemas.microsoft.com/office/drawing/2014/main" id="{CDCDD774-6C14-4F50-A801-D34C0F8FE8C7}"/>
                  </a:ext>
                </a:extLst>
              </p:cNvPr>
              <p:cNvSpPr/>
              <p:nvPr/>
            </p:nvSpPr>
            <p:spPr>
              <a:xfrm>
                <a:off x="6559351" y="2249137"/>
                <a:ext cx="648072" cy="64807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1" name="iśļíḍè">
                <a:extLst>
                  <a:ext uri="{FF2B5EF4-FFF2-40B4-BE49-F238E27FC236}">
                    <a16:creationId xmlns:a16="http://schemas.microsoft.com/office/drawing/2014/main" id="{152A5A04-182E-423D-B095-1AECD60E7E70}"/>
                  </a:ext>
                </a:extLst>
              </p:cNvPr>
              <p:cNvSpPr/>
              <p:nvPr/>
            </p:nvSpPr>
            <p:spPr bwMode="auto">
              <a:xfrm>
                <a:off x="6693241" y="2390028"/>
                <a:ext cx="380293" cy="366291"/>
              </a:xfrm>
              <a:custGeom>
                <a:avLst/>
                <a:gdLst>
                  <a:gd name="connsiteX0" fmla="*/ 0 w 582235"/>
                  <a:gd name="connsiteY0" fmla="*/ 404481 h 606722"/>
                  <a:gd name="connsiteX1" fmla="*/ 101261 w 582235"/>
                  <a:gd name="connsiteY1" fmla="*/ 404481 h 606722"/>
                  <a:gd name="connsiteX2" fmla="*/ 101261 w 582235"/>
                  <a:gd name="connsiteY2" fmla="*/ 606722 h 606722"/>
                  <a:gd name="connsiteX3" fmla="*/ 0 w 582235"/>
                  <a:gd name="connsiteY3" fmla="*/ 606722 h 606722"/>
                  <a:gd name="connsiteX4" fmla="*/ 151927 w 582235"/>
                  <a:gd name="connsiteY4" fmla="*/ 328623 h 606722"/>
                  <a:gd name="connsiteX5" fmla="*/ 253188 w 582235"/>
                  <a:gd name="connsiteY5" fmla="*/ 328623 h 606722"/>
                  <a:gd name="connsiteX6" fmla="*/ 253188 w 582235"/>
                  <a:gd name="connsiteY6" fmla="*/ 606722 h 606722"/>
                  <a:gd name="connsiteX7" fmla="*/ 151927 w 582235"/>
                  <a:gd name="connsiteY7" fmla="*/ 606722 h 606722"/>
                  <a:gd name="connsiteX8" fmla="*/ 303855 w 582235"/>
                  <a:gd name="connsiteY8" fmla="*/ 252766 h 606722"/>
                  <a:gd name="connsiteX9" fmla="*/ 405046 w 582235"/>
                  <a:gd name="connsiteY9" fmla="*/ 252766 h 606722"/>
                  <a:gd name="connsiteX10" fmla="*/ 405046 w 582235"/>
                  <a:gd name="connsiteY10" fmla="*/ 606722 h 606722"/>
                  <a:gd name="connsiteX11" fmla="*/ 303855 w 582235"/>
                  <a:gd name="connsiteY11" fmla="*/ 606722 h 606722"/>
                  <a:gd name="connsiteX12" fmla="*/ 455711 w 582235"/>
                  <a:gd name="connsiteY12" fmla="*/ 202241 h 606722"/>
                  <a:gd name="connsiteX13" fmla="*/ 556972 w 582235"/>
                  <a:gd name="connsiteY13" fmla="*/ 202241 h 606722"/>
                  <a:gd name="connsiteX14" fmla="*/ 556972 w 582235"/>
                  <a:gd name="connsiteY14" fmla="*/ 606722 h 606722"/>
                  <a:gd name="connsiteX15" fmla="*/ 455711 w 582235"/>
                  <a:gd name="connsiteY15" fmla="*/ 606722 h 606722"/>
                  <a:gd name="connsiteX16" fmla="*/ 455697 w 582235"/>
                  <a:gd name="connsiteY16" fmla="*/ 0 h 606722"/>
                  <a:gd name="connsiteX17" fmla="*/ 556785 w 582235"/>
                  <a:gd name="connsiteY17" fmla="*/ 0 h 606722"/>
                  <a:gd name="connsiteX18" fmla="*/ 556874 w 582235"/>
                  <a:gd name="connsiteY18" fmla="*/ 0 h 606722"/>
                  <a:gd name="connsiteX19" fmla="*/ 556963 w 582235"/>
                  <a:gd name="connsiteY19" fmla="*/ 0 h 606722"/>
                  <a:gd name="connsiteX20" fmla="*/ 557675 w 582235"/>
                  <a:gd name="connsiteY20" fmla="*/ 0 h 606722"/>
                  <a:gd name="connsiteX21" fmla="*/ 559366 w 582235"/>
                  <a:gd name="connsiteY21" fmla="*/ 89 h 606722"/>
                  <a:gd name="connsiteX22" fmla="*/ 560611 w 582235"/>
                  <a:gd name="connsiteY22" fmla="*/ 267 h 606722"/>
                  <a:gd name="connsiteX23" fmla="*/ 561857 w 582235"/>
                  <a:gd name="connsiteY23" fmla="*/ 444 h 606722"/>
                  <a:gd name="connsiteX24" fmla="*/ 563192 w 582235"/>
                  <a:gd name="connsiteY24" fmla="*/ 800 h 606722"/>
                  <a:gd name="connsiteX25" fmla="*/ 564171 w 582235"/>
                  <a:gd name="connsiteY25" fmla="*/ 1067 h 606722"/>
                  <a:gd name="connsiteX26" fmla="*/ 565506 w 582235"/>
                  <a:gd name="connsiteY26" fmla="*/ 1511 h 606722"/>
                  <a:gd name="connsiteX27" fmla="*/ 566574 w 582235"/>
                  <a:gd name="connsiteY27" fmla="*/ 1867 h 606722"/>
                  <a:gd name="connsiteX28" fmla="*/ 567730 w 582235"/>
                  <a:gd name="connsiteY28" fmla="*/ 2400 h 606722"/>
                  <a:gd name="connsiteX29" fmla="*/ 568798 w 582235"/>
                  <a:gd name="connsiteY29" fmla="*/ 2933 h 606722"/>
                  <a:gd name="connsiteX30" fmla="*/ 569777 w 582235"/>
                  <a:gd name="connsiteY30" fmla="*/ 3467 h 606722"/>
                  <a:gd name="connsiteX31" fmla="*/ 570934 w 582235"/>
                  <a:gd name="connsiteY31" fmla="*/ 4178 h 606722"/>
                  <a:gd name="connsiteX32" fmla="*/ 571824 w 582235"/>
                  <a:gd name="connsiteY32" fmla="*/ 4800 h 606722"/>
                  <a:gd name="connsiteX33" fmla="*/ 572891 w 582235"/>
                  <a:gd name="connsiteY33" fmla="*/ 5689 h 606722"/>
                  <a:gd name="connsiteX34" fmla="*/ 573781 w 582235"/>
                  <a:gd name="connsiteY34" fmla="*/ 6489 h 606722"/>
                  <a:gd name="connsiteX35" fmla="*/ 574760 w 582235"/>
                  <a:gd name="connsiteY35" fmla="*/ 7289 h 606722"/>
                  <a:gd name="connsiteX36" fmla="*/ 575917 w 582235"/>
                  <a:gd name="connsiteY36" fmla="*/ 8533 h 606722"/>
                  <a:gd name="connsiteX37" fmla="*/ 576451 w 582235"/>
                  <a:gd name="connsiteY37" fmla="*/ 9066 h 606722"/>
                  <a:gd name="connsiteX38" fmla="*/ 576451 w 582235"/>
                  <a:gd name="connsiteY38" fmla="*/ 9155 h 606722"/>
                  <a:gd name="connsiteX39" fmla="*/ 577964 w 582235"/>
                  <a:gd name="connsiteY39" fmla="*/ 11200 h 606722"/>
                  <a:gd name="connsiteX40" fmla="*/ 578053 w 582235"/>
                  <a:gd name="connsiteY40" fmla="*/ 11289 h 606722"/>
                  <a:gd name="connsiteX41" fmla="*/ 579209 w 582235"/>
                  <a:gd name="connsiteY41" fmla="*/ 13244 h 606722"/>
                  <a:gd name="connsiteX42" fmla="*/ 579743 w 582235"/>
                  <a:gd name="connsiteY42" fmla="*/ 14222 h 606722"/>
                  <a:gd name="connsiteX43" fmla="*/ 580277 w 582235"/>
                  <a:gd name="connsiteY43" fmla="*/ 15555 h 606722"/>
                  <a:gd name="connsiteX44" fmla="*/ 580722 w 582235"/>
                  <a:gd name="connsiteY44" fmla="*/ 16711 h 606722"/>
                  <a:gd name="connsiteX45" fmla="*/ 581167 w 582235"/>
                  <a:gd name="connsiteY45" fmla="*/ 17866 h 606722"/>
                  <a:gd name="connsiteX46" fmla="*/ 581523 w 582235"/>
                  <a:gd name="connsiteY46" fmla="*/ 19199 h 606722"/>
                  <a:gd name="connsiteX47" fmla="*/ 581790 w 582235"/>
                  <a:gd name="connsiteY47" fmla="*/ 20266 h 606722"/>
                  <a:gd name="connsiteX48" fmla="*/ 582146 w 582235"/>
                  <a:gd name="connsiteY48" fmla="*/ 22488 h 606722"/>
                  <a:gd name="connsiteX49" fmla="*/ 582146 w 582235"/>
                  <a:gd name="connsiteY49" fmla="*/ 22666 h 606722"/>
                  <a:gd name="connsiteX50" fmla="*/ 582235 w 582235"/>
                  <a:gd name="connsiteY50" fmla="*/ 25244 h 606722"/>
                  <a:gd name="connsiteX51" fmla="*/ 582235 w 582235"/>
                  <a:gd name="connsiteY51" fmla="*/ 126396 h 606722"/>
                  <a:gd name="connsiteX52" fmla="*/ 556963 w 582235"/>
                  <a:gd name="connsiteY52" fmla="*/ 151728 h 606722"/>
                  <a:gd name="connsiteX53" fmla="*/ 531691 w 582235"/>
                  <a:gd name="connsiteY53" fmla="*/ 126396 h 606722"/>
                  <a:gd name="connsiteX54" fmla="*/ 531691 w 582235"/>
                  <a:gd name="connsiteY54" fmla="*/ 79286 h 606722"/>
                  <a:gd name="connsiteX55" fmla="*/ 421260 w 582235"/>
                  <a:gd name="connsiteY55" fmla="*/ 171106 h 606722"/>
                  <a:gd name="connsiteX56" fmla="*/ 385666 w 582235"/>
                  <a:gd name="connsiteY56" fmla="*/ 167906 h 606722"/>
                  <a:gd name="connsiteX57" fmla="*/ 388869 w 582235"/>
                  <a:gd name="connsiteY57" fmla="*/ 132262 h 606722"/>
                  <a:gd name="connsiteX58" fmla="*/ 487020 w 582235"/>
                  <a:gd name="connsiteY58" fmla="*/ 50576 h 606722"/>
                  <a:gd name="connsiteX59" fmla="*/ 455697 w 582235"/>
                  <a:gd name="connsiteY59" fmla="*/ 50576 h 606722"/>
                  <a:gd name="connsiteX60" fmla="*/ 430425 w 582235"/>
                  <a:gd name="connsiteY60" fmla="*/ 25244 h 606722"/>
                  <a:gd name="connsiteX61" fmla="*/ 455697 w 582235"/>
                  <a:gd name="connsiteY61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582235" h="606722">
                    <a:moveTo>
                      <a:pt x="0" y="404481"/>
                    </a:moveTo>
                    <a:lnTo>
                      <a:pt x="101261" y="404481"/>
                    </a:lnTo>
                    <a:lnTo>
                      <a:pt x="101261" y="606722"/>
                    </a:lnTo>
                    <a:lnTo>
                      <a:pt x="0" y="606722"/>
                    </a:lnTo>
                    <a:close/>
                    <a:moveTo>
                      <a:pt x="151927" y="328623"/>
                    </a:moveTo>
                    <a:lnTo>
                      <a:pt x="253188" y="328623"/>
                    </a:lnTo>
                    <a:lnTo>
                      <a:pt x="253188" y="606722"/>
                    </a:lnTo>
                    <a:lnTo>
                      <a:pt x="151927" y="606722"/>
                    </a:lnTo>
                    <a:close/>
                    <a:moveTo>
                      <a:pt x="303855" y="252766"/>
                    </a:moveTo>
                    <a:lnTo>
                      <a:pt x="405046" y="252766"/>
                    </a:lnTo>
                    <a:lnTo>
                      <a:pt x="405046" y="606722"/>
                    </a:lnTo>
                    <a:lnTo>
                      <a:pt x="303855" y="606722"/>
                    </a:lnTo>
                    <a:close/>
                    <a:moveTo>
                      <a:pt x="455711" y="202241"/>
                    </a:moveTo>
                    <a:lnTo>
                      <a:pt x="556972" y="202241"/>
                    </a:lnTo>
                    <a:lnTo>
                      <a:pt x="556972" y="606722"/>
                    </a:lnTo>
                    <a:lnTo>
                      <a:pt x="455711" y="606722"/>
                    </a:lnTo>
                    <a:close/>
                    <a:moveTo>
                      <a:pt x="455697" y="0"/>
                    </a:moveTo>
                    <a:lnTo>
                      <a:pt x="556785" y="0"/>
                    </a:lnTo>
                    <a:lnTo>
                      <a:pt x="556874" y="0"/>
                    </a:lnTo>
                    <a:lnTo>
                      <a:pt x="556963" y="0"/>
                    </a:lnTo>
                    <a:cubicBezTo>
                      <a:pt x="557230" y="0"/>
                      <a:pt x="557408" y="0"/>
                      <a:pt x="557675" y="0"/>
                    </a:cubicBezTo>
                    <a:cubicBezTo>
                      <a:pt x="558298" y="89"/>
                      <a:pt x="558832" y="89"/>
                      <a:pt x="559366" y="89"/>
                    </a:cubicBezTo>
                    <a:cubicBezTo>
                      <a:pt x="559811" y="178"/>
                      <a:pt x="560256" y="267"/>
                      <a:pt x="560611" y="267"/>
                    </a:cubicBezTo>
                    <a:cubicBezTo>
                      <a:pt x="561056" y="356"/>
                      <a:pt x="561412" y="444"/>
                      <a:pt x="561857" y="444"/>
                    </a:cubicBezTo>
                    <a:cubicBezTo>
                      <a:pt x="562302" y="533"/>
                      <a:pt x="562747" y="711"/>
                      <a:pt x="563192" y="800"/>
                    </a:cubicBezTo>
                    <a:cubicBezTo>
                      <a:pt x="563548" y="889"/>
                      <a:pt x="563904" y="978"/>
                      <a:pt x="564171" y="1067"/>
                    </a:cubicBezTo>
                    <a:cubicBezTo>
                      <a:pt x="564616" y="1156"/>
                      <a:pt x="565061" y="1333"/>
                      <a:pt x="565506" y="1511"/>
                    </a:cubicBezTo>
                    <a:cubicBezTo>
                      <a:pt x="565862" y="1600"/>
                      <a:pt x="566218" y="1778"/>
                      <a:pt x="566574" y="1867"/>
                    </a:cubicBezTo>
                    <a:cubicBezTo>
                      <a:pt x="566929" y="2044"/>
                      <a:pt x="567285" y="2222"/>
                      <a:pt x="567730" y="2400"/>
                    </a:cubicBezTo>
                    <a:cubicBezTo>
                      <a:pt x="568086" y="2578"/>
                      <a:pt x="568442" y="2755"/>
                      <a:pt x="568798" y="2933"/>
                    </a:cubicBezTo>
                    <a:cubicBezTo>
                      <a:pt x="569154" y="3111"/>
                      <a:pt x="569421" y="3289"/>
                      <a:pt x="569777" y="3467"/>
                    </a:cubicBezTo>
                    <a:cubicBezTo>
                      <a:pt x="570133" y="3733"/>
                      <a:pt x="570578" y="4000"/>
                      <a:pt x="570934" y="4178"/>
                    </a:cubicBezTo>
                    <a:cubicBezTo>
                      <a:pt x="571201" y="4444"/>
                      <a:pt x="571557" y="4622"/>
                      <a:pt x="571824" y="4800"/>
                    </a:cubicBezTo>
                    <a:cubicBezTo>
                      <a:pt x="572180" y="5155"/>
                      <a:pt x="572536" y="5422"/>
                      <a:pt x="572891" y="5689"/>
                    </a:cubicBezTo>
                    <a:cubicBezTo>
                      <a:pt x="573247" y="5955"/>
                      <a:pt x="573514" y="6222"/>
                      <a:pt x="573781" y="6489"/>
                    </a:cubicBezTo>
                    <a:cubicBezTo>
                      <a:pt x="574137" y="6755"/>
                      <a:pt x="574493" y="7022"/>
                      <a:pt x="574760" y="7289"/>
                    </a:cubicBezTo>
                    <a:cubicBezTo>
                      <a:pt x="575205" y="7733"/>
                      <a:pt x="575561" y="8178"/>
                      <a:pt x="575917" y="8533"/>
                    </a:cubicBezTo>
                    <a:cubicBezTo>
                      <a:pt x="576095" y="8711"/>
                      <a:pt x="576273" y="8889"/>
                      <a:pt x="576451" y="9066"/>
                    </a:cubicBezTo>
                    <a:cubicBezTo>
                      <a:pt x="576451" y="9155"/>
                      <a:pt x="576451" y="9155"/>
                      <a:pt x="576451" y="9155"/>
                    </a:cubicBezTo>
                    <a:cubicBezTo>
                      <a:pt x="576985" y="9777"/>
                      <a:pt x="577519" y="10489"/>
                      <a:pt x="577964" y="11200"/>
                    </a:cubicBezTo>
                    <a:cubicBezTo>
                      <a:pt x="577964" y="11200"/>
                      <a:pt x="578053" y="11289"/>
                      <a:pt x="578053" y="11289"/>
                    </a:cubicBezTo>
                    <a:cubicBezTo>
                      <a:pt x="578498" y="12000"/>
                      <a:pt x="578854" y="12622"/>
                      <a:pt x="579209" y="13244"/>
                    </a:cubicBezTo>
                    <a:cubicBezTo>
                      <a:pt x="579387" y="13600"/>
                      <a:pt x="579565" y="13955"/>
                      <a:pt x="579743" y="14222"/>
                    </a:cubicBezTo>
                    <a:cubicBezTo>
                      <a:pt x="579921" y="14666"/>
                      <a:pt x="580099" y="15111"/>
                      <a:pt x="580277" y="15555"/>
                    </a:cubicBezTo>
                    <a:cubicBezTo>
                      <a:pt x="580455" y="15911"/>
                      <a:pt x="580633" y="16266"/>
                      <a:pt x="580722" y="16711"/>
                    </a:cubicBezTo>
                    <a:cubicBezTo>
                      <a:pt x="580900" y="17066"/>
                      <a:pt x="581078" y="17422"/>
                      <a:pt x="581167" y="17866"/>
                    </a:cubicBezTo>
                    <a:cubicBezTo>
                      <a:pt x="581256" y="18311"/>
                      <a:pt x="581434" y="18755"/>
                      <a:pt x="581523" y="19199"/>
                    </a:cubicBezTo>
                    <a:cubicBezTo>
                      <a:pt x="581612" y="19555"/>
                      <a:pt x="581701" y="19910"/>
                      <a:pt x="581790" y="20266"/>
                    </a:cubicBezTo>
                    <a:cubicBezTo>
                      <a:pt x="581879" y="20977"/>
                      <a:pt x="582057" y="21777"/>
                      <a:pt x="582146" y="22488"/>
                    </a:cubicBezTo>
                    <a:cubicBezTo>
                      <a:pt x="582146" y="22577"/>
                      <a:pt x="582146" y="22666"/>
                      <a:pt x="582146" y="22666"/>
                    </a:cubicBezTo>
                    <a:cubicBezTo>
                      <a:pt x="582235" y="23555"/>
                      <a:pt x="582235" y="24355"/>
                      <a:pt x="582235" y="25244"/>
                    </a:cubicBezTo>
                    <a:lnTo>
                      <a:pt x="582235" y="126396"/>
                    </a:lnTo>
                    <a:cubicBezTo>
                      <a:pt x="582235" y="140351"/>
                      <a:pt x="570934" y="151728"/>
                      <a:pt x="556963" y="151728"/>
                    </a:cubicBezTo>
                    <a:cubicBezTo>
                      <a:pt x="542992" y="151728"/>
                      <a:pt x="531691" y="140351"/>
                      <a:pt x="531691" y="126396"/>
                    </a:cubicBezTo>
                    <a:lnTo>
                      <a:pt x="531691" y="79286"/>
                    </a:lnTo>
                    <a:lnTo>
                      <a:pt x="421260" y="171106"/>
                    </a:lnTo>
                    <a:cubicBezTo>
                      <a:pt x="410582" y="180083"/>
                      <a:pt x="394564" y="178572"/>
                      <a:pt x="385666" y="167906"/>
                    </a:cubicBezTo>
                    <a:cubicBezTo>
                      <a:pt x="376678" y="157150"/>
                      <a:pt x="378191" y="141240"/>
                      <a:pt x="388869" y="132262"/>
                    </a:cubicBezTo>
                    <a:lnTo>
                      <a:pt x="487020" y="50576"/>
                    </a:lnTo>
                    <a:lnTo>
                      <a:pt x="455697" y="50576"/>
                    </a:lnTo>
                    <a:cubicBezTo>
                      <a:pt x="441727" y="50576"/>
                      <a:pt x="430425" y="39288"/>
                      <a:pt x="430425" y="25244"/>
                    </a:cubicBezTo>
                    <a:cubicBezTo>
                      <a:pt x="430425" y="11289"/>
                      <a:pt x="441727" y="0"/>
                      <a:pt x="45569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6398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7" name="îṧḷiḑe">
              <a:extLst>
                <a:ext uri="{FF2B5EF4-FFF2-40B4-BE49-F238E27FC236}">
                  <a16:creationId xmlns:a16="http://schemas.microsoft.com/office/drawing/2014/main" id="{EACDFFDE-A1D2-4B31-8F3F-16E10D07DADE}"/>
                </a:ext>
              </a:extLst>
            </p:cNvPr>
            <p:cNvSpPr/>
            <p:nvPr/>
          </p:nvSpPr>
          <p:spPr>
            <a:xfrm>
              <a:off x="6501955" y="4595984"/>
              <a:ext cx="87716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dirty="0"/>
                <a:t>Text</a:t>
              </a:r>
              <a:endParaRPr lang="zh-CN" altLang="en-US" dirty="0"/>
            </a:p>
          </p:txBody>
        </p:sp>
        <p:sp>
          <p:nvSpPr>
            <p:cNvPr id="18" name="iṡḻîde">
              <a:extLst>
                <a:ext uri="{FF2B5EF4-FFF2-40B4-BE49-F238E27FC236}">
                  <a16:creationId xmlns:a16="http://schemas.microsoft.com/office/drawing/2014/main" id="{BA4D5306-DF81-44A9-80D8-824FE0579714}"/>
                </a:ext>
              </a:extLst>
            </p:cNvPr>
            <p:cNvSpPr txBox="1"/>
            <p:nvPr/>
          </p:nvSpPr>
          <p:spPr>
            <a:xfrm>
              <a:off x="673102" y="1130300"/>
              <a:ext cx="3826038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sp>
          <p:nvSpPr>
            <p:cNvPr id="19" name="i$liḍe">
              <a:extLst>
                <a:ext uri="{FF2B5EF4-FFF2-40B4-BE49-F238E27FC236}">
                  <a16:creationId xmlns:a16="http://schemas.microsoft.com/office/drawing/2014/main" id="{76FD9363-6159-4777-A3F3-6BD0EFE1F7A9}"/>
                </a:ext>
              </a:extLst>
            </p:cNvPr>
            <p:cNvSpPr txBox="1"/>
            <p:nvPr/>
          </p:nvSpPr>
          <p:spPr>
            <a:xfrm>
              <a:off x="673100" y="1982461"/>
              <a:ext cx="3826039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53831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812F7A-98D7-4525-8BA3-9F78EFDCA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B39CC61-F830-4FCD-A061-2B02273D7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26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B7AD00D-ADC5-4C82-8594-355B501960EE}"/>
              </a:ext>
            </a:extLst>
          </p:cNvPr>
          <p:cNvGrpSpPr>
            <a:grpSpLocks noChangeAspect="1"/>
          </p:cNvGrpSpPr>
          <p:nvPr/>
        </p:nvGrpSpPr>
        <p:grpSpPr>
          <a:xfrm>
            <a:off x="668481" y="1556788"/>
            <a:ext cx="10934958" cy="4155749"/>
            <a:chOff x="668481" y="1556788"/>
            <a:chExt cx="10934958" cy="4155749"/>
          </a:xfrm>
        </p:grpSpPr>
        <p:sp>
          <p:nvSpPr>
            <p:cNvPr id="6" name="íśḷîḍé">
              <a:extLst>
                <a:ext uri="{FF2B5EF4-FFF2-40B4-BE49-F238E27FC236}">
                  <a16:creationId xmlns:a16="http://schemas.microsoft.com/office/drawing/2014/main" id="{62BFF4A0-2A9F-4B78-926D-960387A91091}"/>
                </a:ext>
              </a:extLst>
            </p:cNvPr>
            <p:cNvSpPr txBox="1"/>
            <p:nvPr/>
          </p:nvSpPr>
          <p:spPr>
            <a:xfrm>
              <a:off x="668481" y="4753556"/>
              <a:ext cx="1836594" cy="300210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351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sz="1351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íşḷiḋe">
              <a:extLst>
                <a:ext uri="{FF2B5EF4-FFF2-40B4-BE49-F238E27FC236}">
                  <a16:creationId xmlns:a16="http://schemas.microsoft.com/office/drawing/2014/main" id="{67F5CDB6-EE0F-4AD7-9975-F02F96FE676D}"/>
                </a:ext>
              </a:extLst>
            </p:cNvPr>
            <p:cNvSpPr txBox="1"/>
            <p:nvPr/>
          </p:nvSpPr>
          <p:spPr>
            <a:xfrm>
              <a:off x="747965" y="5053700"/>
              <a:ext cx="1670408" cy="658837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 </a:t>
              </a:r>
            </a:p>
          </p:txBody>
        </p:sp>
        <p:sp>
          <p:nvSpPr>
            <p:cNvPr id="8" name="íṥlíḓe">
              <a:extLst>
                <a:ext uri="{FF2B5EF4-FFF2-40B4-BE49-F238E27FC236}">
                  <a16:creationId xmlns:a16="http://schemas.microsoft.com/office/drawing/2014/main" id="{4538AB0E-15FC-47FB-B685-F3204EB2DD6B}"/>
                </a:ext>
              </a:extLst>
            </p:cNvPr>
            <p:cNvSpPr txBox="1"/>
            <p:nvPr/>
          </p:nvSpPr>
          <p:spPr>
            <a:xfrm>
              <a:off x="2894863" y="5053700"/>
              <a:ext cx="1670408" cy="658837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 </a:t>
              </a:r>
            </a:p>
          </p:txBody>
        </p:sp>
        <p:sp>
          <p:nvSpPr>
            <p:cNvPr id="9" name="íṥḻiḑê">
              <a:extLst>
                <a:ext uri="{FF2B5EF4-FFF2-40B4-BE49-F238E27FC236}">
                  <a16:creationId xmlns:a16="http://schemas.microsoft.com/office/drawing/2014/main" id="{68539B2C-5863-4DEF-A984-E4AF963FDFB8}"/>
                </a:ext>
              </a:extLst>
            </p:cNvPr>
            <p:cNvSpPr txBox="1"/>
            <p:nvPr/>
          </p:nvSpPr>
          <p:spPr>
            <a:xfrm>
              <a:off x="5204741" y="5053700"/>
              <a:ext cx="1670408" cy="658837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 </a:t>
              </a:r>
            </a:p>
          </p:txBody>
        </p:sp>
        <p:sp>
          <p:nvSpPr>
            <p:cNvPr id="10" name="îṥḷiḑe">
              <a:extLst>
                <a:ext uri="{FF2B5EF4-FFF2-40B4-BE49-F238E27FC236}">
                  <a16:creationId xmlns:a16="http://schemas.microsoft.com/office/drawing/2014/main" id="{E1E59E99-09AA-4529-93CB-8B0CC36C31E7}"/>
                </a:ext>
              </a:extLst>
            </p:cNvPr>
            <p:cNvSpPr txBox="1"/>
            <p:nvPr/>
          </p:nvSpPr>
          <p:spPr>
            <a:xfrm>
              <a:off x="7528297" y="5053700"/>
              <a:ext cx="1670408" cy="658837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 </a:t>
              </a:r>
            </a:p>
          </p:txBody>
        </p:sp>
        <p:sp>
          <p:nvSpPr>
            <p:cNvPr id="11" name="ïslíďê">
              <a:extLst>
                <a:ext uri="{FF2B5EF4-FFF2-40B4-BE49-F238E27FC236}">
                  <a16:creationId xmlns:a16="http://schemas.microsoft.com/office/drawing/2014/main" id="{7EF984FD-1F2A-4A25-A612-624B97CF0DCD}"/>
                </a:ext>
              </a:extLst>
            </p:cNvPr>
            <p:cNvSpPr txBox="1"/>
            <p:nvPr/>
          </p:nvSpPr>
          <p:spPr>
            <a:xfrm>
              <a:off x="9864367" y="5053700"/>
              <a:ext cx="1670408" cy="658837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 </a:t>
              </a:r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1A9488A2-0095-4278-AD91-B742B38C3B3E}"/>
                </a:ext>
              </a:extLst>
            </p:cNvPr>
            <p:cNvCxnSpPr/>
            <p:nvPr/>
          </p:nvCxnSpPr>
          <p:spPr>
            <a:xfrm>
              <a:off x="1584975" y="2154707"/>
              <a:ext cx="907402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2C0FB127-7F34-4A7F-87EC-E0D9F8B4193C}"/>
                </a:ext>
              </a:extLst>
            </p:cNvPr>
            <p:cNvCxnSpPr/>
            <p:nvPr/>
          </p:nvCxnSpPr>
          <p:spPr>
            <a:xfrm>
              <a:off x="1584972" y="2154709"/>
              <a:ext cx="0" cy="1836543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84ECD402-1F87-425A-97AB-0D8F2926FCB3}"/>
                </a:ext>
              </a:extLst>
            </p:cNvPr>
            <p:cNvCxnSpPr/>
            <p:nvPr/>
          </p:nvCxnSpPr>
          <p:spPr>
            <a:xfrm>
              <a:off x="10658999" y="2154709"/>
              <a:ext cx="0" cy="1836543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iśḷíḋe">
              <a:extLst>
                <a:ext uri="{FF2B5EF4-FFF2-40B4-BE49-F238E27FC236}">
                  <a16:creationId xmlns:a16="http://schemas.microsoft.com/office/drawing/2014/main" id="{2D39601E-CAA7-497D-B02C-C98C130EFCEA}"/>
                </a:ext>
              </a:extLst>
            </p:cNvPr>
            <p:cNvSpPr/>
            <p:nvPr/>
          </p:nvSpPr>
          <p:spPr>
            <a:xfrm>
              <a:off x="10220191" y="3876005"/>
              <a:ext cx="877615" cy="877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sḻîḍé">
              <a:extLst>
                <a:ext uri="{FF2B5EF4-FFF2-40B4-BE49-F238E27FC236}">
                  <a16:creationId xmlns:a16="http://schemas.microsoft.com/office/drawing/2014/main" id="{34EEEB8E-41D8-4AAF-BAFA-01DBF975E218}"/>
                </a:ext>
              </a:extLst>
            </p:cNvPr>
            <p:cNvSpPr/>
            <p:nvPr/>
          </p:nvSpPr>
          <p:spPr bwMode="auto">
            <a:xfrm>
              <a:off x="10498890" y="4136010"/>
              <a:ext cx="327921" cy="327921"/>
            </a:xfrm>
            <a:custGeom>
              <a:avLst/>
              <a:gdLst>
                <a:gd name="T0" fmla="*/ 294284053 w 21600"/>
                <a:gd name="T1" fmla="*/ 147142664 h 21600"/>
                <a:gd name="T2" fmla="*/ 147142664 w 21600"/>
                <a:gd name="T3" fmla="*/ 0 h 21600"/>
                <a:gd name="T4" fmla="*/ 0 w 21600"/>
                <a:gd name="T5" fmla="*/ 147142664 h 21600"/>
                <a:gd name="T6" fmla="*/ 147142664 w 21600"/>
                <a:gd name="T7" fmla="*/ 294284053 h 21600"/>
                <a:gd name="T8" fmla="*/ 154866580 w 21600"/>
                <a:gd name="T9" fmla="*/ 294079785 h 21600"/>
                <a:gd name="T10" fmla="*/ 156869191 w 21600"/>
                <a:gd name="T11" fmla="*/ 294284053 h 21600"/>
                <a:gd name="T12" fmla="*/ 273670883 w 21600"/>
                <a:gd name="T13" fmla="*/ 294284053 h 21600"/>
                <a:gd name="T14" fmla="*/ 294284053 w 21600"/>
                <a:gd name="T15" fmla="*/ 273670883 h 21600"/>
                <a:gd name="T16" fmla="*/ 294284053 w 21600"/>
                <a:gd name="T17" fmla="*/ 159049579 h 21600"/>
                <a:gd name="T18" fmla="*/ 293983955 w 21600"/>
                <a:gd name="T19" fmla="*/ 156106299 h 21600"/>
                <a:gd name="T20" fmla="*/ 294284053 w 21600"/>
                <a:gd name="T21" fmla="*/ 147142664 h 21600"/>
                <a:gd name="T22" fmla="*/ 147142664 w 21600"/>
                <a:gd name="T23" fmla="*/ 257471245 h 21600"/>
                <a:gd name="T24" fmla="*/ 136255913 w 21600"/>
                <a:gd name="T25" fmla="*/ 256926494 h 21600"/>
                <a:gd name="T26" fmla="*/ 36812808 w 21600"/>
                <a:gd name="T27" fmla="*/ 147142664 h 21600"/>
                <a:gd name="T28" fmla="*/ 147142664 w 21600"/>
                <a:gd name="T29" fmla="*/ 36812808 h 21600"/>
                <a:gd name="T30" fmla="*/ 257090496 w 21600"/>
                <a:gd name="T31" fmla="*/ 138422407 h 21600"/>
                <a:gd name="T32" fmla="*/ 257471245 w 21600"/>
                <a:gd name="T33" fmla="*/ 147142664 h 21600"/>
                <a:gd name="T34" fmla="*/ 147142664 w 21600"/>
                <a:gd name="T35" fmla="*/ 257471245 h 21600"/>
                <a:gd name="T36" fmla="*/ 147142664 w 21600"/>
                <a:gd name="T37" fmla="*/ 257471245 h 216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4835"/>
                    <a:pt x="16765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0991" y="21600"/>
                    <a:pt x="11179" y="21595"/>
                    <a:pt x="11367" y="21585"/>
                  </a:cubicBezTo>
                  <a:cubicBezTo>
                    <a:pt x="11416" y="21590"/>
                    <a:pt x="11464" y="21600"/>
                    <a:pt x="11514" y="21600"/>
                  </a:cubicBezTo>
                  <a:lnTo>
                    <a:pt x="20087" y="21600"/>
                  </a:lnTo>
                  <a:cubicBezTo>
                    <a:pt x="20919" y="21600"/>
                    <a:pt x="21600" y="20919"/>
                    <a:pt x="21600" y="20087"/>
                  </a:cubicBezTo>
                  <a:lnTo>
                    <a:pt x="21600" y="11674"/>
                  </a:lnTo>
                  <a:cubicBezTo>
                    <a:pt x="21600" y="11600"/>
                    <a:pt x="21589" y="11529"/>
                    <a:pt x="21578" y="11458"/>
                  </a:cubicBezTo>
                  <a:cubicBezTo>
                    <a:pt x="21591" y="11240"/>
                    <a:pt x="21600" y="11021"/>
                    <a:pt x="21600" y="10800"/>
                  </a:cubicBezTo>
                  <a:close/>
                  <a:moveTo>
                    <a:pt x="10800" y="18898"/>
                  </a:moveTo>
                  <a:cubicBezTo>
                    <a:pt x="10531" y="18898"/>
                    <a:pt x="10264" y="18884"/>
                    <a:pt x="10001" y="18858"/>
                  </a:cubicBezTo>
                  <a:cubicBezTo>
                    <a:pt x="5909" y="18455"/>
                    <a:pt x="2702" y="14995"/>
                    <a:pt x="2702" y="10800"/>
                  </a:cubicBezTo>
                  <a:cubicBezTo>
                    <a:pt x="2702" y="6334"/>
                    <a:pt x="6335" y="2702"/>
                    <a:pt x="10800" y="2702"/>
                  </a:cubicBezTo>
                  <a:cubicBezTo>
                    <a:pt x="15050" y="2702"/>
                    <a:pt x="18543" y="5993"/>
                    <a:pt x="18870" y="10160"/>
                  </a:cubicBezTo>
                  <a:cubicBezTo>
                    <a:pt x="18887" y="10371"/>
                    <a:pt x="18898" y="10584"/>
                    <a:pt x="18898" y="10800"/>
                  </a:cubicBezTo>
                  <a:cubicBezTo>
                    <a:pt x="18898" y="15265"/>
                    <a:pt x="15265" y="18898"/>
                    <a:pt x="10800" y="18898"/>
                  </a:cubicBezTo>
                  <a:close/>
                  <a:moveTo>
                    <a:pt x="10800" y="18898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ṣļiḋé">
              <a:extLst>
                <a:ext uri="{FF2B5EF4-FFF2-40B4-BE49-F238E27FC236}">
                  <a16:creationId xmlns:a16="http://schemas.microsoft.com/office/drawing/2014/main" id="{E4FFF8F9-64FE-492A-B430-84B90D624CC2}"/>
                </a:ext>
              </a:extLst>
            </p:cNvPr>
            <p:cNvSpPr/>
            <p:nvPr/>
          </p:nvSpPr>
          <p:spPr>
            <a:xfrm>
              <a:off x="1154279" y="3876005"/>
              <a:ext cx="877615" cy="877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śḷîďê">
              <a:extLst>
                <a:ext uri="{FF2B5EF4-FFF2-40B4-BE49-F238E27FC236}">
                  <a16:creationId xmlns:a16="http://schemas.microsoft.com/office/drawing/2014/main" id="{68293693-C4F7-4EFB-BF75-F5104C71A6DF}"/>
                </a:ext>
              </a:extLst>
            </p:cNvPr>
            <p:cNvSpPr/>
            <p:nvPr/>
          </p:nvSpPr>
          <p:spPr bwMode="auto">
            <a:xfrm>
              <a:off x="1434299" y="4136011"/>
              <a:ext cx="325691" cy="327920"/>
            </a:xfrm>
            <a:custGeom>
              <a:avLst/>
              <a:gdLst>
                <a:gd name="T0" fmla="*/ 238615946 w 21600"/>
                <a:gd name="T1" fmla="*/ 0 h 21600"/>
                <a:gd name="T2" fmla="*/ 47739287 w 21600"/>
                <a:gd name="T3" fmla="*/ 0 h 21600"/>
                <a:gd name="T4" fmla="*/ 0 w 21600"/>
                <a:gd name="T5" fmla="*/ 49033051 h 21600"/>
                <a:gd name="T6" fmla="*/ 0 w 21600"/>
                <a:gd name="T7" fmla="*/ 245245906 h 21600"/>
                <a:gd name="T8" fmla="*/ 47739287 w 21600"/>
                <a:gd name="T9" fmla="*/ 294279076 h 21600"/>
                <a:gd name="T10" fmla="*/ 238615946 w 21600"/>
                <a:gd name="T11" fmla="*/ 294279076 h 21600"/>
                <a:gd name="T12" fmla="*/ 286355233 w 21600"/>
                <a:gd name="T13" fmla="*/ 245245906 h 21600"/>
                <a:gd name="T14" fmla="*/ 286355233 w 21600"/>
                <a:gd name="T15" fmla="*/ 49033051 h 21600"/>
                <a:gd name="T16" fmla="*/ 238615946 w 21600"/>
                <a:gd name="T17" fmla="*/ 0 h 21600"/>
                <a:gd name="T18" fmla="*/ 250547090 w 21600"/>
                <a:gd name="T19" fmla="*/ 73446865 h 21600"/>
                <a:gd name="T20" fmla="*/ 250547090 w 21600"/>
                <a:gd name="T21" fmla="*/ 114291859 h 21600"/>
                <a:gd name="T22" fmla="*/ 75857704 w 21600"/>
                <a:gd name="T23" fmla="*/ 114291859 h 21600"/>
                <a:gd name="T24" fmla="*/ 75857704 w 21600"/>
                <a:gd name="T25" fmla="*/ 73446865 h 21600"/>
                <a:gd name="T26" fmla="*/ 250547090 w 21600"/>
                <a:gd name="T27" fmla="*/ 73446865 h 21600"/>
                <a:gd name="T28" fmla="*/ 68565902 w 21600"/>
                <a:gd name="T29" fmla="*/ 169019775 h 21600"/>
                <a:gd name="T30" fmla="*/ 68565902 w 21600"/>
                <a:gd name="T31" fmla="*/ 209006170 h 21600"/>
                <a:gd name="T32" fmla="*/ 35808154 w 21600"/>
                <a:gd name="T33" fmla="*/ 209006170 h 21600"/>
                <a:gd name="T34" fmla="*/ 35808154 w 21600"/>
                <a:gd name="T35" fmla="*/ 169019775 h 21600"/>
                <a:gd name="T36" fmla="*/ 68565902 w 21600"/>
                <a:gd name="T37" fmla="*/ 169019775 h 21600"/>
                <a:gd name="T38" fmla="*/ 35808154 w 21600"/>
                <a:gd name="T39" fmla="*/ 161526694 h 21600"/>
                <a:gd name="T40" fmla="*/ 35808154 w 21600"/>
                <a:gd name="T41" fmla="*/ 121771176 h 21600"/>
                <a:gd name="T42" fmla="*/ 68565902 w 21600"/>
                <a:gd name="T43" fmla="*/ 121771176 h 21600"/>
                <a:gd name="T44" fmla="*/ 68565902 w 21600"/>
                <a:gd name="T45" fmla="*/ 161526694 h 21600"/>
                <a:gd name="T46" fmla="*/ 35808154 w 21600"/>
                <a:gd name="T47" fmla="*/ 161526694 h 21600"/>
                <a:gd name="T48" fmla="*/ 75857704 w 21600"/>
                <a:gd name="T49" fmla="*/ 169019775 h 21600"/>
                <a:gd name="T50" fmla="*/ 250547090 w 21600"/>
                <a:gd name="T51" fmla="*/ 169019775 h 21600"/>
                <a:gd name="T52" fmla="*/ 250547090 w 21600"/>
                <a:gd name="T53" fmla="*/ 209006170 h 21600"/>
                <a:gd name="T54" fmla="*/ 75857704 w 21600"/>
                <a:gd name="T55" fmla="*/ 209006170 h 21600"/>
                <a:gd name="T56" fmla="*/ 75857704 w 21600"/>
                <a:gd name="T57" fmla="*/ 169019775 h 21600"/>
                <a:gd name="T58" fmla="*/ 75857704 w 21600"/>
                <a:gd name="T59" fmla="*/ 161526694 h 21600"/>
                <a:gd name="T60" fmla="*/ 75857704 w 21600"/>
                <a:gd name="T61" fmla="*/ 121771176 h 21600"/>
                <a:gd name="T62" fmla="*/ 250547090 w 21600"/>
                <a:gd name="T63" fmla="*/ 121771176 h 21600"/>
                <a:gd name="T64" fmla="*/ 250547090 w 21600"/>
                <a:gd name="T65" fmla="*/ 161526694 h 21600"/>
                <a:gd name="T66" fmla="*/ 75857704 w 21600"/>
                <a:gd name="T67" fmla="*/ 161526694 h 21600"/>
                <a:gd name="T68" fmla="*/ 68565902 w 21600"/>
                <a:gd name="T69" fmla="*/ 73446865 h 21600"/>
                <a:gd name="T70" fmla="*/ 68565902 w 21600"/>
                <a:gd name="T71" fmla="*/ 114291859 h 21600"/>
                <a:gd name="T72" fmla="*/ 35808154 w 21600"/>
                <a:gd name="T73" fmla="*/ 114291859 h 21600"/>
                <a:gd name="T74" fmla="*/ 35808154 w 21600"/>
                <a:gd name="T75" fmla="*/ 73446865 h 21600"/>
                <a:gd name="T76" fmla="*/ 68565902 w 21600"/>
                <a:gd name="T77" fmla="*/ 73446865 h 21600"/>
                <a:gd name="T78" fmla="*/ 35808154 w 21600"/>
                <a:gd name="T79" fmla="*/ 245259800 h 21600"/>
                <a:gd name="T80" fmla="*/ 35808154 w 21600"/>
                <a:gd name="T81" fmla="*/ 216499262 h 21600"/>
                <a:gd name="T82" fmla="*/ 68565902 w 21600"/>
                <a:gd name="T83" fmla="*/ 216499262 h 21600"/>
                <a:gd name="T84" fmla="*/ 68565902 w 21600"/>
                <a:gd name="T85" fmla="*/ 257508377 h 21600"/>
                <a:gd name="T86" fmla="*/ 47739287 w 21600"/>
                <a:gd name="T87" fmla="*/ 257508377 h 21600"/>
                <a:gd name="T88" fmla="*/ 35808154 w 21600"/>
                <a:gd name="T89" fmla="*/ 245259800 h 21600"/>
                <a:gd name="T90" fmla="*/ 238615946 w 21600"/>
                <a:gd name="T91" fmla="*/ 257508377 h 21600"/>
                <a:gd name="T92" fmla="*/ 75857704 w 21600"/>
                <a:gd name="T93" fmla="*/ 257508377 h 21600"/>
                <a:gd name="T94" fmla="*/ 75857704 w 21600"/>
                <a:gd name="T95" fmla="*/ 216499262 h 21600"/>
                <a:gd name="T96" fmla="*/ 250547090 w 21600"/>
                <a:gd name="T97" fmla="*/ 216499262 h 21600"/>
                <a:gd name="T98" fmla="*/ 250547090 w 21600"/>
                <a:gd name="T99" fmla="*/ 245259800 h 21600"/>
                <a:gd name="T100" fmla="*/ 238615946 w 21600"/>
                <a:gd name="T101" fmla="*/ 257508377 h 21600"/>
                <a:gd name="T102" fmla="*/ 238615946 w 21600"/>
                <a:gd name="T103" fmla="*/ 257508377 h 216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600" h="21600">
                  <a:moveTo>
                    <a:pt x="17999" y="0"/>
                  </a:moveTo>
                  <a:lnTo>
                    <a:pt x="3601" y="0"/>
                  </a:lnTo>
                  <a:cubicBezTo>
                    <a:pt x="1612" y="0"/>
                    <a:pt x="0" y="1611"/>
                    <a:pt x="0" y="3599"/>
                  </a:cubicBezTo>
                  <a:lnTo>
                    <a:pt x="0" y="18001"/>
                  </a:lnTo>
                  <a:cubicBezTo>
                    <a:pt x="0" y="19989"/>
                    <a:pt x="1612" y="21600"/>
                    <a:pt x="3601" y="21600"/>
                  </a:cubicBezTo>
                  <a:lnTo>
                    <a:pt x="17999" y="21600"/>
                  </a:lnTo>
                  <a:cubicBezTo>
                    <a:pt x="19988" y="21600"/>
                    <a:pt x="21600" y="19989"/>
                    <a:pt x="21600" y="18001"/>
                  </a:cubicBezTo>
                  <a:lnTo>
                    <a:pt x="21600" y="3599"/>
                  </a:lnTo>
                  <a:cubicBezTo>
                    <a:pt x="21600" y="1611"/>
                    <a:pt x="19988" y="0"/>
                    <a:pt x="17999" y="0"/>
                  </a:cubicBezTo>
                  <a:close/>
                  <a:moveTo>
                    <a:pt x="18899" y="5391"/>
                  </a:moveTo>
                  <a:lnTo>
                    <a:pt x="18899" y="8389"/>
                  </a:lnTo>
                  <a:lnTo>
                    <a:pt x="5722" y="8389"/>
                  </a:lnTo>
                  <a:lnTo>
                    <a:pt x="5722" y="5391"/>
                  </a:lnTo>
                  <a:lnTo>
                    <a:pt x="18899" y="5391"/>
                  </a:lnTo>
                  <a:close/>
                  <a:moveTo>
                    <a:pt x="5172" y="12406"/>
                  </a:moveTo>
                  <a:lnTo>
                    <a:pt x="5172" y="15341"/>
                  </a:lnTo>
                  <a:lnTo>
                    <a:pt x="2701" y="15341"/>
                  </a:lnTo>
                  <a:lnTo>
                    <a:pt x="2701" y="12406"/>
                  </a:lnTo>
                  <a:lnTo>
                    <a:pt x="5172" y="12406"/>
                  </a:lnTo>
                  <a:close/>
                  <a:moveTo>
                    <a:pt x="2701" y="11856"/>
                  </a:moveTo>
                  <a:lnTo>
                    <a:pt x="2701" y="8938"/>
                  </a:lnTo>
                  <a:lnTo>
                    <a:pt x="5172" y="8938"/>
                  </a:lnTo>
                  <a:lnTo>
                    <a:pt x="5172" y="11856"/>
                  </a:lnTo>
                  <a:lnTo>
                    <a:pt x="2701" y="11856"/>
                  </a:lnTo>
                  <a:close/>
                  <a:moveTo>
                    <a:pt x="5722" y="12406"/>
                  </a:moveTo>
                  <a:lnTo>
                    <a:pt x="18899" y="12406"/>
                  </a:lnTo>
                  <a:lnTo>
                    <a:pt x="18899" y="15341"/>
                  </a:lnTo>
                  <a:lnTo>
                    <a:pt x="5722" y="15341"/>
                  </a:lnTo>
                  <a:lnTo>
                    <a:pt x="5722" y="12406"/>
                  </a:lnTo>
                  <a:close/>
                  <a:moveTo>
                    <a:pt x="5722" y="11856"/>
                  </a:moveTo>
                  <a:lnTo>
                    <a:pt x="5722" y="8938"/>
                  </a:lnTo>
                  <a:lnTo>
                    <a:pt x="18899" y="8938"/>
                  </a:lnTo>
                  <a:lnTo>
                    <a:pt x="18899" y="11856"/>
                  </a:lnTo>
                  <a:lnTo>
                    <a:pt x="5722" y="11856"/>
                  </a:lnTo>
                  <a:close/>
                  <a:moveTo>
                    <a:pt x="5172" y="5391"/>
                  </a:moveTo>
                  <a:lnTo>
                    <a:pt x="5172" y="8389"/>
                  </a:lnTo>
                  <a:lnTo>
                    <a:pt x="2701" y="8389"/>
                  </a:lnTo>
                  <a:lnTo>
                    <a:pt x="2701" y="5391"/>
                  </a:lnTo>
                  <a:lnTo>
                    <a:pt x="5172" y="5391"/>
                  </a:lnTo>
                  <a:close/>
                  <a:moveTo>
                    <a:pt x="2701" y="18002"/>
                  </a:moveTo>
                  <a:lnTo>
                    <a:pt x="2701" y="15891"/>
                  </a:lnTo>
                  <a:lnTo>
                    <a:pt x="5172" y="15891"/>
                  </a:lnTo>
                  <a:lnTo>
                    <a:pt x="5172" y="18901"/>
                  </a:lnTo>
                  <a:lnTo>
                    <a:pt x="3601" y="18901"/>
                  </a:lnTo>
                  <a:cubicBezTo>
                    <a:pt x="3105" y="18901"/>
                    <a:pt x="2701" y="18498"/>
                    <a:pt x="2701" y="18002"/>
                  </a:cubicBezTo>
                  <a:close/>
                  <a:moveTo>
                    <a:pt x="17999" y="18901"/>
                  </a:moveTo>
                  <a:lnTo>
                    <a:pt x="5722" y="18901"/>
                  </a:lnTo>
                  <a:lnTo>
                    <a:pt x="5722" y="15891"/>
                  </a:lnTo>
                  <a:lnTo>
                    <a:pt x="18899" y="15891"/>
                  </a:lnTo>
                  <a:lnTo>
                    <a:pt x="18899" y="18002"/>
                  </a:lnTo>
                  <a:cubicBezTo>
                    <a:pt x="18899" y="18498"/>
                    <a:pt x="18495" y="18901"/>
                    <a:pt x="17999" y="18901"/>
                  </a:cubicBezTo>
                  <a:close/>
                  <a:moveTo>
                    <a:pt x="17999" y="1890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19" name="îṡlîḋe">
              <a:extLst>
                <a:ext uri="{FF2B5EF4-FFF2-40B4-BE49-F238E27FC236}">
                  <a16:creationId xmlns:a16="http://schemas.microsoft.com/office/drawing/2014/main" id="{73B3EB82-97FE-452E-80A2-57B218FB5A1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491360" y="4191343"/>
              <a:ext cx="579" cy="356"/>
              <a:chOff x="0" y="0"/>
              <a:chExt cx="579" cy="356"/>
            </a:xfrm>
            <a:solidFill>
              <a:srgbClr val="FFFFFF"/>
            </a:solidFill>
            <a:effectLst/>
          </p:grpSpPr>
          <p:sp>
            <p:nvSpPr>
              <p:cNvPr id="46" name="îśľîḋe">
                <a:extLst>
                  <a:ext uri="{FF2B5EF4-FFF2-40B4-BE49-F238E27FC236}">
                    <a16:creationId xmlns:a16="http://schemas.microsoft.com/office/drawing/2014/main" id="{DD00E97C-2A12-42CB-8A96-742EB19610EC}"/>
                  </a:ext>
                </a:extLst>
              </p:cNvPr>
              <p:cNvSpPr/>
              <p:nvPr/>
            </p:nvSpPr>
            <p:spPr bwMode="auto">
              <a:xfrm>
                <a:off x="400" y="296"/>
                <a:ext cx="0" cy="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600" h="21600">
                    <a:moveTo>
                      <a:pt x="21600" y="0"/>
                    </a:moveTo>
                    <a:lnTo>
                      <a:pt x="0" y="0"/>
                    </a:lnTo>
                    <a:cubicBezTo>
                      <a:pt x="7714" y="7524"/>
                      <a:pt x="14503" y="14319"/>
                      <a:pt x="21600" y="21600"/>
                    </a:cubicBezTo>
                    <a:lnTo>
                      <a:pt x="21600" y="0"/>
                    </a:lnTo>
                    <a:close/>
                    <a:moveTo>
                      <a:pt x="21600" y="0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ïSļíḋè">
                <a:extLst>
                  <a:ext uri="{FF2B5EF4-FFF2-40B4-BE49-F238E27FC236}">
                    <a16:creationId xmlns:a16="http://schemas.microsoft.com/office/drawing/2014/main" id="{19BE6743-79F7-4C44-840D-D023133B1B0B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399" cy="3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1600" h="21600">
                    <a:moveTo>
                      <a:pt x="21599" y="17987"/>
                    </a:moveTo>
                    <a:cubicBezTo>
                      <a:pt x="21589" y="17973"/>
                      <a:pt x="21580" y="17959"/>
                      <a:pt x="21569" y="17944"/>
                    </a:cubicBezTo>
                    <a:lnTo>
                      <a:pt x="15945" y="17944"/>
                    </a:lnTo>
                    <a:cubicBezTo>
                      <a:pt x="14930" y="17944"/>
                      <a:pt x="14107" y="17022"/>
                      <a:pt x="14107" y="15885"/>
                    </a:cubicBezTo>
                    <a:lnTo>
                      <a:pt x="14107" y="13490"/>
                    </a:lnTo>
                    <a:cubicBezTo>
                      <a:pt x="13771" y="13386"/>
                      <a:pt x="13420" y="13295"/>
                      <a:pt x="13054" y="13221"/>
                    </a:cubicBezTo>
                    <a:cubicBezTo>
                      <a:pt x="13802" y="12324"/>
                      <a:pt x="14368" y="10920"/>
                      <a:pt x="14951" y="9256"/>
                    </a:cubicBezTo>
                    <a:cubicBezTo>
                      <a:pt x="15289" y="8293"/>
                      <a:pt x="15230" y="7470"/>
                      <a:pt x="15230" y="6300"/>
                    </a:cubicBezTo>
                    <a:cubicBezTo>
                      <a:pt x="15230" y="5436"/>
                      <a:pt x="15376" y="4049"/>
                      <a:pt x="15185" y="3287"/>
                    </a:cubicBezTo>
                    <a:cubicBezTo>
                      <a:pt x="14540" y="711"/>
                      <a:pt x="12909" y="0"/>
                      <a:pt x="10999" y="0"/>
                    </a:cubicBezTo>
                    <a:cubicBezTo>
                      <a:pt x="9087" y="0"/>
                      <a:pt x="7455" y="714"/>
                      <a:pt x="6810" y="3294"/>
                    </a:cubicBezTo>
                    <a:cubicBezTo>
                      <a:pt x="6620" y="4055"/>
                      <a:pt x="6766" y="5438"/>
                      <a:pt x="6766" y="6300"/>
                    </a:cubicBezTo>
                    <a:cubicBezTo>
                      <a:pt x="6766" y="7473"/>
                      <a:pt x="6709" y="8297"/>
                      <a:pt x="7047" y="9263"/>
                    </a:cubicBezTo>
                    <a:cubicBezTo>
                      <a:pt x="7634" y="10934"/>
                      <a:pt x="8193" y="12336"/>
                      <a:pt x="8938" y="13230"/>
                    </a:cubicBezTo>
                    <a:cubicBezTo>
                      <a:pt x="6036" y="13829"/>
                      <a:pt x="4075" y="15525"/>
                      <a:pt x="2751" y="16188"/>
                    </a:cubicBezTo>
                    <a:cubicBezTo>
                      <a:pt x="14" y="17555"/>
                      <a:pt x="0" y="19055"/>
                      <a:pt x="0" y="19055"/>
                    </a:cubicBezTo>
                    <a:lnTo>
                      <a:pt x="0" y="21600"/>
                    </a:lnTo>
                    <a:lnTo>
                      <a:pt x="21600" y="21597"/>
                    </a:lnTo>
                    <a:cubicBezTo>
                      <a:pt x="21600" y="21597"/>
                      <a:pt x="21599" y="21591"/>
                      <a:pt x="21599" y="21587"/>
                    </a:cubicBezTo>
                    <a:lnTo>
                      <a:pt x="21599" y="17987"/>
                    </a:lnTo>
                    <a:close/>
                    <a:moveTo>
                      <a:pt x="21599" y="17987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şlîḑè">
                <a:extLst>
                  <a:ext uri="{FF2B5EF4-FFF2-40B4-BE49-F238E27FC236}">
                    <a16:creationId xmlns:a16="http://schemas.microsoft.com/office/drawing/2014/main" id="{C6BF5AF4-F215-487F-B67C-55DB61E5221D}"/>
                  </a:ext>
                </a:extLst>
              </p:cNvPr>
              <p:cNvSpPr/>
              <p:nvPr/>
            </p:nvSpPr>
            <p:spPr bwMode="auto">
              <a:xfrm>
                <a:off x="296" y="104"/>
                <a:ext cx="283" cy="2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1600" h="21600">
                    <a:moveTo>
                      <a:pt x="21600" y="10799"/>
                    </a:moveTo>
                    <a:lnTo>
                      <a:pt x="10550" y="0"/>
                    </a:lnTo>
                    <a:lnTo>
                      <a:pt x="10550" y="8100"/>
                    </a:lnTo>
                    <a:lnTo>
                      <a:pt x="0" y="8100"/>
                    </a:lnTo>
                    <a:lnTo>
                      <a:pt x="0" y="13498"/>
                    </a:lnTo>
                    <a:lnTo>
                      <a:pt x="10550" y="13498"/>
                    </a:lnTo>
                    <a:lnTo>
                      <a:pt x="10550" y="21600"/>
                    </a:lnTo>
                    <a:lnTo>
                      <a:pt x="21600" y="10799"/>
                    </a:lnTo>
                    <a:close/>
                    <a:moveTo>
                      <a:pt x="21600" y="10799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0" name="is1iḑê">
              <a:extLst>
                <a:ext uri="{FF2B5EF4-FFF2-40B4-BE49-F238E27FC236}">
                  <a16:creationId xmlns:a16="http://schemas.microsoft.com/office/drawing/2014/main" id="{2B60241E-894C-4D95-B851-4E15B6B90D5F}"/>
                </a:ext>
              </a:extLst>
            </p:cNvPr>
            <p:cNvSpPr/>
            <p:nvPr/>
          </p:nvSpPr>
          <p:spPr>
            <a:xfrm>
              <a:off x="7897645" y="3876005"/>
              <a:ext cx="877615" cy="877615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21" name="íṧļïḓé">
              <a:extLst>
                <a:ext uri="{FF2B5EF4-FFF2-40B4-BE49-F238E27FC236}">
                  <a16:creationId xmlns:a16="http://schemas.microsoft.com/office/drawing/2014/main" id="{82ABAF14-EF81-4BA8-AC89-32F91854269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79085" y="4193081"/>
              <a:ext cx="330149" cy="238689"/>
              <a:chOff x="0" y="0"/>
              <a:chExt cx="580" cy="420"/>
            </a:xfrm>
            <a:solidFill>
              <a:srgbClr val="FFFFFF"/>
            </a:solidFill>
            <a:effectLst/>
          </p:grpSpPr>
          <p:sp>
            <p:nvSpPr>
              <p:cNvPr id="41" name="îŝḻîḑé">
                <a:extLst>
                  <a:ext uri="{FF2B5EF4-FFF2-40B4-BE49-F238E27FC236}">
                    <a16:creationId xmlns:a16="http://schemas.microsoft.com/office/drawing/2014/main" id="{C7ACB2A4-F31A-4ED5-AFDE-ABF4742091C8}"/>
                  </a:ext>
                </a:extLst>
              </p:cNvPr>
              <p:cNvSpPr/>
              <p:nvPr/>
            </p:nvSpPr>
            <p:spPr bwMode="auto">
              <a:xfrm>
                <a:off x="472" y="0"/>
                <a:ext cx="108" cy="420"/>
              </a:xfrm>
              <a:custGeom>
                <a:avLst/>
                <a:gdLst>
                  <a:gd name="T0" fmla="*/ 0 w 17314"/>
                  <a:gd name="T1" fmla="*/ 0 h 21600"/>
                  <a:gd name="T2" fmla="*/ 0 w 17314"/>
                  <a:gd name="T3" fmla="*/ 0 h 21600"/>
                  <a:gd name="T4" fmla="*/ 0 w 17314"/>
                  <a:gd name="T5" fmla="*/ 0 h 21600"/>
                  <a:gd name="T6" fmla="*/ 0 w 17314"/>
                  <a:gd name="T7" fmla="*/ 0 h 21600"/>
                  <a:gd name="T8" fmla="*/ 0 w 17314"/>
                  <a:gd name="T9" fmla="*/ 0 h 21600"/>
                  <a:gd name="T10" fmla="*/ 0 w 17314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314" h="21600">
                    <a:moveTo>
                      <a:pt x="4453" y="0"/>
                    </a:moveTo>
                    <a:lnTo>
                      <a:pt x="0" y="1433"/>
                    </a:lnTo>
                    <a:cubicBezTo>
                      <a:pt x="14716" y="6729"/>
                      <a:pt x="14703" y="14799"/>
                      <a:pt x="6" y="20134"/>
                    </a:cubicBezTo>
                    <a:lnTo>
                      <a:pt x="4561" y="21600"/>
                    </a:lnTo>
                    <a:cubicBezTo>
                      <a:pt x="21600" y="15901"/>
                      <a:pt x="21566" y="5680"/>
                      <a:pt x="4453" y="0"/>
                    </a:cubicBezTo>
                    <a:close/>
                    <a:moveTo>
                      <a:pt x="4453" y="0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ślïḑê">
                <a:extLst>
                  <a:ext uri="{FF2B5EF4-FFF2-40B4-BE49-F238E27FC236}">
                    <a16:creationId xmlns:a16="http://schemas.microsoft.com/office/drawing/2014/main" id="{492C699F-F7D2-4101-9A7F-140A92955C91}"/>
                  </a:ext>
                </a:extLst>
              </p:cNvPr>
              <p:cNvSpPr/>
              <p:nvPr/>
            </p:nvSpPr>
            <p:spPr bwMode="auto">
              <a:xfrm>
                <a:off x="400" y="72"/>
                <a:ext cx="82" cy="289"/>
              </a:xfrm>
              <a:custGeom>
                <a:avLst/>
                <a:gdLst>
                  <a:gd name="T0" fmla="*/ 0 w 17740"/>
                  <a:gd name="T1" fmla="*/ 0 h 21600"/>
                  <a:gd name="T2" fmla="*/ 0 w 17740"/>
                  <a:gd name="T3" fmla="*/ 0 h 21600"/>
                  <a:gd name="T4" fmla="*/ 0 w 17740"/>
                  <a:gd name="T5" fmla="*/ 0 h 21600"/>
                  <a:gd name="T6" fmla="*/ 0 w 17740"/>
                  <a:gd name="T7" fmla="*/ 0 h 21600"/>
                  <a:gd name="T8" fmla="*/ 0 w 17740"/>
                  <a:gd name="T9" fmla="*/ 0 h 21600"/>
                  <a:gd name="T10" fmla="*/ 0 w 1774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740" h="21600">
                    <a:moveTo>
                      <a:pt x="6187" y="0"/>
                    </a:moveTo>
                    <a:lnTo>
                      <a:pt x="0" y="2151"/>
                    </a:lnTo>
                    <a:cubicBezTo>
                      <a:pt x="12064" y="7124"/>
                      <a:pt x="12071" y="14454"/>
                      <a:pt x="58" y="19465"/>
                    </a:cubicBezTo>
                    <a:lnTo>
                      <a:pt x="6192" y="21600"/>
                    </a:lnTo>
                    <a:cubicBezTo>
                      <a:pt x="21581" y="15393"/>
                      <a:pt x="21600" y="6154"/>
                      <a:pt x="6187" y="0"/>
                    </a:cubicBezTo>
                    <a:close/>
                    <a:moveTo>
                      <a:pt x="6187" y="0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ṧḻîḓè">
                <a:extLst>
                  <a:ext uri="{FF2B5EF4-FFF2-40B4-BE49-F238E27FC236}">
                    <a16:creationId xmlns:a16="http://schemas.microsoft.com/office/drawing/2014/main" id="{B86A98E1-3BAF-4035-AD51-323A78380418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08" cy="420"/>
              </a:xfrm>
              <a:custGeom>
                <a:avLst/>
                <a:gdLst>
                  <a:gd name="T0" fmla="*/ 0 w 17314"/>
                  <a:gd name="T1" fmla="*/ 0 h 21600"/>
                  <a:gd name="T2" fmla="*/ 0 w 17314"/>
                  <a:gd name="T3" fmla="*/ 0 h 21600"/>
                  <a:gd name="T4" fmla="*/ 0 w 17314"/>
                  <a:gd name="T5" fmla="*/ 0 h 21600"/>
                  <a:gd name="T6" fmla="*/ 0 w 17314"/>
                  <a:gd name="T7" fmla="*/ 0 h 21600"/>
                  <a:gd name="T8" fmla="*/ 0 w 17314"/>
                  <a:gd name="T9" fmla="*/ 0 h 21600"/>
                  <a:gd name="T10" fmla="*/ 0 w 17314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314" h="21600">
                    <a:moveTo>
                      <a:pt x="17314" y="1433"/>
                    </a:moveTo>
                    <a:lnTo>
                      <a:pt x="12861" y="0"/>
                    </a:lnTo>
                    <a:cubicBezTo>
                      <a:pt x="-4252" y="5680"/>
                      <a:pt x="-4286" y="15900"/>
                      <a:pt x="12752" y="21600"/>
                    </a:cubicBezTo>
                    <a:lnTo>
                      <a:pt x="17306" y="20134"/>
                    </a:lnTo>
                    <a:cubicBezTo>
                      <a:pt x="2608" y="14799"/>
                      <a:pt x="2595" y="6728"/>
                      <a:pt x="17314" y="1433"/>
                    </a:cubicBezTo>
                    <a:close/>
                    <a:moveTo>
                      <a:pt x="17314" y="1433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i$ľiďè">
                <a:extLst>
                  <a:ext uri="{FF2B5EF4-FFF2-40B4-BE49-F238E27FC236}">
                    <a16:creationId xmlns:a16="http://schemas.microsoft.com/office/drawing/2014/main" id="{4BF17ECD-364A-4A79-8C22-13622B3782A0}"/>
                  </a:ext>
                </a:extLst>
              </p:cNvPr>
              <p:cNvSpPr/>
              <p:nvPr/>
            </p:nvSpPr>
            <p:spPr bwMode="auto">
              <a:xfrm>
                <a:off x="95" y="72"/>
                <a:ext cx="83" cy="289"/>
              </a:xfrm>
              <a:custGeom>
                <a:avLst/>
                <a:gdLst>
                  <a:gd name="T0" fmla="*/ 0 w 17739"/>
                  <a:gd name="T1" fmla="*/ 0 h 21600"/>
                  <a:gd name="T2" fmla="*/ 0 w 17739"/>
                  <a:gd name="T3" fmla="*/ 0 h 21600"/>
                  <a:gd name="T4" fmla="*/ 0 w 17739"/>
                  <a:gd name="T5" fmla="*/ 0 h 21600"/>
                  <a:gd name="T6" fmla="*/ 0 w 17739"/>
                  <a:gd name="T7" fmla="*/ 0 h 21600"/>
                  <a:gd name="T8" fmla="*/ 0 w 17739"/>
                  <a:gd name="T9" fmla="*/ 0 h 21600"/>
                  <a:gd name="T10" fmla="*/ 0 w 17739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739" h="21600">
                    <a:moveTo>
                      <a:pt x="11555" y="0"/>
                    </a:moveTo>
                    <a:cubicBezTo>
                      <a:pt x="-3861" y="6155"/>
                      <a:pt x="-3840" y="15393"/>
                      <a:pt x="11548" y="21600"/>
                    </a:cubicBezTo>
                    <a:lnTo>
                      <a:pt x="17684" y="19465"/>
                    </a:lnTo>
                    <a:cubicBezTo>
                      <a:pt x="5669" y="14454"/>
                      <a:pt x="5673" y="7124"/>
                      <a:pt x="17739" y="2151"/>
                    </a:cubicBezTo>
                    <a:lnTo>
                      <a:pt x="11555" y="0"/>
                    </a:lnTo>
                    <a:close/>
                    <a:moveTo>
                      <a:pt x="11555" y="0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íSļíḑê">
                <a:extLst>
                  <a:ext uri="{FF2B5EF4-FFF2-40B4-BE49-F238E27FC236}">
                    <a16:creationId xmlns:a16="http://schemas.microsoft.com/office/drawing/2014/main" id="{6AEAB922-108B-45FB-8A9F-44A445552919}"/>
                  </a:ext>
                </a:extLst>
              </p:cNvPr>
              <p:cNvSpPr/>
              <p:nvPr/>
            </p:nvSpPr>
            <p:spPr bwMode="auto">
              <a:xfrm>
                <a:off x="200" y="120"/>
                <a:ext cx="185" cy="185"/>
              </a:xfrm>
              <a:custGeom>
                <a:avLst/>
                <a:gdLst>
                  <a:gd name="T0" fmla="*/ 0 w 21598"/>
                  <a:gd name="T1" fmla="*/ 0 h 21598"/>
                  <a:gd name="T2" fmla="*/ 0 w 21598"/>
                  <a:gd name="T3" fmla="*/ 0 h 21598"/>
                  <a:gd name="T4" fmla="*/ 0 w 21598"/>
                  <a:gd name="T5" fmla="*/ 0 h 21598"/>
                  <a:gd name="T6" fmla="*/ 0 w 21598"/>
                  <a:gd name="T7" fmla="*/ 0 h 21598"/>
                  <a:gd name="T8" fmla="*/ 0 w 21598"/>
                  <a:gd name="T9" fmla="*/ 0 h 21598"/>
                  <a:gd name="T10" fmla="*/ 0 w 21598"/>
                  <a:gd name="T11" fmla="*/ 0 h 21598"/>
                  <a:gd name="T12" fmla="*/ 0 w 21598"/>
                  <a:gd name="T13" fmla="*/ 0 h 21598"/>
                  <a:gd name="T14" fmla="*/ 0 w 21598"/>
                  <a:gd name="T15" fmla="*/ 0 h 21598"/>
                  <a:gd name="T16" fmla="*/ 0 w 21598"/>
                  <a:gd name="T17" fmla="*/ 0 h 21598"/>
                  <a:gd name="T18" fmla="*/ 0 w 21598"/>
                  <a:gd name="T19" fmla="*/ 0 h 21598"/>
                  <a:gd name="T20" fmla="*/ 0 w 21598"/>
                  <a:gd name="T21" fmla="*/ 0 h 21598"/>
                  <a:gd name="T22" fmla="*/ 0 w 21598"/>
                  <a:gd name="T23" fmla="*/ 0 h 21598"/>
                  <a:gd name="T24" fmla="*/ 0 w 21598"/>
                  <a:gd name="T25" fmla="*/ 0 h 21598"/>
                  <a:gd name="T26" fmla="*/ 0 w 21598"/>
                  <a:gd name="T27" fmla="*/ 0 h 21598"/>
                  <a:gd name="T28" fmla="*/ 0 w 21598"/>
                  <a:gd name="T29" fmla="*/ 0 h 21598"/>
                  <a:gd name="T30" fmla="*/ 0 w 21598"/>
                  <a:gd name="T31" fmla="*/ 0 h 21598"/>
                  <a:gd name="T32" fmla="*/ 0 w 21598"/>
                  <a:gd name="T33" fmla="*/ 0 h 21598"/>
                  <a:gd name="T34" fmla="*/ 0 w 21598"/>
                  <a:gd name="T35" fmla="*/ 0 h 2159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1598" h="21598">
                    <a:moveTo>
                      <a:pt x="21598" y="10799"/>
                    </a:moveTo>
                    <a:cubicBezTo>
                      <a:pt x="21599" y="9385"/>
                      <a:pt x="21318" y="7972"/>
                      <a:pt x="20776" y="6666"/>
                    </a:cubicBezTo>
                    <a:cubicBezTo>
                      <a:pt x="20236" y="5360"/>
                      <a:pt x="19435" y="4162"/>
                      <a:pt x="18435" y="3163"/>
                    </a:cubicBezTo>
                    <a:cubicBezTo>
                      <a:pt x="17436" y="2163"/>
                      <a:pt x="16238" y="1362"/>
                      <a:pt x="14932" y="822"/>
                    </a:cubicBezTo>
                    <a:cubicBezTo>
                      <a:pt x="13626" y="280"/>
                      <a:pt x="12213" y="-1"/>
                      <a:pt x="10799" y="0"/>
                    </a:cubicBezTo>
                    <a:cubicBezTo>
                      <a:pt x="9385" y="-1"/>
                      <a:pt x="7972" y="280"/>
                      <a:pt x="6666" y="822"/>
                    </a:cubicBezTo>
                    <a:cubicBezTo>
                      <a:pt x="5360" y="1362"/>
                      <a:pt x="4162" y="2163"/>
                      <a:pt x="3163" y="3163"/>
                    </a:cubicBezTo>
                    <a:cubicBezTo>
                      <a:pt x="2163" y="4162"/>
                      <a:pt x="1362" y="5360"/>
                      <a:pt x="822" y="6666"/>
                    </a:cubicBezTo>
                    <a:cubicBezTo>
                      <a:pt x="280" y="7972"/>
                      <a:pt x="-1" y="9385"/>
                      <a:pt x="0" y="10799"/>
                    </a:cubicBezTo>
                    <a:cubicBezTo>
                      <a:pt x="-1" y="12213"/>
                      <a:pt x="280" y="13626"/>
                      <a:pt x="822" y="14932"/>
                    </a:cubicBezTo>
                    <a:cubicBezTo>
                      <a:pt x="1362" y="16238"/>
                      <a:pt x="2163" y="17436"/>
                      <a:pt x="3163" y="18435"/>
                    </a:cubicBezTo>
                    <a:cubicBezTo>
                      <a:pt x="4162" y="19435"/>
                      <a:pt x="5360" y="20236"/>
                      <a:pt x="6666" y="20776"/>
                    </a:cubicBezTo>
                    <a:cubicBezTo>
                      <a:pt x="7972" y="21318"/>
                      <a:pt x="9385" y="21599"/>
                      <a:pt x="10799" y="21598"/>
                    </a:cubicBezTo>
                    <a:cubicBezTo>
                      <a:pt x="12213" y="21599"/>
                      <a:pt x="13626" y="21318"/>
                      <a:pt x="14932" y="20776"/>
                    </a:cubicBezTo>
                    <a:cubicBezTo>
                      <a:pt x="16238" y="20236"/>
                      <a:pt x="17436" y="19435"/>
                      <a:pt x="18435" y="18435"/>
                    </a:cubicBezTo>
                    <a:cubicBezTo>
                      <a:pt x="19435" y="17436"/>
                      <a:pt x="20236" y="16238"/>
                      <a:pt x="20776" y="14932"/>
                    </a:cubicBezTo>
                    <a:cubicBezTo>
                      <a:pt x="21318" y="13626"/>
                      <a:pt x="21599" y="12213"/>
                      <a:pt x="21598" y="10799"/>
                    </a:cubicBezTo>
                    <a:close/>
                    <a:moveTo>
                      <a:pt x="21598" y="10799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2" name="ïṣḷídé">
              <a:extLst>
                <a:ext uri="{FF2B5EF4-FFF2-40B4-BE49-F238E27FC236}">
                  <a16:creationId xmlns:a16="http://schemas.microsoft.com/office/drawing/2014/main" id="{DFE81D77-692B-4836-8783-32E8BB22B1EE}"/>
                </a:ext>
              </a:extLst>
            </p:cNvPr>
            <p:cNvSpPr/>
            <p:nvPr/>
          </p:nvSpPr>
          <p:spPr>
            <a:xfrm>
              <a:off x="5587614" y="3876005"/>
              <a:ext cx="877615" cy="877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23" name="išḻiďê">
              <a:extLst>
                <a:ext uri="{FF2B5EF4-FFF2-40B4-BE49-F238E27FC236}">
                  <a16:creationId xmlns:a16="http://schemas.microsoft.com/office/drawing/2014/main" id="{049B78B3-DE11-49A9-970B-435CE3E893C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8354" y="4083495"/>
              <a:ext cx="159252" cy="394087"/>
              <a:chOff x="0" y="0"/>
              <a:chExt cx="230" cy="572"/>
            </a:xfrm>
            <a:solidFill>
              <a:srgbClr val="FFFFFF"/>
            </a:solidFill>
            <a:effectLst/>
          </p:grpSpPr>
          <p:sp>
            <p:nvSpPr>
              <p:cNvPr id="37" name="íśľïḋê">
                <a:extLst>
                  <a:ext uri="{FF2B5EF4-FFF2-40B4-BE49-F238E27FC236}">
                    <a16:creationId xmlns:a16="http://schemas.microsoft.com/office/drawing/2014/main" id="{F13BD176-B06E-415E-AFA8-F1BF0BF18F8F}"/>
                  </a:ext>
                </a:extLst>
              </p:cNvPr>
              <p:cNvSpPr/>
              <p:nvPr/>
            </p:nvSpPr>
            <p:spPr bwMode="auto">
              <a:xfrm>
                <a:off x="0" y="159"/>
                <a:ext cx="230" cy="4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1600" h="21600">
                    <a:moveTo>
                      <a:pt x="19908" y="0"/>
                    </a:moveTo>
                    <a:lnTo>
                      <a:pt x="1692" y="0"/>
                    </a:lnTo>
                    <a:cubicBezTo>
                      <a:pt x="758" y="0"/>
                      <a:pt x="0" y="422"/>
                      <a:pt x="0" y="943"/>
                    </a:cubicBezTo>
                    <a:cubicBezTo>
                      <a:pt x="0" y="1464"/>
                      <a:pt x="758" y="1887"/>
                      <a:pt x="1692" y="1887"/>
                    </a:cubicBezTo>
                    <a:lnTo>
                      <a:pt x="3595" y="1887"/>
                    </a:lnTo>
                    <a:lnTo>
                      <a:pt x="3595" y="17635"/>
                    </a:lnTo>
                    <a:lnTo>
                      <a:pt x="3600" y="17635"/>
                    </a:lnTo>
                    <a:cubicBezTo>
                      <a:pt x="3649" y="19829"/>
                      <a:pt x="6852" y="21600"/>
                      <a:pt x="10799" y="21600"/>
                    </a:cubicBezTo>
                    <a:cubicBezTo>
                      <a:pt x="14748" y="21600"/>
                      <a:pt x="17949" y="19830"/>
                      <a:pt x="18000" y="17635"/>
                    </a:cubicBezTo>
                    <a:lnTo>
                      <a:pt x="18004" y="17635"/>
                    </a:lnTo>
                    <a:lnTo>
                      <a:pt x="18004" y="1887"/>
                    </a:lnTo>
                    <a:lnTo>
                      <a:pt x="19908" y="1887"/>
                    </a:lnTo>
                    <a:cubicBezTo>
                      <a:pt x="20843" y="1887"/>
                      <a:pt x="21600" y="1464"/>
                      <a:pt x="21600" y="943"/>
                    </a:cubicBezTo>
                    <a:cubicBezTo>
                      <a:pt x="21600" y="422"/>
                      <a:pt x="20843" y="0"/>
                      <a:pt x="19908" y="0"/>
                    </a:cubicBezTo>
                    <a:close/>
                    <a:moveTo>
                      <a:pt x="14269" y="17635"/>
                    </a:moveTo>
                    <a:cubicBezTo>
                      <a:pt x="14269" y="17626"/>
                      <a:pt x="14264" y="17617"/>
                      <a:pt x="14264" y="17609"/>
                    </a:cubicBezTo>
                    <a:cubicBezTo>
                      <a:pt x="14241" y="18661"/>
                      <a:pt x="12686" y="19517"/>
                      <a:pt x="10799" y="19517"/>
                    </a:cubicBezTo>
                    <a:cubicBezTo>
                      <a:pt x="8913" y="19517"/>
                      <a:pt x="7359" y="18661"/>
                      <a:pt x="7336" y="17609"/>
                    </a:cubicBezTo>
                    <a:cubicBezTo>
                      <a:pt x="7336" y="17617"/>
                      <a:pt x="7331" y="17626"/>
                      <a:pt x="7331" y="17635"/>
                    </a:cubicBezTo>
                    <a:lnTo>
                      <a:pt x="7331" y="2082"/>
                    </a:lnTo>
                    <a:lnTo>
                      <a:pt x="14269" y="2082"/>
                    </a:lnTo>
                    <a:lnTo>
                      <a:pt x="14269" y="17635"/>
                    </a:lnTo>
                    <a:close/>
                    <a:moveTo>
                      <a:pt x="14269" y="17635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iślíďê">
                <a:extLst>
                  <a:ext uri="{FF2B5EF4-FFF2-40B4-BE49-F238E27FC236}">
                    <a16:creationId xmlns:a16="http://schemas.microsoft.com/office/drawing/2014/main" id="{FBF10BFB-44C8-4D6B-BB37-C0408BFA1BC4}"/>
                  </a:ext>
                </a:extLst>
              </p:cNvPr>
              <p:cNvSpPr/>
              <p:nvPr/>
            </p:nvSpPr>
            <p:spPr bwMode="auto">
              <a:xfrm>
                <a:off x="8" y="48"/>
                <a:ext cx="90" cy="9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1600" h="21600">
                    <a:moveTo>
                      <a:pt x="10798" y="21600"/>
                    </a:moveTo>
                    <a:cubicBezTo>
                      <a:pt x="16763" y="21600"/>
                      <a:pt x="21600" y="16765"/>
                      <a:pt x="21600" y="10802"/>
                    </a:cubicBezTo>
                    <a:cubicBezTo>
                      <a:pt x="21600" y="4837"/>
                      <a:pt x="16763" y="0"/>
                      <a:pt x="10798" y="0"/>
                    </a:cubicBezTo>
                    <a:cubicBezTo>
                      <a:pt x="4835" y="0"/>
                      <a:pt x="0" y="4837"/>
                      <a:pt x="0" y="10802"/>
                    </a:cubicBezTo>
                    <a:cubicBezTo>
                      <a:pt x="0" y="16763"/>
                      <a:pt x="4835" y="21600"/>
                      <a:pt x="10798" y="21600"/>
                    </a:cubicBezTo>
                    <a:close/>
                    <a:moveTo>
                      <a:pt x="10798" y="5717"/>
                    </a:moveTo>
                    <a:cubicBezTo>
                      <a:pt x="13601" y="5717"/>
                      <a:pt x="15883" y="7999"/>
                      <a:pt x="15883" y="10802"/>
                    </a:cubicBezTo>
                    <a:cubicBezTo>
                      <a:pt x="15883" y="13605"/>
                      <a:pt x="13601" y="15885"/>
                      <a:pt x="10798" y="15885"/>
                    </a:cubicBezTo>
                    <a:cubicBezTo>
                      <a:pt x="7995" y="15885"/>
                      <a:pt x="5717" y="13605"/>
                      <a:pt x="5717" y="10802"/>
                    </a:cubicBezTo>
                    <a:cubicBezTo>
                      <a:pt x="5717" y="7999"/>
                      <a:pt x="7997" y="5717"/>
                      <a:pt x="10798" y="5717"/>
                    </a:cubicBezTo>
                    <a:close/>
                    <a:moveTo>
                      <a:pt x="10798" y="5717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îṡlîďè">
                <a:extLst>
                  <a:ext uri="{FF2B5EF4-FFF2-40B4-BE49-F238E27FC236}">
                    <a16:creationId xmlns:a16="http://schemas.microsoft.com/office/drawing/2014/main" id="{B3EAFE85-3037-477A-B13B-B83B3FD83CD5}"/>
                  </a:ext>
                </a:extLst>
              </p:cNvPr>
              <p:cNvSpPr/>
              <p:nvPr/>
            </p:nvSpPr>
            <p:spPr bwMode="auto">
              <a:xfrm>
                <a:off x="104" y="104"/>
                <a:ext cx="45" cy="45"/>
              </a:xfrm>
              <a:custGeom>
                <a:avLst/>
                <a:gdLst>
                  <a:gd name="T0" fmla="*/ 0 w 21598"/>
                  <a:gd name="T1" fmla="*/ 0 h 21598"/>
                  <a:gd name="T2" fmla="*/ 0 w 21598"/>
                  <a:gd name="T3" fmla="*/ 0 h 21598"/>
                  <a:gd name="T4" fmla="*/ 0 w 21598"/>
                  <a:gd name="T5" fmla="*/ 0 h 21598"/>
                  <a:gd name="T6" fmla="*/ 0 w 21598"/>
                  <a:gd name="T7" fmla="*/ 0 h 21598"/>
                  <a:gd name="T8" fmla="*/ 0 w 21598"/>
                  <a:gd name="T9" fmla="*/ 0 h 21598"/>
                  <a:gd name="T10" fmla="*/ 0 w 21598"/>
                  <a:gd name="T11" fmla="*/ 0 h 21598"/>
                  <a:gd name="T12" fmla="*/ 0 w 21598"/>
                  <a:gd name="T13" fmla="*/ 0 h 21598"/>
                  <a:gd name="T14" fmla="*/ 0 w 21598"/>
                  <a:gd name="T15" fmla="*/ 0 h 21598"/>
                  <a:gd name="T16" fmla="*/ 0 w 21598"/>
                  <a:gd name="T17" fmla="*/ 0 h 21598"/>
                  <a:gd name="T18" fmla="*/ 0 w 21598"/>
                  <a:gd name="T19" fmla="*/ 0 h 21598"/>
                  <a:gd name="T20" fmla="*/ 0 w 21598"/>
                  <a:gd name="T21" fmla="*/ 0 h 21598"/>
                  <a:gd name="T22" fmla="*/ 0 w 21598"/>
                  <a:gd name="T23" fmla="*/ 0 h 21598"/>
                  <a:gd name="T24" fmla="*/ 0 w 21598"/>
                  <a:gd name="T25" fmla="*/ 0 h 21598"/>
                  <a:gd name="T26" fmla="*/ 0 w 21598"/>
                  <a:gd name="T27" fmla="*/ 0 h 21598"/>
                  <a:gd name="T28" fmla="*/ 0 w 21598"/>
                  <a:gd name="T29" fmla="*/ 0 h 21598"/>
                  <a:gd name="T30" fmla="*/ 0 w 21598"/>
                  <a:gd name="T31" fmla="*/ 0 h 21598"/>
                  <a:gd name="T32" fmla="*/ 0 w 21598"/>
                  <a:gd name="T33" fmla="*/ 0 h 21598"/>
                  <a:gd name="T34" fmla="*/ 0 w 21598"/>
                  <a:gd name="T35" fmla="*/ 0 h 2159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1598" h="21598">
                    <a:moveTo>
                      <a:pt x="21598" y="10799"/>
                    </a:moveTo>
                    <a:cubicBezTo>
                      <a:pt x="21599" y="9385"/>
                      <a:pt x="21318" y="7972"/>
                      <a:pt x="20776" y="6666"/>
                    </a:cubicBezTo>
                    <a:cubicBezTo>
                      <a:pt x="20236" y="5360"/>
                      <a:pt x="19435" y="4162"/>
                      <a:pt x="18435" y="3163"/>
                    </a:cubicBezTo>
                    <a:cubicBezTo>
                      <a:pt x="17436" y="2163"/>
                      <a:pt x="16238" y="1362"/>
                      <a:pt x="14932" y="822"/>
                    </a:cubicBezTo>
                    <a:cubicBezTo>
                      <a:pt x="13626" y="280"/>
                      <a:pt x="12213" y="-1"/>
                      <a:pt x="10799" y="0"/>
                    </a:cubicBezTo>
                    <a:cubicBezTo>
                      <a:pt x="9385" y="-1"/>
                      <a:pt x="7972" y="280"/>
                      <a:pt x="6666" y="822"/>
                    </a:cubicBezTo>
                    <a:cubicBezTo>
                      <a:pt x="5360" y="1362"/>
                      <a:pt x="4162" y="2163"/>
                      <a:pt x="3163" y="3163"/>
                    </a:cubicBezTo>
                    <a:cubicBezTo>
                      <a:pt x="2163" y="4162"/>
                      <a:pt x="1362" y="5360"/>
                      <a:pt x="822" y="6666"/>
                    </a:cubicBezTo>
                    <a:cubicBezTo>
                      <a:pt x="280" y="7972"/>
                      <a:pt x="-1" y="9385"/>
                      <a:pt x="0" y="10799"/>
                    </a:cubicBezTo>
                    <a:cubicBezTo>
                      <a:pt x="-1" y="12213"/>
                      <a:pt x="280" y="13626"/>
                      <a:pt x="822" y="14932"/>
                    </a:cubicBezTo>
                    <a:cubicBezTo>
                      <a:pt x="1362" y="16238"/>
                      <a:pt x="2163" y="17436"/>
                      <a:pt x="3163" y="18435"/>
                    </a:cubicBezTo>
                    <a:cubicBezTo>
                      <a:pt x="4162" y="19435"/>
                      <a:pt x="5360" y="20236"/>
                      <a:pt x="6666" y="20776"/>
                    </a:cubicBezTo>
                    <a:cubicBezTo>
                      <a:pt x="7972" y="21318"/>
                      <a:pt x="9385" y="21599"/>
                      <a:pt x="10799" y="21598"/>
                    </a:cubicBezTo>
                    <a:cubicBezTo>
                      <a:pt x="12213" y="21599"/>
                      <a:pt x="13626" y="21318"/>
                      <a:pt x="14932" y="20776"/>
                    </a:cubicBezTo>
                    <a:cubicBezTo>
                      <a:pt x="16238" y="20236"/>
                      <a:pt x="17436" y="19435"/>
                      <a:pt x="18435" y="18435"/>
                    </a:cubicBezTo>
                    <a:cubicBezTo>
                      <a:pt x="19435" y="17436"/>
                      <a:pt x="20236" y="16238"/>
                      <a:pt x="20776" y="14932"/>
                    </a:cubicBezTo>
                    <a:cubicBezTo>
                      <a:pt x="21318" y="13626"/>
                      <a:pt x="21599" y="12213"/>
                      <a:pt x="21598" y="10799"/>
                    </a:cubicBezTo>
                    <a:close/>
                    <a:moveTo>
                      <a:pt x="21598" y="10799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ṩḷîḋé">
                <a:extLst>
                  <a:ext uri="{FF2B5EF4-FFF2-40B4-BE49-F238E27FC236}">
                    <a16:creationId xmlns:a16="http://schemas.microsoft.com/office/drawing/2014/main" id="{18E8D06A-36F7-436B-990C-BE0B2DC97C52}"/>
                  </a:ext>
                </a:extLst>
              </p:cNvPr>
              <p:cNvSpPr/>
              <p:nvPr/>
            </p:nvSpPr>
            <p:spPr bwMode="auto">
              <a:xfrm>
                <a:off x="88" y="0"/>
                <a:ext cx="56" cy="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1600" h="21600">
                    <a:moveTo>
                      <a:pt x="10800" y="21600"/>
                    </a:moveTo>
                    <a:cubicBezTo>
                      <a:pt x="16762" y="21600"/>
                      <a:pt x="21600" y="16765"/>
                      <a:pt x="21600" y="10803"/>
                    </a:cubicBezTo>
                    <a:cubicBezTo>
                      <a:pt x="21600" y="4835"/>
                      <a:pt x="16762" y="0"/>
                      <a:pt x="10800" y="0"/>
                    </a:cubicBezTo>
                    <a:cubicBezTo>
                      <a:pt x="4832" y="0"/>
                      <a:pt x="0" y="4835"/>
                      <a:pt x="0" y="10803"/>
                    </a:cubicBezTo>
                    <a:cubicBezTo>
                      <a:pt x="0" y="16762"/>
                      <a:pt x="4835" y="21600"/>
                      <a:pt x="10800" y="21600"/>
                    </a:cubicBezTo>
                    <a:close/>
                    <a:moveTo>
                      <a:pt x="10800" y="6171"/>
                    </a:moveTo>
                    <a:cubicBezTo>
                      <a:pt x="13352" y="6171"/>
                      <a:pt x="15429" y="8251"/>
                      <a:pt x="15429" y="10803"/>
                    </a:cubicBezTo>
                    <a:cubicBezTo>
                      <a:pt x="15429" y="13352"/>
                      <a:pt x="13352" y="15432"/>
                      <a:pt x="10800" y="15432"/>
                    </a:cubicBezTo>
                    <a:cubicBezTo>
                      <a:pt x="8248" y="15432"/>
                      <a:pt x="6171" y="13352"/>
                      <a:pt x="6171" y="10803"/>
                    </a:cubicBezTo>
                    <a:cubicBezTo>
                      <a:pt x="6171" y="8248"/>
                      <a:pt x="8248" y="6171"/>
                      <a:pt x="10800" y="6171"/>
                    </a:cubicBezTo>
                    <a:close/>
                    <a:moveTo>
                      <a:pt x="10800" y="6171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4" name="ïṧḷíde">
              <a:extLst>
                <a:ext uri="{FF2B5EF4-FFF2-40B4-BE49-F238E27FC236}">
                  <a16:creationId xmlns:a16="http://schemas.microsoft.com/office/drawing/2014/main" id="{A09A7CA0-0D63-4343-B7B2-154849FD96F7}"/>
                </a:ext>
              </a:extLst>
            </p:cNvPr>
            <p:cNvSpPr/>
            <p:nvPr/>
          </p:nvSpPr>
          <p:spPr>
            <a:xfrm>
              <a:off x="3291260" y="3876005"/>
              <a:ext cx="877615" cy="877615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25" name="iŝlïḋê">
              <a:extLst>
                <a:ext uri="{FF2B5EF4-FFF2-40B4-BE49-F238E27FC236}">
                  <a16:creationId xmlns:a16="http://schemas.microsoft.com/office/drawing/2014/main" id="{F4DF66AE-E0B7-47A1-A99F-40ACFC3662A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70364" y="4126209"/>
              <a:ext cx="327920" cy="316769"/>
              <a:chOff x="0" y="0"/>
              <a:chExt cx="575" cy="556"/>
            </a:xfrm>
            <a:solidFill>
              <a:srgbClr val="FFFFFF"/>
            </a:solidFill>
            <a:effectLst/>
          </p:grpSpPr>
          <p:sp>
            <p:nvSpPr>
              <p:cNvPr id="34" name="iṡḷíḍé">
                <a:extLst>
                  <a:ext uri="{FF2B5EF4-FFF2-40B4-BE49-F238E27FC236}">
                    <a16:creationId xmlns:a16="http://schemas.microsoft.com/office/drawing/2014/main" id="{86734D36-F425-49A7-9C7E-4E9D43752886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575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1600" h="21600">
                    <a:moveTo>
                      <a:pt x="20244" y="12853"/>
                    </a:moveTo>
                    <a:lnTo>
                      <a:pt x="15842" y="0"/>
                    </a:lnTo>
                    <a:lnTo>
                      <a:pt x="5758" y="0"/>
                    </a:lnTo>
                    <a:lnTo>
                      <a:pt x="1356" y="12853"/>
                    </a:lnTo>
                    <a:lnTo>
                      <a:pt x="0" y="12853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2853"/>
                    </a:lnTo>
                    <a:lnTo>
                      <a:pt x="20244" y="12853"/>
                    </a:lnTo>
                    <a:close/>
                    <a:moveTo>
                      <a:pt x="2300" y="19019"/>
                    </a:moveTo>
                    <a:lnTo>
                      <a:pt x="1312" y="19019"/>
                    </a:lnTo>
                    <a:lnTo>
                      <a:pt x="1312" y="15501"/>
                    </a:lnTo>
                    <a:lnTo>
                      <a:pt x="2300" y="15501"/>
                    </a:lnTo>
                    <a:lnTo>
                      <a:pt x="2300" y="19019"/>
                    </a:lnTo>
                    <a:close/>
                    <a:moveTo>
                      <a:pt x="4088" y="19019"/>
                    </a:moveTo>
                    <a:lnTo>
                      <a:pt x="3101" y="19019"/>
                    </a:lnTo>
                    <a:lnTo>
                      <a:pt x="3101" y="15501"/>
                    </a:lnTo>
                    <a:lnTo>
                      <a:pt x="4088" y="15501"/>
                    </a:lnTo>
                    <a:lnTo>
                      <a:pt x="4088" y="19019"/>
                    </a:lnTo>
                    <a:close/>
                    <a:moveTo>
                      <a:pt x="5877" y="19019"/>
                    </a:moveTo>
                    <a:lnTo>
                      <a:pt x="4890" y="19019"/>
                    </a:lnTo>
                    <a:lnTo>
                      <a:pt x="4890" y="15501"/>
                    </a:lnTo>
                    <a:lnTo>
                      <a:pt x="5877" y="15501"/>
                    </a:lnTo>
                    <a:lnTo>
                      <a:pt x="5877" y="19019"/>
                    </a:lnTo>
                    <a:close/>
                    <a:moveTo>
                      <a:pt x="20278" y="18370"/>
                    </a:moveTo>
                    <a:lnTo>
                      <a:pt x="13912" y="18370"/>
                    </a:lnTo>
                    <a:lnTo>
                      <a:pt x="13912" y="16092"/>
                    </a:lnTo>
                    <a:lnTo>
                      <a:pt x="20278" y="16092"/>
                    </a:lnTo>
                    <a:lnTo>
                      <a:pt x="20278" y="18370"/>
                    </a:lnTo>
                    <a:close/>
                    <a:moveTo>
                      <a:pt x="20278" y="18370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$ḻíďé">
                <a:extLst>
                  <a:ext uri="{FF2B5EF4-FFF2-40B4-BE49-F238E27FC236}">
                    <a16:creationId xmlns:a16="http://schemas.microsoft.com/office/drawing/2014/main" id="{5D5A773C-9FC9-4087-AEED-01A73958C8D3}"/>
                  </a:ext>
                </a:extLst>
              </p:cNvPr>
              <p:cNvSpPr/>
              <p:nvPr/>
            </p:nvSpPr>
            <p:spPr bwMode="auto">
              <a:xfrm>
                <a:off x="0" y="304"/>
                <a:ext cx="575" cy="10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21600" h="21600">
                    <a:moveTo>
                      <a:pt x="1356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20244" y="0"/>
                    </a:lnTo>
                    <a:lnTo>
                      <a:pt x="1356" y="0"/>
                    </a:lnTo>
                    <a:close/>
                    <a:moveTo>
                      <a:pt x="2299" y="15226"/>
                    </a:moveTo>
                    <a:lnTo>
                      <a:pt x="1312" y="15226"/>
                    </a:lnTo>
                    <a:lnTo>
                      <a:pt x="1312" y="6538"/>
                    </a:lnTo>
                    <a:lnTo>
                      <a:pt x="2299" y="6538"/>
                    </a:lnTo>
                    <a:lnTo>
                      <a:pt x="2299" y="15226"/>
                    </a:lnTo>
                    <a:close/>
                    <a:moveTo>
                      <a:pt x="4088" y="15226"/>
                    </a:moveTo>
                    <a:lnTo>
                      <a:pt x="3101" y="15226"/>
                    </a:lnTo>
                    <a:lnTo>
                      <a:pt x="3101" y="6538"/>
                    </a:lnTo>
                    <a:lnTo>
                      <a:pt x="4088" y="6538"/>
                    </a:lnTo>
                    <a:lnTo>
                      <a:pt x="4088" y="15226"/>
                    </a:lnTo>
                    <a:close/>
                    <a:moveTo>
                      <a:pt x="5877" y="15226"/>
                    </a:moveTo>
                    <a:lnTo>
                      <a:pt x="4890" y="15226"/>
                    </a:lnTo>
                    <a:lnTo>
                      <a:pt x="4890" y="6538"/>
                    </a:lnTo>
                    <a:lnTo>
                      <a:pt x="5877" y="6538"/>
                    </a:lnTo>
                    <a:lnTo>
                      <a:pt x="5877" y="15226"/>
                    </a:lnTo>
                    <a:close/>
                    <a:moveTo>
                      <a:pt x="20278" y="13624"/>
                    </a:moveTo>
                    <a:lnTo>
                      <a:pt x="13912" y="13624"/>
                    </a:lnTo>
                    <a:lnTo>
                      <a:pt x="13912" y="7999"/>
                    </a:lnTo>
                    <a:lnTo>
                      <a:pt x="20278" y="7999"/>
                    </a:lnTo>
                    <a:lnTo>
                      <a:pt x="20278" y="13624"/>
                    </a:lnTo>
                    <a:close/>
                    <a:moveTo>
                      <a:pt x="20278" y="13624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lïďe">
                <a:extLst>
                  <a:ext uri="{FF2B5EF4-FFF2-40B4-BE49-F238E27FC236}">
                    <a16:creationId xmlns:a16="http://schemas.microsoft.com/office/drawing/2014/main" id="{528E998C-D3A5-4525-8767-0DCD110F3BD8}"/>
                  </a:ext>
                </a:extLst>
              </p:cNvPr>
              <p:cNvSpPr/>
              <p:nvPr/>
            </p:nvSpPr>
            <p:spPr bwMode="auto">
              <a:xfrm>
                <a:off x="0" y="448"/>
                <a:ext cx="575" cy="10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21600" h="21600">
                    <a:moveTo>
                      <a:pt x="1356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20244" y="0"/>
                    </a:lnTo>
                    <a:lnTo>
                      <a:pt x="1356" y="0"/>
                    </a:lnTo>
                    <a:close/>
                    <a:moveTo>
                      <a:pt x="2299" y="15226"/>
                    </a:moveTo>
                    <a:lnTo>
                      <a:pt x="1312" y="15226"/>
                    </a:lnTo>
                    <a:lnTo>
                      <a:pt x="1312" y="6538"/>
                    </a:lnTo>
                    <a:lnTo>
                      <a:pt x="2299" y="6538"/>
                    </a:lnTo>
                    <a:lnTo>
                      <a:pt x="2299" y="15226"/>
                    </a:lnTo>
                    <a:close/>
                    <a:moveTo>
                      <a:pt x="4088" y="15226"/>
                    </a:moveTo>
                    <a:lnTo>
                      <a:pt x="3101" y="15226"/>
                    </a:lnTo>
                    <a:lnTo>
                      <a:pt x="3101" y="6538"/>
                    </a:lnTo>
                    <a:lnTo>
                      <a:pt x="4088" y="6538"/>
                    </a:lnTo>
                    <a:lnTo>
                      <a:pt x="4088" y="15226"/>
                    </a:lnTo>
                    <a:close/>
                    <a:moveTo>
                      <a:pt x="5877" y="15226"/>
                    </a:moveTo>
                    <a:lnTo>
                      <a:pt x="4890" y="15226"/>
                    </a:lnTo>
                    <a:lnTo>
                      <a:pt x="4890" y="6538"/>
                    </a:lnTo>
                    <a:lnTo>
                      <a:pt x="5877" y="6538"/>
                    </a:lnTo>
                    <a:lnTo>
                      <a:pt x="5877" y="15226"/>
                    </a:lnTo>
                    <a:close/>
                    <a:moveTo>
                      <a:pt x="20278" y="13624"/>
                    </a:moveTo>
                    <a:lnTo>
                      <a:pt x="13912" y="13624"/>
                    </a:lnTo>
                    <a:lnTo>
                      <a:pt x="13912" y="7999"/>
                    </a:lnTo>
                    <a:lnTo>
                      <a:pt x="20278" y="7999"/>
                    </a:lnTo>
                    <a:lnTo>
                      <a:pt x="20278" y="13624"/>
                    </a:lnTo>
                    <a:close/>
                    <a:moveTo>
                      <a:pt x="20278" y="13624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7" name="ïŝ1îďè">
              <a:extLst>
                <a:ext uri="{FF2B5EF4-FFF2-40B4-BE49-F238E27FC236}">
                  <a16:creationId xmlns:a16="http://schemas.microsoft.com/office/drawing/2014/main" id="{4E5C1707-901B-4CBB-973B-0F3CD416581E}"/>
                </a:ext>
              </a:extLst>
            </p:cNvPr>
            <p:cNvSpPr/>
            <p:nvPr/>
          </p:nvSpPr>
          <p:spPr>
            <a:xfrm>
              <a:off x="1539181" y="2100804"/>
              <a:ext cx="107811" cy="107811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ṧlíḋè">
              <a:extLst>
                <a:ext uri="{FF2B5EF4-FFF2-40B4-BE49-F238E27FC236}">
                  <a16:creationId xmlns:a16="http://schemas.microsoft.com/office/drawing/2014/main" id="{DAC00938-CEE8-42C6-B653-7FCE931C19AA}"/>
                </a:ext>
              </a:extLst>
            </p:cNvPr>
            <p:cNvSpPr/>
            <p:nvPr/>
          </p:nvSpPr>
          <p:spPr>
            <a:xfrm>
              <a:off x="10601413" y="2100804"/>
              <a:ext cx="107811" cy="107811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sḻîḍé">
              <a:extLst>
                <a:ext uri="{FF2B5EF4-FFF2-40B4-BE49-F238E27FC236}">
                  <a16:creationId xmlns:a16="http://schemas.microsoft.com/office/drawing/2014/main" id="{FD117D4A-077F-4512-A72B-49CA4717D1B9}"/>
                </a:ext>
              </a:extLst>
            </p:cNvPr>
            <p:cNvSpPr txBox="1"/>
            <p:nvPr/>
          </p:nvSpPr>
          <p:spPr>
            <a:xfrm>
              <a:off x="2813573" y="4753556"/>
              <a:ext cx="1836594" cy="300210"/>
            </a:xfrm>
            <a:prstGeom prst="rect">
              <a:avLst/>
            </a:prstGeom>
          </p:spPr>
          <p:txBody>
            <a:bodyPr vert="horz" wrap="none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351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sz="1351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ísľiḑè">
              <a:extLst>
                <a:ext uri="{FF2B5EF4-FFF2-40B4-BE49-F238E27FC236}">
                  <a16:creationId xmlns:a16="http://schemas.microsoft.com/office/drawing/2014/main" id="{5C4D6D15-F208-411B-A91E-0C36F7338938}"/>
                </a:ext>
              </a:extLst>
            </p:cNvPr>
            <p:cNvSpPr txBox="1"/>
            <p:nvPr/>
          </p:nvSpPr>
          <p:spPr>
            <a:xfrm>
              <a:off x="5118041" y="4753556"/>
              <a:ext cx="1836594" cy="300210"/>
            </a:xfrm>
            <a:prstGeom prst="rect">
              <a:avLst/>
            </a:prstGeom>
          </p:spPr>
          <p:txBody>
            <a:bodyPr vert="horz" wrap="none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351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sz="1351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í$ḻíḓé">
              <a:extLst>
                <a:ext uri="{FF2B5EF4-FFF2-40B4-BE49-F238E27FC236}">
                  <a16:creationId xmlns:a16="http://schemas.microsoft.com/office/drawing/2014/main" id="{D674AB72-92B0-45AB-95BC-B20CF42596AC}"/>
                </a:ext>
              </a:extLst>
            </p:cNvPr>
            <p:cNvSpPr txBox="1"/>
            <p:nvPr/>
          </p:nvSpPr>
          <p:spPr>
            <a:xfrm>
              <a:off x="7436185" y="4753556"/>
              <a:ext cx="1836594" cy="300210"/>
            </a:xfrm>
            <a:prstGeom prst="rect">
              <a:avLst/>
            </a:prstGeom>
          </p:spPr>
          <p:txBody>
            <a:bodyPr vert="horz" wrap="none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351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sz="1351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íṧľiḑé">
              <a:extLst>
                <a:ext uri="{FF2B5EF4-FFF2-40B4-BE49-F238E27FC236}">
                  <a16:creationId xmlns:a16="http://schemas.microsoft.com/office/drawing/2014/main" id="{5D967B02-F2E4-4DA6-BDF6-7BE6E3460F7C}"/>
                </a:ext>
              </a:extLst>
            </p:cNvPr>
            <p:cNvSpPr txBox="1"/>
            <p:nvPr/>
          </p:nvSpPr>
          <p:spPr>
            <a:xfrm>
              <a:off x="9766845" y="4753556"/>
              <a:ext cx="1836594" cy="300210"/>
            </a:xfrm>
            <a:prstGeom prst="rect">
              <a:avLst/>
            </a:prstGeom>
          </p:spPr>
          <p:txBody>
            <a:bodyPr vert="horz" wrap="none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351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sz="1351" b="1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3" name="肘形连接符 2">
              <a:extLst>
                <a:ext uri="{FF2B5EF4-FFF2-40B4-BE49-F238E27FC236}">
                  <a16:creationId xmlns:a16="http://schemas.microsoft.com/office/drawing/2014/main" id="{72FB1D8C-5E53-4557-A59C-3DB5DD8C735A}"/>
                </a:ext>
              </a:extLst>
            </p:cNvPr>
            <p:cNvCxnSpPr>
              <a:cxnSpLocks/>
              <a:stCxn id="20" idx="0"/>
              <a:endCxn id="24" idx="0"/>
            </p:cNvCxnSpPr>
            <p:nvPr/>
          </p:nvCxnSpPr>
          <p:spPr>
            <a:xfrm rot="16200000" flipV="1">
              <a:off x="6033261" y="1572812"/>
              <a:ext cx="12700" cy="4606385"/>
            </a:xfrm>
            <a:prstGeom prst="bentConnector3">
              <a:avLst>
                <a:gd name="adj1" fmla="val 13574984"/>
              </a:avLst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îśḷíďé">
              <a:extLst>
                <a:ext uri="{FF2B5EF4-FFF2-40B4-BE49-F238E27FC236}">
                  <a16:creationId xmlns:a16="http://schemas.microsoft.com/office/drawing/2014/main" id="{1FF994B4-DE97-4923-9EFC-8B4F1DD5E72A}"/>
                </a:ext>
              </a:extLst>
            </p:cNvPr>
            <p:cNvSpPr/>
            <p:nvPr/>
          </p:nvSpPr>
          <p:spPr>
            <a:xfrm>
              <a:off x="5442157" y="1556788"/>
              <a:ext cx="1168104" cy="1168104"/>
            </a:xfrm>
            <a:prstGeom prst="ellipse">
              <a:avLst/>
            </a:prstGeom>
            <a:blipFill>
              <a:blip r:embed="rId2"/>
              <a:stretch>
                <a:fillRect l="-25272" r="-24728"/>
              </a:stretch>
            </a:blipFill>
            <a:ln w="571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4706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952A79-E9F4-4C1B-BC28-098FE2960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8BA084-7617-411A-BA7F-A6BB0FED55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7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0190FD5-2BF0-4D69-8D40-1B5917DB6C1F}"/>
              </a:ext>
            </a:extLst>
          </p:cNvPr>
          <p:cNvGrpSpPr>
            <a:grpSpLocks noChangeAspect="1"/>
          </p:cNvGrpSpPr>
          <p:nvPr/>
        </p:nvGrpSpPr>
        <p:grpSpPr>
          <a:xfrm>
            <a:off x="861135" y="1156006"/>
            <a:ext cx="10469731" cy="4987619"/>
            <a:chOff x="861135" y="1156006"/>
            <a:chExt cx="10469731" cy="4987619"/>
          </a:xfrm>
        </p:grpSpPr>
        <p:sp>
          <p:nvSpPr>
            <p:cNvPr id="6" name="íṧḻîďè">
              <a:extLst>
                <a:ext uri="{FF2B5EF4-FFF2-40B4-BE49-F238E27FC236}">
                  <a16:creationId xmlns:a16="http://schemas.microsoft.com/office/drawing/2014/main" id="{CF195C08-4B24-4E6C-AA79-136460DA71B7}"/>
                </a:ext>
              </a:extLst>
            </p:cNvPr>
            <p:cNvSpPr/>
            <p:nvPr/>
          </p:nvSpPr>
          <p:spPr>
            <a:xfrm rot="16200000">
              <a:off x="4740486" y="2289244"/>
              <a:ext cx="1263928" cy="1263928"/>
            </a:xfrm>
            <a:prstGeom prst="rtTriangl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ïšļíḋe">
              <a:extLst>
                <a:ext uri="{FF2B5EF4-FFF2-40B4-BE49-F238E27FC236}">
                  <a16:creationId xmlns:a16="http://schemas.microsoft.com/office/drawing/2014/main" id="{E8B70486-B4F6-4D12-A368-9D539ED776C6}"/>
                </a:ext>
              </a:extLst>
            </p:cNvPr>
            <p:cNvSpPr/>
            <p:nvPr/>
          </p:nvSpPr>
          <p:spPr>
            <a:xfrm>
              <a:off x="6187295" y="2289244"/>
              <a:ext cx="1263928" cy="1263928"/>
            </a:xfrm>
            <a:prstGeom prst="rtTriangl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íṧḻiḓé">
              <a:extLst>
                <a:ext uri="{FF2B5EF4-FFF2-40B4-BE49-F238E27FC236}">
                  <a16:creationId xmlns:a16="http://schemas.microsoft.com/office/drawing/2014/main" id="{9CC5BD56-1CBA-4A94-990A-1EA02F8FE75A}"/>
                </a:ext>
              </a:extLst>
            </p:cNvPr>
            <p:cNvSpPr/>
            <p:nvPr/>
          </p:nvSpPr>
          <p:spPr>
            <a:xfrm rot="10800000">
              <a:off x="4740486" y="3740394"/>
              <a:ext cx="1263928" cy="1263928"/>
            </a:xfrm>
            <a:prstGeom prst="rtTriangl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îṣľiḋê">
              <a:extLst>
                <a:ext uri="{FF2B5EF4-FFF2-40B4-BE49-F238E27FC236}">
                  <a16:creationId xmlns:a16="http://schemas.microsoft.com/office/drawing/2014/main" id="{04BA1D77-8AF3-4401-B95A-2BAD40DB146F}"/>
                </a:ext>
              </a:extLst>
            </p:cNvPr>
            <p:cNvSpPr/>
            <p:nvPr/>
          </p:nvSpPr>
          <p:spPr>
            <a:xfrm rot="5400000">
              <a:off x="6188066" y="3742778"/>
              <a:ext cx="1263928" cy="1263928"/>
            </a:xfrm>
            <a:prstGeom prst="rtTriangl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ï$ḻîdê">
              <a:extLst>
                <a:ext uri="{FF2B5EF4-FFF2-40B4-BE49-F238E27FC236}">
                  <a16:creationId xmlns:a16="http://schemas.microsoft.com/office/drawing/2014/main" id="{F455D881-23BE-495B-93F3-3F83DEEBDE9B}"/>
                </a:ext>
              </a:extLst>
            </p:cNvPr>
            <p:cNvSpPr/>
            <p:nvPr/>
          </p:nvSpPr>
          <p:spPr>
            <a:xfrm>
              <a:off x="861135" y="1156006"/>
              <a:ext cx="5143279" cy="2400197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hoose the only option to retain text.</a:t>
              </a:r>
            </a:p>
          </p:txBody>
        </p:sp>
        <p:sp>
          <p:nvSpPr>
            <p:cNvPr id="11" name="íŝ1îdè">
              <a:extLst>
                <a:ext uri="{FF2B5EF4-FFF2-40B4-BE49-F238E27FC236}">
                  <a16:creationId xmlns:a16="http://schemas.microsoft.com/office/drawing/2014/main" id="{11026772-CF15-4B61-B2BD-BC17F252F959}"/>
                </a:ext>
              </a:extLst>
            </p:cNvPr>
            <p:cNvSpPr/>
            <p:nvPr/>
          </p:nvSpPr>
          <p:spPr>
            <a:xfrm rot="5400000">
              <a:off x="861136" y="1156007"/>
              <a:ext cx="1171789" cy="1171789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íšḷiḓê">
              <a:extLst>
                <a:ext uri="{FF2B5EF4-FFF2-40B4-BE49-F238E27FC236}">
                  <a16:creationId xmlns:a16="http://schemas.microsoft.com/office/drawing/2014/main" id="{2A2BA5CA-A4EC-4E10-BC8C-9F67DC433A55}"/>
                </a:ext>
              </a:extLst>
            </p:cNvPr>
            <p:cNvSpPr txBox="1"/>
            <p:nvPr/>
          </p:nvSpPr>
          <p:spPr>
            <a:xfrm rot="18900000">
              <a:off x="991899" y="1344711"/>
              <a:ext cx="496268" cy="4154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işļïḑe">
              <a:extLst>
                <a:ext uri="{FF2B5EF4-FFF2-40B4-BE49-F238E27FC236}">
                  <a16:creationId xmlns:a16="http://schemas.microsoft.com/office/drawing/2014/main" id="{70F609CE-6BFB-4158-AD2D-848FF4560310}"/>
                </a:ext>
              </a:extLst>
            </p:cNvPr>
            <p:cNvSpPr txBox="1"/>
            <p:nvPr/>
          </p:nvSpPr>
          <p:spPr>
            <a:xfrm>
              <a:off x="1747204" y="1900701"/>
              <a:ext cx="3370562" cy="42709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867" b="1" dirty="0"/>
                <a:t>Text here</a:t>
              </a:r>
              <a:endParaRPr lang="zh-CN" altLang="en-US" sz="1867" b="1" dirty="0"/>
            </a:p>
          </p:txBody>
        </p:sp>
        <p:sp>
          <p:nvSpPr>
            <p:cNvPr id="14" name="ïšḻídé">
              <a:extLst>
                <a:ext uri="{FF2B5EF4-FFF2-40B4-BE49-F238E27FC236}">
                  <a16:creationId xmlns:a16="http://schemas.microsoft.com/office/drawing/2014/main" id="{1E49EAEA-27EA-47B7-9BF6-CF114419621A}"/>
                </a:ext>
              </a:extLst>
            </p:cNvPr>
            <p:cNvSpPr/>
            <p:nvPr/>
          </p:nvSpPr>
          <p:spPr>
            <a:xfrm>
              <a:off x="6187587" y="1156006"/>
              <a:ext cx="5143279" cy="2400197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hoose the only option to retain text.</a:t>
              </a:r>
            </a:p>
          </p:txBody>
        </p:sp>
        <p:sp>
          <p:nvSpPr>
            <p:cNvPr id="15" name="í$ļïḑê">
              <a:extLst>
                <a:ext uri="{FF2B5EF4-FFF2-40B4-BE49-F238E27FC236}">
                  <a16:creationId xmlns:a16="http://schemas.microsoft.com/office/drawing/2014/main" id="{218AD9D0-C797-4460-BCAB-52C7385A6D73}"/>
                </a:ext>
              </a:extLst>
            </p:cNvPr>
            <p:cNvSpPr/>
            <p:nvPr/>
          </p:nvSpPr>
          <p:spPr>
            <a:xfrm rot="10800000">
              <a:off x="10158787" y="1156007"/>
              <a:ext cx="1171789" cy="1171789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" name="îṡḷîḓè">
              <a:extLst>
                <a:ext uri="{FF2B5EF4-FFF2-40B4-BE49-F238E27FC236}">
                  <a16:creationId xmlns:a16="http://schemas.microsoft.com/office/drawing/2014/main" id="{D751AEB9-29CC-44AE-B00A-5AC126424C32}"/>
                </a:ext>
              </a:extLst>
            </p:cNvPr>
            <p:cNvSpPr txBox="1"/>
            <p:nvPr/>
          </p:nvSpPr>
          <p:spPr>
            <a:xfrm rot="2700000">
              <a:off x="10693831" y="1344711"/>
              <a:ext cx="496268" cy="4154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7" name="ïšḷîďê">
              <a:extLst>
                <a:ext uri="{FF2B5EF4-FFF2-40B4-BE49-F238E27FC236}">
                  <a16:creationId xmlns:a16="http://schemas.microsoft.com/office/drawing/2014/main" id="{47B2BBC2-1983-4156-9D49-03291C92603A}"/>
                </a:ext>
              </a:extLst>
            </p:cNvPr>
            <p:cNvSpPr/>
            <p:nvPr/>
          </p:nvSpPr>
          <p:spPr>
            <a:xfrm>
              <a:off x="861135" y="3743425"/>
              <a:ext cx="5143279" cy="2400197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hoose the only option to retain text.</a:t>
              </a:r>
            </a:p>
          </p:txBody>
        </p:sp>
        <p:sp>
          <p:nvSpPr>
            <p:cNvPr id="18" name="ïṩḻîde">
              <a:extLst>
                <a:ext uri="{FF2B5EF4-FFF2-40B4-BE49-F238E27FC236}">
                  <a16:creationId xmlns:a16="http://schemas.microsoft.com/office/drawing/2014/main" id="{7E2B1CDB-007F-4967-99C3-942376D7ECA5}"/>
                </a:ext>
              </a:extLst>
            </p:cNvPr>
            <p:cNvSpPr/>
            <p:nvPr/>
          </p:nvSpPr>
          <p:spPr>
            <a:xfrm>
              <a:off x="861136" y="4971834"/>
              <a:ext cx="1171789" cy="1171789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9" name="íşļîḓè">
              <a:extLst>
                <a:ext uri="{FF2B5EF4-FFF2-40B4-BE49-F238E27FC236}">
                  <a16:creationId xmlns:a16="http://schemas.microsoft.com/office/drawing/2014/main" id="{6496E4A4-730E-41AE-B83F-DA68B1250130}"/>
                </a:ext>
              </a:extLst>
            </p:cNvPr>
            <p:cNvSpPr txBox="1"/>
            <p:nvPr/>
          </p:nvSpPr>
          <p:spPr>
            <a:xfrm rot="2720180">
              <a:off x="991899" y="5507241"/>
              <a:ext cx="496268" cy="4154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20" name="ïSļíḋê">
              <a:extLst>
                <a:ext uri="{FF2B5EF4-FFF2-40B4-BE49-F238E27FC236}">
                  <a16:creationId xmlns:a16="http://schemas.microsoft.com/office/drawing/2014/main" id="{1A2E9889-4FEA-40F9-A7FC-ACA78CFF01E4}"/>
                </a:ext>
              </a:extLst>
            </p:cNvPr>
            <p:cNvSpPr txBox="1"/>
            <p:nvPr/>
          </p:nvSpPr>
          <p:spPr>
            <a:xfrm>
              <a:off x="1747495" y="4543224"/>
              <a:ext cx="3370562" cy="42709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867" b="1" dirty="0"/>
                <a:t>Text here</a:t>
              </a:r>
              <a:endParaRPr lang="zh-CN" altLang="en-US" sz="1867" b="1" dirty="0"/>
            </a:p>
          </p:txBody>
        </p:sp>
        <p:sp>
          <p:nvSpPr>
            <p:cNvPr id="21" name="ïśliḑè">
              <a:extLst>
                <a:ext uri="{FF2B5EF4-FFF2-40B4-BE49-F238E27FC236}">
                  <a16:creationId xmlns:a16="http://schemas.microsoft.com/office/drawing/2014/main" id="{F18C6515-2828-4FC0-91D7-0DC8233B2E22}"/>
                </a:ext>
              </a:extLst>
            </p:cNvPr>
            <p:cNvSpPr/>
            <p:nvPr/>
          </p:nvSpPr>
          <p:spPr>
            <a:xfrm>
              <a:off x="6187586" y="3743427"/>
              <a:ext cx="5143279" cy="2400197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Copy paste fonts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dk1">
                      <a:lumMod val="100000"/>
                    </a:schemeClr>
                  </a:solidFill>
                </a:rPr>
                <a:t> Choose the only option to retain text.</a:t>
              </a:r>
            </a:p>
          </p:txBody>
        </p:sp>
        <p:sp>
          <p:nvSpPr>
            <p:cNvPr id="22" name="iṡliďê">
              <a:extLst>
                <a:ext uri="{FF2B5EF4-FFF2-40B4-BE49-F238E27FC236}">
                  <a16:creationId xmlns:a16="http://schemas.microsoft.com/office/drawing/2014/main" id="{A4808DC8-AFBF-4DAF-8D09-580D709F2545}"/>
                </a:ext>
              </a:extLst>
            </p:cNvPr>
            <p:cNvSpPr/>
            <p:nvPr/>
          </p:nvSpPr>
          <p:spPr>
            <a:xfrm rot="16200000">
              <a:off x="10158786" y="4971836"/>
              <a:ext cx="1171789" cy="1171789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3" name="íṡḻiḑé">
              <a:extLst>
                <a:ext uri="{FF2B5EF4-FFF2-40B4-BE49-F238E27FC236}">
                  <a16:creationId xmlns:a16="http://schemas.microsoft.com/office/drawing/2014/main" id="{186A27FF-FEE7-49DD-88A5-6740061DEFA1}"/>
                </a:ext>
              </a:extLst>
            </p:cNvPr>
            <p:cNvSpPr txBox="1"/>
            <p:nvPr/>
          </p:nvSpPr>
          <p:spPr>
            <a:xfrm rot="19095347">
              <a:off x="10700633" y="5553128"/>
              <a:ext cx="496268" cy="4154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24" name="ïŝ1íḑé">
              <a:extLst>
                <a:ext uri="{FF2B5EF4-FFF2-40B4-BE49-F238E27FC236}">
                  <a16:creationId xmlns:a16="http://schemas.microsoft.com/office/drawing/2014/main" id="{B223E5AB-A0B9-4CB8-9FCB-EC986AF3E96E}"/>
                </a:ext>
              </a:extLst>
            </p:cNvPr>
            <p:cNvSpPr/>
            <p:nvPr/>
          </p:nvSpPr>
          <p:spPr bwMode="auto">
            <a:xfrm>
              <a:off x="6422711" y="3876074"/>
              <a:ext cx="375592" cy="390768"/>
            </a:xfrm>
            <a:custGeom>
              <a:avLst/>
              <a:gdLst>
                <a:gd name="T0" fmla="*/ 818 w 1611"/>
                <a:gd name="T1" fmla="*/ 977 h 1676"/>
                <a:gd name="T2" fmla="*/ 692 w 1611"/>
                <a:gd name="T3" fmla="*/ 826 h 1676"/>
                <a:gd name="T4" fmla="*/ 411 w 1611"/>
                <a:gd name="T5" fmla="*/ 453 h 1676"/>
                <a:gd name="T6" fmla="*/ 906 w 1611"/>
                <a:gd name="T7" fmla="*/ 306 h 1676"/>
                <a:gd name="T8" fmla="*/ 1249 w 1611"/>
                <a:gd name="T9" fmla="*/ 897 h 1676"/>
                <a:gd name="T10" fmla="*/ 818 w 1611"/>
                <a:gd name="T11" fmla="*/ 950 h 1676"/>
                <a:gd name="T12" fmla="*/ 406 w 1611"/>
                <a:gd name="T13" fmla="*/ 900 h 1676"/>
                <a:gd name="T14" fmla="*/ 519 w 1611"/>
                <a:gd name="T15" fmla="*/ 880 h 1676"/>
                <a:gd name="T16" fmla="*/ 679 w 1611"/>
                <a:gd name="T17" fmla="*/ 678 h 1676"/>
                <a:gd name="T18" fmla="*/ 873 w 1611"/>
                <a:gd name="T19" fmla="*/ 314 h 1676"/>
                <a:gd name="T20" fmla="*/ 944 w 1611"/>
                <a:gd name="T21" fmla="*/ 826 h 1676"/>
                <a:gd name="T22" fmla="*/ 944 w 1611"/>
                <a:gd name="T23" fmla="*/ 826 h 1676"/>
                <a:gd name="T24" fmla="*/ 807 w 1611"/>
                <a:gd name="T25" fmla="*/ 0 h 1676"/>
                <a:gd name="T26" fmla="*/ 218 w 1611"/>
                <a:gd name="T27" fmla="*/ 726 h 1676"/>
                <a:gd name="T28" fmla="*/ 98 w 1611"/>
                <a:gd name="T29" fmla="*/ 1185 h 1676"/>
                <a:gd name="T30" fmla="*/ 57 w 1611"/>
                <a:gd name="T31" fmla="*/ 1233 h 1676"/>
                <a:gd name="T32" fmla="*/ 57 w 1611"/>
                <a:gd name="T33" fmla="*/ 1233 h 1676"/>
                <a:gd name="T34" fmla="*/ 130 w 1611"/>
                <a:gd name="T35" fmla="*/ 1230 h 1676"/>
                <a:gd name="T36" fmla="*/ 171 w 1611"/>
                <a:gd name="T37" fmla="*/ 1279 h 1676"/>
                <a:gd name="T38" fmla="*/ 159 w 1611"/>
                <a:gd name="T39" fmla="*/ 1280 h 1676"/>
                <a:gd name="T40" fmla="*/ 49 w 1611"/>
                <a:gd name="T41" fmla="*/ 1320 h 1676"/>
                <a:gd name="T42" fmla="*/ 178 w 1611"/>
                <a:gd name="T43" fmla="*/ 1320 h 1676"/>
                <a:gd name="T44" fmla="*/ 352 w 1611"/>
                <a:gd name="T45" fmla="*/ 1409 h 1676"/>
                <a:gd name="T46" fmla="*/ 310 w 1611"/>
                <a:gd name="T47" fmla="*/ 1457 h 1676"/>
                <a:gd name="T48" fmla="*/ 466 w 1611"/>
                <a:gd name="T49" fmla="*/ 1454 h 1676"/>
                <a:gd name="T50" fmla="*/ 466 w 1611"/>
                <a:gd name="T51" fmla="*/ 1454 h 1676"/>
                <a:gd name="T52" fmla="*/ 507 w 1611"/>
                <a:gd name="T53" fmla="*/ 1503 h 1676"/>
                <a:gd name="T54" fmla="*/ 409 w 1611"/>
                <a:gd name="T55" fmla="*/ 1480 h 1676"/>
                <a:gd name="T56" fmla="*/ 371 w 1611"/>
                <a:gd name="T57" fmla="*/ 1592 h 1676"/>
                <a:gd name="T58" fmla="*/ 453 w 1611"/>
                <a:gd name="T59" fmla="*/ 1533 h 1676"/>
                <a:gd name="T60" fmla="*/ 1554 w 1611"/>
                <a:gd name="T61" fmla="*/ 1164 h 1676"/>
                <a:gd name="T62" fmla="*/ 1561 w 1611"/>
                <a:gd name="T63" fmla="*/ 1279 h 1676"/>
                <a:gd name="T64" fmla="*/ 1441 w 1611"/>
                <a:gd name="T65" fmla="*/ 1209 h 1676"/>
                <a:gd name="T66" fmla="*/ 1446 w 1611"/>
                <a:gd name="T67" fmla="*/ 1233 h 1676"/>
                <a:gd name="T68" fmla="*/ 1446 w 1611"/>
                <a:gd name="T69" fmla="*/ 1233 h 1676"/>
                <a:gd name="T70" fmla="*/ 1452 w 1611"/>
                <a:gd name="T71" fmla="*/ 1280 h 1676"/>
                <a:gd name="T72" fmla="*/ 1498 w 1611"/>
                <a:gd name="T73" fmla="*/ 1337 h 1676"/>
                <a:gd name="T74" fmla="*/ 1265 w 1611"/>
                <a:gd name="T75" fmla="*/ 1454 h 1676"/>
                <a:gd name="T76" fmla="*/ 1265 w 1611"/>
                <a:gd name="T77" fmla="*/ 1454 h 1676"/>
                <a:gd name="T78" fmla="*/ 1307 w 1611"/>
                <a:gd name="T79" fmla="*/ 1503 h 1676"/>
                <a:gd name="T80" fmla="*/ 1152 w 1611"/>
                <a:gd name="T81" fmla="*/ 1409 h 1676"/>
                <a:gd name="T82" fmla="*/ 1110 w 1611"/>
                <a:gd name="T83" fmla="*/ 1457 h 1676"/>
                <a:gd name="T84" fmla="*/ 1247 w 1611"/>
                <a:gd name="T85" fmla="*/ 1533 h 1676"/>
                <a:gd name="T86" fmla="*/ 1158 w 1611"/>
                <a:gd name="T87" fmla="*/ 1533 h 1676"/>
                <a:gd name="T88" fmla="*/ 1240 w 1611"/>
                <a:gd name="T89" fmla="*/ 1592 h 1676"/>
                <a:gd name="T90" fmla="*/ 818 w 1611"/>
                <a:gd name="T91" fmla="*/ 1514 h 1676"/>
                <a:gd name="T92" fmla="*/ 776 w 1611"/>
                <a:gd name="T93" fmla="*/ 1562 h 1676"/>
                <a:gd name="T94" fmla="*/ 776 w 1611"/>
                <a:gd name="T95" fmla="*/ 1562 h 1676"/>
                <a:gd name="T96" fmla="*/ 849 w 1611"/>
                <a:gd name="T97" fmla="*/ 1559 h 1676"/>
                <a:gd name="T98" fmla="*/ 891 w 1611"/>
                <a:gd name="T99" fmla="*/ 1608 h 1676"/>
                <a:gd name="T100" fmla="*/ 879 w 1611"/>
                <a:gd name="T101" fmla="*/ 1609 h 1676"/>
                <a:gd name="T102" fmla="*/ 768 w 1611"/>
                <a:gd name="T103" fmla="*/ 1649 h 1676"/>
                <a:gd name="T104" fmla="*/ 897 w 1611"/>
                <a:gd name="T105" fmla="*/ 1649 h 1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11" h="1676">
                  <a:moveTo>
                    <a:pt x="926" y="1052"/>
                  </a:moveTo>
                  <a:cubicBezTo>
                    <a:pt x="926" y="1089"/>
                    <a:pt x="877" y="1120"/>
                    <a:pt x="818" y="1120"/>
                  </a:cubicBezTo>
                  <a:cubicBezTo>
                    <a:pt x="758" y="1120"/>
                    <a:pt x="710" y="1089"/>
                    <a:pt x="710" y="1052"/>
                  </a:cubicBezTo>
                  <a:cubicBezTo>
                    <a:pt x="710" y="1014"/>
                    <a:pt x="733" y="977"/>
                    <a:pt x="818" y="977"/>
                  </a:cubicBezTo>
                  <a:cubicBezTo>
                    <a:pt x="905" y="977"/>
                    <a:pt x="926" y="1014"/>
                    <a:pt x="926" y="1052"/>
                  </a:cubicBezTo>
                  <a:close/>
                  <a:moveTo>
                    <a:pt x="749" y="826"/>
                  </a:moveTo>
                  <a:cubicBezTo>
                    <a:pt x="749" y="804"/>
                    <a:pt x="736" y="786"/>
                    <a:pt x="721" y="786"/>
                  </a:cubicBezTo>
                  <a:cubicBezTo>
                    <a:pt x="705" y="786"/>
                    <a:pt x="692" y="804"/>
                    <a:pt x="692" y="826"/>
                  </a:cubicBezTo>
                  <a:cubicBezTo>
                    <a:pt x="692" y="848"/>
                    <a:pt x="705" y="866"/>
                    <a:pt x="721" y="866"/>
                  </a:cubicBezTo>
                  <a:cubicBezTo>
                    <a:pt x="736" y="866"/>
                    <a:pt x="749" y="848"/>
                    <a:pt x="749" y="826"/>
                  </a:cubicBezTo>
                  <a:close/>
                  <a:moveTo>
                    <a:pt x="708" y="306"/>
                  </a:moveTo>
                  <a:cubicBezTo>
                    <a:pt x="708" y="306"/>
                    <a:pt x="558" y="279"/>
                    <a:pt x="411" y="453"/>
                  </a:cubicBezTo>
                  <a:cubicBezTo>
                    <a:pt x="264" y="628"/>
                    <a:pt x="126" y="835"/>
                    <a:pt x="411" y="849"/>
                  </a:cubicBezTo>
                  <a:cubicBezTo>
                    <a:pt x="696" y="863"/>
                    <a:pt x="708" y="306"/>
                    <a:pt x="708" y="306"/>
                  </a:cubicBezTo>
                  <a:close/>
                  <a:moveTo>
                    <a:pt x="1203" y="453"/>
                  </a:moveTo>
                  <a:cubicBezTo>
                    <a:pt x="1055" y="279"/>
                    <a:pt x="906" y="306"/>
                    <a:pt x="906" y="306"/>
                  </a:cubicBezTo>
                  <a:cubicBezTo>
                    <a:pt x="906" y="306"/>
                    <a:pt x="917" y="863"/>
                    <a:pt x="1203" y="849"/>
                  </a:cubicBezTo>
                  <a:cubicBezTo>
                    <a:pt x="1488" y="835"/>
                    <a:pt x="1350" y="628"/>
                    <a:pt x="1203" y="453"/>
                  </a:cubicBezTo>
                  <a:close/>
                  <a:moveTo>
                    <a:pt x="1207" y="901"/>
                  </a:moveTo>
                  <a:cubicBezTo>
                    <a:pt x="1222" y="900"/>
                    <a:pt x="1236" y="899"/>
                    <a:pt x="1249" y="897"/>
                  </a:cubicBezTo>
                  <a:cubicBezTo>
                    <a:pt x="1237" y="1013"/>
                    <a:pt x="1138" y="1103"/>
                    <a:pt x="1019" y="1103"/>
                  </a:cubicBezTo>
                  <a:cubicBezTo>
                    <a:pt x="994" y="1103"/>
                    <a:pt x="970" y="1099"/>
                    <a:pt x="948" y="1092"/>
                  </a:cubicBezTo>
                  <a:cubicBezTo>
                    <a:pt x="954" y="1081"/>
                    <a:pt x="958" y="1069"/>
                    <a:pt x="958" y="1056"/>
                  </a:cubicBezTo>
                  <a:cubicBezTo>
                    <a:pt x="958" y="1017"/>
                    <a:pt x="939" y="950"/>
                    <a:pt x="818" y="950"/>
                  </a:cubicBezTo>
                  <a:cubicBezTo>
                    <a:pt x="693" y="950"/>
                    <a:pt x="679" y="1024"/>
                    <a:pt x="679" y="1056"/>
                  </a:cubicBezTo>
                  <a:cubicBezTo>
                    <a:pt x="679" y="1071"/>
                    <a:pt x="683" y="1084"/>
                    <a:pt x="691" y="1097"/>
                  </a:cubicBezTo>
                  <a:cubicBezTo>
                    <a:pt x="674" y="1101"/>
                    <a:pt x="655" y="1103"/>
                    <a:pt x="637" y="1103"/>
                  </a:cubicBezTo>
                  <a:cubicBezTo>
                    <a:pt x="518" y="1103"/>
                    <a:pt x="421" y="1015"/>
                    <a:pt x="406" y="900"/>
                  </a:cubicBezTo>
                  <a:cubicBezTo>
                    <a:pt x="408" y="900"/>
                    <a:pt x="410" y="901"/>
                    <a:pt x="412" y="901"/>
                  </a:cubicBezTo>
                  <a:cubicBezTo>
                    <a:pt x="416" y="901"/>
                    <a:pt x="420" y="901"/>
                    <a:pt x="424" y="901"/>
                  </a:cubicBezTo>
                  <a:cubicBezTo>
                    <a:pt x="424" y="901"/>
                    <a:pt x="424" y="901"/>
                    <a:pt x="424" y="901"/>
                  </a:cubicBezTo>
                  <a:cubicBezTo>
                    <a:pt x="459" y="901"/>
                    <a:pt x="491" y="893"/>
                    <a:pt x="519" y="880"/>
                  </a:cubicBezTo>
                  <a:cubicBezTo>
                    <a:pt x="524" y="914"/>
                    <a:pt x="540" y="943"/>
                    <a:pt x="568" y="959"/>
                  </a:cubicBezTo>
                  <a:cubicBezTo>
                    <a:pt x="625" y="995"/>
                    <a:pt x="708" y="964"/>
                    <a:pt x="754" y="890"/>
                  </a:cubicBezTo>
                  <a:cubicBezTo>
                    <a:pt x="800" y="817"/>
                    <a:pt x="790" y="728"/>
                    <a:pt x="733" y="693"/>
                  </a:cubicBezTo>
                  <a:cubicBezTo>
                    <a:pt x="717" y="683"/>
                    <a:pt x="698" y="678"/>
                    <a:pt x="679" y="678"/>
                  </a:cubicBezTo>
                  <a:cubicBezTo>
                    <a:pt x="740" y="521"/>
                    <a:pt x="744" y="337"/>
                    <a:pt x="745" y="324"/>
                  </a:cubicBezTo>
                  <a:cubicBezTo>
                    <a:pt x="745" y="312"/>
                    <a:pt x="745" y="312"/>
                    <a:pt x="745" y="312"/>
                  </a:cubicBezTo>
                  <a:cubicBezTo>
                    <a:pt x="765" y="307"/>
                    <a:pt x="786" y="305"/>
                    <a:pt x="807" y="305"/>
                  </a:cubicBezTo>
                  <a:cubicBezTo>
                    <a:pt x="829" y="305"/>
                    <a:pt x="851" y="308"/>
                    <a:pt x="873" y="314"/>
                  </a:cubicBezTo>
                  <a:cubicBezTo>
                    <a:pt x="874" y="324"/>
                    <a:pt x="874" y="324"/>
                    <a:pt x="874" y="324"/>
                  </a:cubicBezTo>
                  <a:cubicBezTo>
                    <a:pt x="874" y="348"/>
                    <a:pt x="889" y="901"/>
                    <a:pt x="1195" y="901"/>
                  </a:cubicBezTo>
                  <a:cubicBezTo>
                    <a:pt x="1199" y="901"/>
                    <a:pt x="1203" y="901"/>
                    <a:pt x="1207" y="901"/>
                  </a:cubicBezTo>
                  <a:close/>
                  <a:moveTo>
                    <a:pt x="944" y="826"/>
                  </a:moveTo>
                  <a:cubicBezTo>
                    <a:pt x="944" y="804"/>
                    <a:pt x="931" y="786"/>
                    <a:pt x="915" y="786"/>
                  </a:cubicBezTo>
                  <a:cubicBezTo>
                    <a:pt x="899" y="786"/>
                    <a:pt x="886" y="804"/>
                    <a:pt x="886" y="826"/>
                  </a:cubicBezTo>
                  <a:cubicBezTo>
                    <a:pt x="886" y="848"/>
                    <a:pt x="899" y="866"/>
                    <a:pt x="915" y="866"/>
                  </a:cubicBezTo>
                  <a:cubicBezTo>
                    <a:pt x="931" y="866"/>
                    <a:pt x="944" y="848"/>
                    <a:pt x="944" y="826"/>
                  </a:cubicBezTo>
                  <a:close/>
                  <a:moveTo>
                    <a:pt x="1532" y="726"/>
                  </a:moveTo>
                  <a:cubicBezTo>
                    <a:pt x="1532" y="1126"/>
                    <a:pt x="1207" y="1451"/>
                    <a:pt x="807" y="1451"/>
                  </a:cubicBezTo>
                  <a:cubicBezTo>
                    <a:pt x="407" y="1451"/>
                    <a:pt x="82" y="1126"/>
                    <a:pt x="82" y="726"/>
                  </a:cubicBezTo>
                  <a:cubicBezTo>
                    <a:pt x="82" y="326"/>
                    <a:pt x="407" y="0"/>
                    <a:pt x="807" y="0"/>
                  </a:cubicBezTo>
                  <a:cubicBezTo>
                    <a:pt x="1207" y="0"/>
                    <a:pt x="1532" y="326"/>
                    <a:pt x="1532" y="726"/>
                  </a:cubicBezTo>
                  <a:close/>
                  <a:moveTo>
                    <a:pt x="1395" y="726"/>
                  </a:moveTo>
                  <a:cubicBezTo>
                    <a:pt x="1395" y="401"/>
                    <a:pt x="1131" y="137"/>
                    <a:pt x="807" y="137"/>
                  </a:cubicBezTo>
                  <a:cubicBezTo>
                    <a:pt x="482" y="137"/>
                    <a:pt x="218" y="401"/>
                    <a:pt x="218" y="726"/>
                  </a:cubicBezTo>
                  <a:cubicBezTo>
                    <a:pt x="218" y="1050"/>
                    <a:pt x="482" y="1314"/>
                    <a:pt x="807" y="1314"/>
                  </a:cubicBezTo>
                  <a:cubicBezTo>
                    <a:pt x="1131" y="1314"/>
                    <a:pt x="1395" y="1050"/>
                    <a:pt x="1395" y="726"/>
                  </a:cubicBezTo>
                  <a:close/>
                  <a:moveTo>
                    <a:pt x="92" y="1230"/>
                  </a:moveTo>
                  <a:cubicBezTo>
                    <a:pt x="105" y="1223"/>
                    <a:pt x="108" y="1203"/>
                    <a:pt x="98" y="1185"/>
                  </a:cubicBezTo>
                  <a:cubicBezTo>
                    <a:pt x="89" y="1166"/>
                    <a:pt x="70" y="1157"/>
                    <a:pt x="57" y="1164"/>
                  </a:cubicBezTo>
                  <a:cubicBezTo>
                    <a:pt x="44" y="1170"/>
                    <a:pt x="41" y="1191"/>
                    <a:pt x="51" y="1209"/>
                  </a:cubicBezTo>
                  <a:cubicBezTo>
                    <a:pt x="61" y="1227"/>
                    <a:pt x="79" y="1237"/>
                    <a:pt x="92" y="1230"/>
                  </a:cubicBezTo>
                  <a:close/>
                  <a:moveTo>
                    <a:pt x="57" y="1233"/>
                  </a:moveTo>
                  <a:cubicBezTo>
                    <a:pt x="47" y="1215"/>
                    <a:pt x="29" y="1205"/>
                    <a:pt x="16" y="1212"/>
                  </a:cubicBezTo>
                  <a:cubicBezTo>
                    <a:pt x="3" y="1219"/>
                    <a:pt x="0" y="1239"/>
                    <a:pt x="10" y="1258"/>
                  </a:cubicBezTo>
                  <a:cubicBezTo>
                    <a:pt x="19" y="1276"/>
                    <a:pt x="38" y="1285"/>
                    <a:pt x="51" y="1279"/>
                  </a:cubicBezTo>
                  <a:cubicBezTo>
                    <a:pt x="64" y="1272"/>
                    <a:pt x="66" y="1251"/>
                    <a:pt x="57" y="1233"/>
                  </a:cubicBezTo>
                  <a:close/>
                  <a:moveTo>
                    <a:pt x="171" y="1209"/>
                  </a:moveTo>
                  <a:cubicBezTo>
                    <a:pt x="180" y="1191"/>
                    <a:pt x="178" y="1170"/>
                    <a:pt x="165" y="1163"/>
                  </a:cubicBezTo>
                  <a:cubicBezTo>
                    <a:pt x="152" y="1157"/>
                    <a:pt x="133" y="1166"/>
                    <a:pt x="124" y="1185"/>
                  </a:cubicBezTo>
                  <a:cubicBezTo>
                    <a:pt x="114" y="1203"/>
                    <a:pt x="117" y="1223"/>
                    <a:pt x="130" y="1230"/>
                  </a:cubicBezTo>
                  <a:cubicBezTo>
                    <a:pt x="143" y="1237"/>
                    <a:pt x="161" y="1227"/>
                    <a:pt x="171" y="1209"/>
                  </a:cubicBezTo>
                  <a:close/>
                  <a:moveTo>
                    <a:pt x="206" y="1212"/>
                  </a:moveTo>
                  <a:cubicBezTo>
                    <a:pt x="193" y="1205"/>
                    <a:pt x="175" y="1215"/>
                    <a:pt x="165" y="1233"/>
                  </a:cubicBezTo>
                  <a:cubicBezTo>
                    <a:pt x="156" y="1251"/>
                    <a:pt x="158" y="1272"/>
                    <a:pt x="171" y="1279"/>
                  </a:cubicBezTo>
                  <a:cubicBezTo>
                    <a:pt x="184" y="1285"/>
                    <a:pt x="203" y="1276"/>
                    <a:pt x="212" y="1258"/>
                  </a:cubicBezTo>
                  <a:cubicBezTo>
                    <a:pt x="222" y="1239"/>
                    <a:pt x="219" y="1219"/>
                    <a:pt x="206" y="1212"/>
                  </a:cubicBezTo>
                  <a:close/>
                  <a:moveTo>
                    <a:pt x="159" y="1288"/>
                  </a:moveTo>
                  <a:cubicBezTo>
                    <a:pt x="159" y="1285"/>
                    <a:pt x="159" y="1283"/>
                    <a:pt x="159" y="1280"/>
                  </a:cubicBezTo>
                  <a:cubicBezTo>
                    <a:pt x="159" y="1258"/>
                    <a:pt x="136" y="1235"/>
                    <a:pt x="114" y="1235"/>
                  </a:cubicBezTo>
                  <a:cubicBezTo>
                    <a:pt x="92" y="1235"/>
                    <a:pt x="69" y="1258"/>
                    <a:pt x="69" y="1280"/>
                  </a:cubicBezTo>
                  <a:cubicBezTo>
                    <a:pt x="69" y="1283"/>
                    <a:pt x="69" y="1285"/>
                    <a:pt x="69" y="1288"/>
                  </a:cubicBezTo>
                  <a:cubicBezTo>
                    <a:pt x="55" y="1288"/>
                    <a:pt x="49" y="1305"/>
                    <a:pt x="49" y="1320"/>
                  </a:cubicBezTo>
                  <a:cubicBezTo>
                    <a:pt x="49" y="1335"/>
                    <a:pt x="61" y="1347"/>
                    <a:pt x="76" y="1347"/>
                  </a:cubicBezTo>
                  <a:cubicBezTo>
                    <a:pt x="90" y="1347"/>
                    <a:pt x="110" y="1338"/>
                    <a:pt x="113" y="1337"/>
                  </a:cubicBezTo>
                  <a:cubicBezTo>
                    <a:pt x="129" y="1345"/>
                    <a:pt x="137" y="1347"/>
                    <a:pt x="151" y="1347"/>
                  </a:cubicBezTo>
                  <a:cubicBezTo>
                    <a:pt x="166" y="1347"/>
                    <a:pt x="178" y="1335"/>
                    <a:pt x="178" y="1320"/>
                  </a:cubicBezTo>
                  <a:cubicBezTo>
                    <a:pt x="178" y="1306"/>
                    <a:pt x="172" y="1289"/>
                    <a:pt x="159" y="1288"/>
                  </a:cubicBezTo>
                  <a:close/>
                  <a:moveTo>
                    <a:pt x="387" y="1475"/>
                  </a:moveTo>
                  <a:cubicBezTo>
                    <a:pt x="400" y="1469"/>
                    <a:pt x="402" y="1448"/>
                    <a:pt x="393" y="1430"/>
                  </a:cubicBezTo>
                  <a:cubicBezTo>
                    <a:pt x="383" y="1411"/>
                    <a:pt x="365" y="1402"/>
                    <a:pt x="352" y="1409"/>
                  </a:cubicBezTo>
                  <a:cubicBezTo>
                    <a:pt x="339" y="1416"/>
                    <a:pt x="336" y="1436"/>
                    <a:pt x="346" y="1454"/>
                  </a:cubicBezTo>
                  <a:cubicBezTo>
                    <a:pt x="355" y="1473"/>
                    <a:pt x="374" y="1482"/>
                    <a:pt x="387" y="1475"/>
                  </a:cubicBezTo>
                  <a:close/>
                  <a:moveTo>
                    <a:pt x="351" y="1478"/>
                  </a:moveTo>
                  <a:cubicBezTo>
                    <a:pt x="342" y="1460"/>
                    <a:pt x="323" y="1451"/>
                    <a:pt x="310" y="1457"/>
                  </a:cubicBezTo>
                  <a:cubicBezTo>
                    <a:pt x="297" y="1464"/>
                    <a:pt x="295" y="1485"/>
                    <a:pt x="304" y="1503"/>
                  </a:cubicBezTo>
                  <a:cubicBezTo>
                    <a:pt x="314" y="1521"/>
                    <a:pt x="332" y="1531"/>
                    <a:pt x="345" y="1524"/>
                  </a:cubicBezTo>
                  <a:cubicBezTo>
                    <a:pt x="358" y="1517"/>
                    <a:pt x="361" y="1497"/>
                    <a:pt x="351" y="1478"/>
                  </a:cubicBezTo>
                  <a:close/>
                  <a:moveTo>
                    <a:pt x="466" y="1454"/>
                  </a:moveTo>
                  <a:cubicBezTo>
                    <a:pt x="475" y="1436"/>
                    <a:pt x="472" y="1416"/>
                    <a:pt x="459" y="1409"/>
                  </a:cubicBezTo>
                  <a:cubicBezTo>
                    <a:pt x="446" y="1402"/>
                    <a:pt x="428" y="1411"/>
                    <a:pt x="418" y="1430"/>
                  </a:cubicBezTo>
                  <a:cubicBezTo>
                    <a:pt x="409" y="1448"/>
                    <a:pt x="412" y="1469"/>
                    <a:pt x="425" y="1475"/>
                  </a:cubicBezTo>
                  <a:cubicBezTo>
                    <a:pt x="438" y="1482"/>
                    <a:pt x="456" y="1473"/>
                    <a:pt x="466" y="1454"/>
                  </a:cubicBezTo>
                  <a:close/>
                  <a:moveTo>
                    <a:pt x="501" y="1457"/>
                  </a:moveTo>
                  <a:cubicBezTo>
                    <a:pt x="488" y="1451"/>
                    <a:pt x="469" y="1460"/>
                    <a:pt x="460" y="1478"/>
                  </a:cubicBezTo>
                  <a:cubicBezTo>
                    <a:pt x="450" y="1497"/>
                    <a:pt x="453" y="1517"/>
                    <a:pt x="466" y="1524"/>
                  </a:cubicBezTo>
                  <a:cubicBezTo>
                    <a:pt x="479" y="1531"/>
                    <a:pt x="497" y="1521"/>
                    <a:pt x="507" y="1503"/>
                  </a:cubicBezTo>
                  <a:cubicBezTo>
                    <a:pt x="516" y="1485"/>
                    <a:pt x="514" y="1464"/>
                    <a:pt x="501" y="1457"/>
                  </a:cubicBezTo>
                  <a:close/>
                  <a:moveTo>
                    <a:pt x="453" y="1533"/>
                  </a:moveTo>
                  <a:cubicBezTo>
                    <a:pt x="454" y="1531"/>
                    <a:pt x="454" y="1528"/>
                    <a:pt x="454" y="1526"/>
                  </a:cubicBezTo>
                  <a:cubicBezTo>
                    <a:pt x="454" y="1504"/>
                    <a:pt x="431" y="1480"/>
                    <a:pt x="409" y="1480"/>
                  </a:cubicBezTo>
                  <a:cubicBezTo>
                    <a:pt x="387" y="1480"/>
                    <a:pt x="363" y="1504"/>
                    <a:pt x="363" y="1526"/>
                  </a:cubicBezTo>
                  <a:cubicBezTo>
                    <a:pt x="363" y="1528"/>
                    <a:pt x="364" y="1531"/>
                    <a:pt x="364" y="1533"/>
                  </a:cubicBezTo>
                  <a:cubicBezTo>
                    <a:pt x="350" y="1534"/>
                    <a:pt x="343" y="1551"/>
                    <a:pt x="343" y="1565"/>
                  </a:cubicBezTo>
                  <a:cubicBezTo>
                    <a:pt x="343" y="1580"/>
                    <a:pt x="356" y="1592"/>
                    <a:pt x="371" y="1592"/>
                  </a:cubicBezTo>
                  <a:cubicBezTo>
                    <a:pt x="384" y="1592"/>
                    <a:pt x="405" y="1583"/>
                    <a:pt x="408" y="1582"/>
                  </a:cubicBezTo>
                  <a:cubicBezTo>
                    <a:pt x="424" y="1591"/>
                    <a:pt x="432" y="1592"/>
                    <a:pt x="445" y="1592"/>
                  </a:cubicBezTo>
                  <a:cubicBezTo>
                    <a:pt x="460" y="1592"/>
                    <a:pt x="472" y="1580"/>
                    <a:pt x="472" y="1565"/>
                  </a:cubicBezTo>
                  <a:cubicBezTo>
                    <a:pt x="472" y="1551"/>
                    <a:pt x="467" y="1535"/>
                    <a:pt x="453" y="1533"/>
                  </a:cubicBezTo>
                  <a:close/>
                  <a:moveTo>
                    <a:pt x="1513" y="1185"/>
                  </a:moveTo>
                  <a:cubicBezTo>
                    <a:pt x="1504" y="1203"/>
                    <a:pt x="1506" y="1223"/>
                    <a:pt x="1519" y="1230"/>
                  </a:cubicBezTo>
                  <a:cubicBezTo>
                    <a:pt x="1532" y="1237"/>
                    <a:pt x="1551" y="1228"/>
                    <a:pt x="1560" y="1209"/>
                  </a:cubicBezTo>
                  <a:cubicBezTo>
                    <a:pt x="1570" y="1191"/>
                    <a:pt x="1567" y="1170"/>
                    <a:pt x="1554" y="1164"/>
                  </a:cubicBezTo>
                  <a:cubicBezTo>
                    <a:pt x="1541" y="1157"/>
                    <a:pt x="1523" y="1166"/>
                    <a:pt x="1513" y="1185"/>
                  </a:cubicBezTo>
                  <a:close/>
                  <a:moveTo>
                    <a:pt x="1595" y="1212"/>
                  </a:moveTo>
                  <a:cubicBezTo>
                    <a:pt x="1582" y="1205"/>
                    <a:pt x="1564" y="1215"/>
                    <a:pt x="1555" y="1233"/>
                  </a:cubicBezTo>
                  <a:cubicBezTo>
                    <a:pt x="1545" y="1251"/>
                    <a:pt x="1548" y="1272"/>
                    <a:pt x="1561" y="1279"/>
                  </a:cubicBezTo>
                  <a:cubicBezTo>
                    <a:pt x="1574" y="1285"/>
                    <a:pt x="1592" y="1276"/>
                    <a:pt x="1602" y="1258"/>
                  </a:cubicBezTo>
                  <a:cubicBezTo>
                    <a:pt x="1611" y="1239"/>
                    <a:pt x="1608" y="1219"/>
                    <a:pt x="1595" y="1212"/>
                  </a:cubicBezTo>
                  <a:close/>
                  <a:moveTo>
                    <a:pt x="1447" y="1163"/>
                  </a:moveTo>
                  <a:cubicBezTo>
                    <a:pt x="1434" y="1170"/>
                    <a:pt x="1431" y="1191"/>
                    <a:pt x="1441" y="1209"/>
                  </a:cubicBezTo>
                  <a:cubicBezTo>
                    <a:pt x="1450" y="1227"/>
                    <a:pt x="1468" y="1237"/>
                    <a:pt x="1481" y="1230"/>
                  </a:cubicBezTo>
                  <a:cubicBezTo>
                    <a:pt x="1494" y="1223"/>
                    <a:pt x="1497" y="1203"/>
                    <a:pt x="1488" y="1184"/>
                  </a:cubicBezTo>
                  <a:cubicBezTo>
                    <a:pt x="1478" y="1166"/>
                    <a:pt x="1460" y="1157"/>
                    <a:pt x="1447" y="1163"/>
                  </a:cubicBezTo>
                  <a:close/>
                  <a:moveTo>
                    <a:pt x="1446" y="1233"/>
                  </a:moveTo>
                  <a:cubicBezTo>
                    <a:pt x="1437" y="1215"/>
                    <a:pt x="1418" y="1205"/>
                    <a:pt x="1405" y="1212"/>
                  </a:cubicBezTo>
                  <a:cubicBezTo>
                    <a:pt x="1392" y="1219"/>
                    <a:pt x="1390" y="1239"/>
                    <a:pt x="1399" y="1258"/>
                  </a:cubicBezTo>
                  <a:cubicBezTo>
                    <a:pt x="1409" y="1276"/>
                    <a:pt x="1427" y="1285"/>
                    <a:pt x="1440" y="1279"/>
                  </a:cubicBezTo>
                  <a:cubicBezTo>
                    <a:pt x="1453" y="1272"/>
                    <a:pt x="1456" y="1251"/>
                    <a:pt x="1446" y="1233"/>
                  </a:cubicBezTo>
                  <a:close/>
                  <a:moveTo>
                    <a:pt x="1542" y="1288"/>
                  </a:moveTo>
                  <a:cubicBezTo>
                    <a:pt x="1542" y="1285"/>
                    <a:pt x="1543" y="1283"/>
                    <a:pt x="1543" y="1280"/>
                  </a:cubicBezTo>
                  <a:cubicBezTo>
                    <a:pt x="1543" y="1258"/>
                    <a:pt x="1519" y="1235"/>
                    <a:pt x="1497" y="1235"/>
                  </a:cubicBezTo>
                  <a:cubicBezTo>
                    <a:pt x="1475" y="1235"/>
                    <a:pt x="1452" y="1258"/>
                    <a:pt x="1452" y="1280"/>
                  </a:cubicBezTo>
                  <a:cubicBezTo>
                    <a:pt x="1452" y="1283"/>
                    <a:pt x="1452" y="1285"/>
                    <a:pt x="1453" y="1288"/>
                  </a:cubicBezTo>
                  <a:cubicBezTo>
                    <a:pt x="1439" y="1289"/>
                    <a:pt x="1434" y="1306"/>
                    <a:pt x="1434" y="1320"/>
                  </a:cubicBezTo>
                  <a:cubicBezTo>
                    <a:pt x="1434" y="1335"/>
                    <a:pt x="1446" y="1347"/>
                    <a:pt x="1461" y="1347"/>
                  </a:cubicBezTo>
                  <a:cubicBezTo>
                    <a:pt x="1474" y="1347"/>
                    <a:pt x="1482" y="1345"/>
                    <a:pt x="1498" y="1337"/>
                  </a:cubicBezTo>
                  <a:cubicBezTo>
                    <a:pt x="1501" y="1338"/>
                    <a:pt x="1522" y="1347"/>
                    <a:pt x="1535" y="1347"/>
                  </a:cubicBezTo>
                  <a:cubicBezTo>
                    <a:pt x="1550" y="1347"/>
                    <a:pt x="1563" y="1335"/>
                    <a:pt x="1563" y="1320"/>
                  </a:cubicBezTo>
                  <a:cubicBezTo>
                    <a:pt x="1563" y="1305"/>
                    <a:pt x="1556" y="1288"/>
                    <a:pt x="1542" y="1288"/>
                  </a:cubicBezTo>
                  <a:close/>
                  <a:moveTo>
                    <a:pt x="1265" y="1454"/>
                  </a:moveTo>
                  <a:cubicBezTo>
                    <a:pt x="1275" y="1436"/>
                    <a:pt x="1272" y="1416"/>
                    <a:pt x="1259" y="1409"/>
                  </a:cubicBezTo>
                  <a:cubicBezTo>
                    <a:pt x="1246" y="1402"/>
                    <a:pt x="1228" y="1411"/>
                    <a:pt x="1218" y="1430"/>
                  </a:cubicBezTo>
                  <a:cubicBezTo>
                    <a:pt x="1209" y="1448"/>
                    <a:pt x="1211" y="1469"/>
                    <a:pt x="1224" y="1475"/>
                  </a:cubicBezTo>
                  <a:cubicBezTo>
                    <a:pt x="1237" y="1482"/>
                    <a:pt x="1256" y="1473"/>
                    <a:pt x="1265" y="1454"/>
                  </a:cubicBezTo>
                  <a:close/>
                  <a:moveTo>
                    <a:pt x="1301" y="1457"/>
                  </a:moveTo>
                  <a:cubicBezTo>
                    <a:pt x="1288" y="1451"/>
                    <a:pt x="1269" y="1460"/>
                    <a:pt x="1260" y="1478"/>
                  </a:cubicBezTo>
                  <a:cubicBezTo>
                    <a:pt x="1250" y="1497"/>
                    <a:pt x="1253" y="1517"/>
                    <a:pt x="1266" y="1524"/>
                  </a:cubicBezTo>
                  <a:cubicBezTo>
                    <a:pt x="1279" y="1531"/>
                    <a:pt x="1297" y="1521"/>
                    <a:pt x="1307" y="1503"/>
                  </a:cubicBezTo>
                  <a:cubicBezTo>
                    <a:pt x="1316" y="1485"/>
                    <a:pt x="1314" y="1464"/>
                    <a:pt x="1301" y="1457"/>
                  </a:cubicBezTo>
                  <a:close/>
                  <a:moveTo>
                    <a:pt x="1187" y="1475"/>
                  </a:moveTo>
                  <a:cubicBezTo>
                    <a:pt x="1200" y="1469"/>
                    <a:pt x="1202" y="1448"/>
                    <a:pt x="1193" y="1430"/>
                  </a:cubicBezTo>
                  <a:cubicBezTo>
                    <a:pt x="1183" y="1411"/>
                    <a:pt x="1165" y="1402"/>
                    <a:pt x="1152" y="1409"/>
                  </a:cubicBezTo>
                  <a:cubicBezTo>
                    <a:pt x="1139" y="1416"/>
                    <a:pt x="1136" y="1436"/>
                    <a:pt x="1146" y="1454"/>
                  </a:cubicBezTo>
                  <a:cubicBezTo>
                    <a:pt x="1155" y="1473"/>
                    <a:pt x="1174" y="1482"/>
                    <a:pt x="1187" y="1475"/>
                  </a:cubicBezTo>
                  <a:close/>
                  <a:moveTo>
                    <a:pt x="1151" y="1478"/>
                  </a:moveTo>
                  <a:cubicBezTo>
                    <a:pt x="1142" y="1460"/>
                    <a:pt x="1123" y="1451"/>
                    <a:pt x="1110" y="1457"/>
                  </a:cubicBezTo>
                  <a:cubicBezTo>
                    <a:pt x="1097" y="1464"/>
                    <a:pt x="1095" y="1485"/>
                    <a:pt x="1104" y="1503"/>
                  </a:cubicBezTo>
                  <a:cubicBezTo>
                    <a:pt x="1114" y="1521"/>
                    <a:pt x="1132" y="1531"/>
                    <a:pt x="1145" y="1524"/>
                  </a:cubicBezTo>
                  <a:cubicBezTo>
                    <a:pt x="1158" y="1517"/>
                    <a:pt x="1161" y="1497"/>
                    <a:pt x="1151" y="1478"/>
                  </a:cubicBezTo>
                  <a:close/>
                  <a:moveTo>
                    <a:pt x="1247" y="1533"/>
                  </a:moveTo>
                  <a:cubicBezTo>
                    <a:pt x="1248" y="1531"/>
                    <a:pt x="1248" y="1528"/>
                    <a:pt x="1248" y="1526"/>
                  </a:cubicBezTo>
                  <a:cubicBezTo>
                    <a:pt x="1248" y="1504"/>
                    <a:pt x="1225" y="1480"/>
                    <a:pt x="1202" y="1480"/>
                  </a:cubicBezTo>
                  <a:cubicBezTo>
                    <a:pt x="1180" y="1480"/>
                    <a:pt x="1157" y="1504"/>
                    <a:pt x="1157" y="1526"/>
                  </a:cubicBezTo>
                  <a:cubicBezTo>
                    <a:pt x="1157" y="1528"/>
                    <a:pt x="1157" y="1531"/>
                    <a:pt x="1158" y="1533"/>
                  </a:cubicBezTo>
                  <a:cubicBezTo>
                    <a:pt x="1144" y="1535"/>
                    <a:pt x="1139" y="1551"/>
                    <a:pt x="1139" y="1565"/>
                  </a:cubicBezTo>
                  <a:cubicBezTo>
                    <a:pt x="1139" y="1580"/>
                    <a:pt x="1151" y="1592"/>
                    <a:pt x="1166" y="1592"/>
                  </a:cubicBezTo>
                  <a:cubicBezTo>
                    <a:pt x="1179" y="1592"/>
                    <a:pt x="1187" y="1591"/>
                    <a:pt x="1203" y="1582"/>
                  </a:cubicBezTo>
                  <a:cubicBezTo>
                    <a:pt x="1206" y="1583"/>
                    <a:pt x="1227" y="1592"/>
                    <a:pt x="1240" y="1592"/>
                  </a:cubicBezTo>
                  <a:cubicBezTo>
                    <a:pt x="1255" y="1592"/>
                    <a:pt x="1268" y="1580"/>
                    <a:pt x="1268" y="1565"/>
                  </a:cubicBezTo>
                  <a:cubicBezTo>
                    <a:pt x="1268" y="1551"/>
                    <a:pt x="1261" y="1534"/>
                    <a:pt x="1247" y="1533"/>
                  </a:cubicBezTo>
                  <a:close/>
                  <a:moveTo>
                    <a:pt x="812" y="1559"/>
                  </a:moveTo>
                  <a:cubicBezTo>
                    <a:pt x="825" y="1552"/>
                    <a:pt x="827" y="1532"/>
                    <a:pt x="818" y="1514"/>
                  </a:cubicBezTo>
                  <a:cubicBezTo>
                    <a:pt x="808" y="1495"/>
                    <a:pt x="790" y="1486"/>
                    <a:pt x="777" y="1493"/>
                  </a:cubicBezTo>
                  <a:cubicBezTo>
                    <a:pt x="764" y="1499"/>
                    <a:pt x="761" y="1520"/>
                    <a:pt x="771" y="1538"/>
                  </a:cubicBezTo>
                  <a:cubicBezTo>
                    <a:pt x="780" y="1557"/>
                    <a:pt x="799" y="1566"/>
                    <a:pt x="812" y="1559"/>
                  </a:cubicBezTo>
                  <a:close/>
                  <a:moveTo>
                    <a:pt x="776" y="1562"/>
                  </a:moveTo>
                  <a:cubicBezTo>
                    <a:pt x="767" y="1544"/>
                    <a:pt x="748" y="1534"/>
                    <a:pt x="735" y="1541"/>
                  </a:cubicBezTo>
                  <a:cubicBezTo>
                    <a:pt x="722" y="1548"/>
                    <a:pt x="720" y="1568"/>
                    <a:pt x="729" y="1587"/>
                  </a:cubicBezTo>
                  <a:cubicBezTo>
                    <a:pt x="739" y="1605"/>
                    <a:pt x="757" y="1615"/>
                    <a:pt x="770" y="1608"/>
                  </a:cubicBezTo>
                  <a:cubicBezTo>
                    <a:pt x="783" y="1601"/>
                    <a:pt x="786" y="1581"/>
                    <a:pt x="776" y="1562"/>
                  </a:cubicBezTo>
                  <a:close/>
                  <a:moveTo>
                    <a:pt x="890" y="1538"/>
                  </a:moveTo>
                  <a:cubicBezTo>
                    <a:pt x="900" y="1520"/>
                    <a:pt x="897" y="1499"/>
                    <a:pt x="884" y="1493"/>
                  </a:cubicBezTo>
                  <a:cubicBezTo>
                    <a:pt x="871" y="1486"/>
                    <a:pt x="853" y="1495"/>
                    <a:pt x="843" y="1514"/>
                  </a:cubicBezTo>
                  <a:cubicBezTo>
                    <a:pt x="834" y="1532"/>
                    <a:pt x="836" y="1552"/>
                    <a:pt x="849" y="1559"/>
                  </a:cubicBezTo>
                  <a:cubicBezTo>
                    <a:pt x="862" y="1566"/>
                    <a:pt x="881" y="1557"/>
                    <a:pt x="890" y="1538"/>
                  </a:cubicBezTo>
                  <a:close/>
                  <a:moveTo>
                    <a:pt x="926" y="1541"/>
                  </a:moveTo>
                  <a:cubicBezTo>
                    <a:pt x="913" y="1534"/>
                    <a:pt x="894" y="1544"/>
                    <a:pt x="885" y="1562"/>
                  </a:cubicBezTo>
                  <a:cubicBezTo>
                    <a:pt x="875" y="1581"/>
                    <a:pt x="878" y="1601"/>
                    <a:pt x="891" y="1608"/>
                  </a:cubicBezTo>
                  <a:cubicBezTo>
                    <a:pt x="904" y="1615"/>
                    <a:pt x="922" y="1605"/>
                    <a:pt x="932" y="1587"/>
                  </a:cubicBezTo>
                  <a:cubicBezTo>
                    <a:pt x="941" y="1568"/>
                    <a:pt x="938" y="1548"/>
                    <a:pt x="926" y="1541"/>
                  </a:cubicBezTo>
                  <a:close/>
                  <a:moveTo>
                    <a:pt x="878" y="1617"/>
                  </a:moveTo>
                  <a:cubicBezTo>
                    <a:pt x="879" y="1615"/>
                    <a:pt x="879" y="1612"/>
                    <a:pt x="879" y="1609"/>
                  </a:cubicBezTo>
                  <a:cubicBezTo>
                    <a:pt x="879" y="1587"/>
                    <a:pt x="856" y="1564"/>
                    <a:pt x="834" y="1564"/>
                  </a:cubicBezTo>
                  <a:cubicBezTo>
                    <a:pt x="811" y="1564"/>
                    <a:pt x="788" y="1587"/>
                    <a:pt x="788" y="1609"/>
                  </a:cubicBezTo>
                  <a:cubicBezTo>
                    <a:pt x="788" y="1612"/>
                    <a:pt x="788" y="1614"/>
                    <a:pt x="789" y="1617"/>
                  </a:cubicBezTo>
                  <a:cubicBezTo>
                    <a:pt x="774" y="1618"/>
                    <a:pt x="768" y="1634"/>
                    <a:pt x="768" y="1649"/>
                  </a:cubicBezTo>
                  <a:cubicBezTo>
                    <a:pt x="768" y="1664"/>
                    <a:pt x="780" y="1676"/>
                    <a:pt x="795" y="1676"/>
                  </a:cubicBezTo>
                  <a:cubicBezTo>
                    <a:pt x="809" y="1676"/>
                    <a:pt x="830" y="1667"/>
                    <a:pt x="833" y="1666"/>
                  </a:cubicBezTo>
                  <a:cubicBezTo>
                    <a:pt x="849" y="1675"/>
                    <a:pt x="857" y="1676"/>
                    <a:pt x="870" y="1676"/>
                  </a:cubicBezTo>
                  <a:cubicBezTo>
                    <a:pt x="885" y="1676"/>
                    <a:pt x="897" y="1664"/>
                    <a:pt x="897" y="1649"/>
                  </a:cubicBezTo>
                  <a:cubicBezTo>
                    <a:pt x="897" y="1635"/>
                    <a:pt x="892" y="1618"/>
                    <a:pt x="878" y="1617"/>
                  </a:cubicBezTo>
                  <a:close/>
                  <a:moveTo>
                    <a:pt x="878" y="1617"/>
                  </a:moveTo>
                  <a:cubicBezTo>
                    <a:pt x="878" y="1617"/>
                    <a:pt x="878" y="1617"/>
                    <a:pt x="878" y="16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5" name="išḷíḓê">
              <a:extLst>
                <a:ext uri="{FF2B5EF4-FFF2-40B4-BE49-F238E27FC236}">
                  <a16:creationId xmlns:a16="http://schemas.microsoft.com/office/drawing/2014/main" id="{B6D77196-7A5B-4845-BF4F-7D2B974D6034}"/>
                </a:ext>
              </a:extLst>
            </p:cNvPr>
            <p:cNvSpPr/>
            <p:nvPr/>
          </p:nvSpPr>
          <p:spPr bwMode="auto">
            <a:xfrm>
              <a:off x="5427829" y="3865212"/>
              <a:ext cx="390666" cy="390768"/>
            </a:xfrm>
            <a:custGeom>
              <a:avLst/>
              <a:gdLst>
                <a:gd name="T0" fmla="*/ 303 w 1621"/>
                <a:gd name="T1" fmla="*/ 706 h 1621"/>
                <a:gd name="T2" fmla="*/ 304 w 1621"/>
                <a:gd name="T3" fmla="*/ 517 h 1621"/>
                <a:gd name="T4" fmla="*/ 491 w 1621"/>
                <a:gd name="T5" fmla="*/ 546 h 1621"/>
                <a:gd name="T6" fmla="*/ 490 w 1621"/>
                <a:gd name="T7" fmla="*/ 735 h 1621"/>
                <a:gd name="T8" fmla="*/ 303 w 1621"/>
                <a:gd name="T9" fmla="*/ 706 h 1621"/>
                <a:gd name="T10" fmla="*/ 672 w 1621"/>
                <a:gd name="T11" fmla="*/ 548 h 1621"/>
                <a:gd name="T12" fmla="*/ 760 w 1621"/>
                <a:gd name="T13" fmla="*/ 381 h 1621"/>
                <a:gd name="T14" fmla="*/ 607 w 1621"/>
                <a:gd name="T15" fmla="*/ 269 h 1621"/>
                <a:gd name="T16" fmla="*/ 519 w 1621"/>
                <a:gd name="T17" fmla="*/ 436 h 1621"/>
                <a:gd name="T18" fmla="*/ 672 w 1621"/>
                <a:gd name="T19" fmla="*/ 548 h 1621"/>
                <a:gd name="T20" fmla="*/ 1317 w 1621"/>
                <a:gd name="T21" fmla="*/ 517 h 1621"/>
                <a:gd name="T22" fmla="*/ 1130 w 1621"/>
                <a:gd name="T23" fmla="*/ 546 h 1621"/>
                <a:gd name="T24" fmla="*/ 1131 w 1621"/>
                <a:gd name="T25" fmla="*/ 735 h 1621"/>
                <a:gd name="T26" fmla="*/ 1318 w 1621"/>
                <a:gd name="T27" fmla="*/ 706 h 1621"/>
                <a:gd name="T28" fmla="*/ 1317 w 1621"/>
                <a:gd name="T29" fmla="*/ 517 h 1621"/>
                <a:gd name="T30" fmla="*/ 950 w 1621"/>
                <a:gd name="T31" fmla="*/ 548 h 1621"/>
                <a:gd name="T32" fmla="*/ 1102 w 1621"/>
                <a:gd name="T33" fmla="*/ 436 h 1621"/>
                <a:gd name="T34" fmla="*/ 1014 w 1621"/>
                <a:gd name="T35" fmla="*/ 269 h 1621"/>
                <a:gd name="T36" fmla="*/ 862 w 1621"/>
                <a:gd name="T37" fmla="*/ 381 h 1621"/>
                <a:gd name="T38" fmla="*/ 950 w 1621"/>
                <a:gd name="T39" fmla="*/ 548 h 1621"/>
                <a:gd name="T40" fmla="*/ 1086 w 1621"/>
                <a:gd name="T41" fmla="*/ 823 h 1621"/>
                <a:gd name="T42" fmla="*/ 811 w 1621"/>
                <a:gd name="T43" fmla="*/ 601 h 1621"/>
                <a:gd name="T44" fmla="*/ 536 w 1621"/>
                <a:gd name="T45" fmla="*/ 823 h 1621"/>
                <a:gd name="T46" fmla="*/ 397 w 1621"/>
                <a:gd name="T47" fmla="*/ 1065 h 1621"/>
                <a:gd name="T48" fmla="*/ 679 w 1621"/>
                <a:gd name="T49" fmla="*/ 1346 h 1621"/>
                <a:gd name="T50" fmla="*/ 811 w 1621"/>
                <a:gd name="T51" fmla="*/ 1313 h 1621"/>
                <a:gd name="T52" fmla="*/ 943 w 1621"/>
                <a:gd name="T53" fmla="*/ 1346 h 1621"/>
                <a:gd name="T54" fmla="*/ 1224 w 1621"/>
                <a:gd name="T55" fmla="*/ 1065 h 1621"/>
                <a:gd name="T56" fmla="*/ 1086 w 1621"/>
                <a:gd name="T57" fmla="*/ 823 h 1621"/>
                <a:gd name="T58" fmla="*/ 1621 w 1621"/>
                <a:gd name="T59" fmla="*/ 811 h 1621"/>
                <a:gd name="T60" fmla="*/ 811 w 1621"/>
                <a:gd name="T61" fmla="*/ 1621 h 1621"/>
                <a:gd name="T62" fmla="*/ 0 w 1621"/>
                <a:gd name="T63" fmla="*/ 811 h 1621"/>
                <a:gd name="T64" fmla="*/ 811 w 1621"/>
                <a:gd name="T65" fmla="*/ 0 h 1621"/>
                <a:gd name="T66" fmla="*/ 1621 w 1621"/>
                <a:gd name="T67" fmla="*/ 811 h 1621"/>
                <a:gd name="T68" fmla="*/ 1502 w 1621"/>
                <a:gd name="T69" fmla="*/ 811 h 1621"/>
                <a:gd name="T70" fmla="*/ 811 w 1621"/>
                <a:gd name="T71" fmla="*/ 119 h 1621"/>
                <a:gd name="T72" fmla="*/ 119 w 1621"/>
                <a:gd name="T73" fmla="*/ 811 h 1621"/>
                <a:gd name="T74" fmla="*/ 811 w 1621"/>
                <a:gd name="T75" fmla="*/ 1502 h 1621"/>
                <a:gd name="T76" fmla="*/ 1502 w 1621"/>
                <a:gd name="T77" fmla="*/ 811 h 1621"/>
                <a:gd name="T78" fmla="*/ 1502 w 1621"/>
                <a:gd name="T79" fmla="*/ 811 h 1621"/>
                <a:gd name="T80" fmla="*/ 1502 w 1621"/>
                <a:gd name="T81" fmla="*/ 811 h 1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21" h="1621">
                  <a:moveTo>
                    <a:pt x="303" y="706"/>
                  </a:moveTo>
                  <a:cubicBezTo>
                    <a:pt x="252" y="645"/>
                    <a:pt x="253" y="561"/>
                    <a:pt x="304" y="517"/>
                  </a:cubicBezTo>
                  <a:cubicBezTo>
                    <a:pt x="356" y="472"/>
                    <a:pt x="440" y="485"/>
                    <a:pt x="491" y="546"/>
                  </a:cubicBezTo>
                  <a:cubicBezTo>
                    <a:pt x="543" y="606"/>
                    <a:pt x="542" y="690"/>
                    <a:pt x="490" y="735"/>
                  </a:cubicBezTo>
                  <a:cubicBezTo>
                    <a:pt x="438" y="779"/>
                    <a:pt x="355" y="766"/>
                    <a:pt x="303" y="706"/>
                  </a:cubicBezTo>
                  <a:close/>
                  <a:moveTo>
                    <a:pt x="672" y="548"/>
                  </a:moveTo>
                  <a:cubicBezTo>
                    <a:pt x="738" y="532"/>
                    <a:pt x="777" y="458"/>
                    <a:pt x="760" y="381"/>
                  </a:cubicBezTo>
                  <a:cubicBezTo>
                    <a:pt x="742" y="304"/>
                    <a:pt x="673" y="254"/>
                    <a:pt x="607" y="269"/>
                  </a:cubicBezTo>
                  <a:cubicBezTo>
                    <a:pt x="541" y="284"/>
                    <a:pt x="501" y="359"/>
                    <a:pt x="519" y="436"/>
                  </a:cubicBezTo>
                  <a:cubicBezTo>
                    <a:pt x="537" y="513"/>
                    <a:pt x="605" y="563"/>
                    <a:pt x="672" y="548"/>
                  </a:cubicBezTo>
                  <a:close/>
                  <a:moveTo>
                    <a:pt x="1317" y="517"/>
                  </a:moveTo>
                  <a:cubicBezTo>
                    <a:pt x="1265" y="472"/>
                    <a:pt x="1181" y="485"/>
                    <a:pt x="1130" y="546"/>
                  </a:cubicBezTo>
                  <a:cubicBezTo>
                    <a:pt x="1079" y="606"/>
                    <a:pt x="1079" y="690"/>
                    <a:pt x="1131" y="735"/>
                  </a:cubicBezTo>
                  <a:cubicBezTo>
                    <a:pt x="1183" y="779"/>
                    <a:pt x="1267" y="766"/>
                    <a:pt x="1318" y="706"/>
                  </a:cubicBezTo>
                  <a:cubicBezTo>
                    <a:pt x="1369" y="645"/>
                    <a:pt x="1369" y="561"/>
                    <a:pt x="1317" y="517"/>
                  </a:cubicBezTo>
                  <a:close/>
                  <a:moveTo>
                    <a:pt x="950" y="548"/>
                  </a:moveTo>
                  <a:cubicBezTo>
                    <a:pt x="1016" y="563"/>
                    <a:pt x="1085" y="513"/>
                    <a:pt x="1102" y="436"/>
                  </a:cubicBezTo>
                  <a:cubicBezTo>
                    <a:pt x="1120" y="359"/>
                    <a:pt x="1081" y="284"/>
                    <a:pt x="1014" y="269"/>
                  </a:cubicBezTo>
                  <a:cubicBezTo>
                    <a:pt x="948" y="254"/>
                    <a:pt x="880" y="304"/>
                    <a:pt x="862" y="381"/>
                  </a:cubicBezTo>
                  <a:cubicBezTo>
                    <a:pt x="844" y="458"/>
                    <a:pt x="883" y="533"/>
                    <a:pt x="950" y="548"/>
                  </a:cubicBezTo>
                  <a:close/>
                  <a:moveTo>
                    <a:pt x="1086" y="823"/>
                  </a:moveTo>
                  <a:cubicBezTo>
                    <a:pt x="1059" y="696"/>
                    <a:pt x="946" y="601"/>
                    <a:pt x="811" y="601"/>
                  </a:cubicBezTo>
                  <a:cubicBezTo>
                    <a:pt x="676" y="601"/>
                    <a:pt x="563" y="696"/>
                    <a:pt x="536" y="823"/>
                  </a:cubicBezTo>
                  <a:cubicBezTo>
                    <a:pt x="453" y="872"/>
                    <a:pt x="397" y="962"/>
                    <a:pt x="397" y="1065"/>
                  </a:cubicBezTo>
                  <a:cubicBezTo>
                    <a:pt x="397" y="1220"/>
                    <a:pt x="523" y="1346"/>
                    <a:pt x="679" y="1346"/>
                  </a:cubicBezTo>
                  <a:cubicBezTo>
                    <a:pt x="726" y="1346"/>
                    <a:pt x="771" y="1334"/>
                    <a:pt x="811" y="1313"/>
                  </a:cubicBezTo>
                  <a:cubicBezTo>
                    <a:pt x="850" y="1334"/>
                    <a:pt x="895" y="1346"/>
                    <a:pt x="943" y="1346"/>
                  </a:cubicBezTo>
                  <a:cubicBezTo>
                    <a:pt x="1098" y="1346"/>
                    <a:pt x="1224" y="1220"/>
                    <a:pt x="1224" y="1065"/>
                  </a:cubicBezTo>
                  <a:cubicBezTo>
                    <a:pt x="1224" y="962"/>
                    <a:pt x="1169" y="872"/>
                    <a:pt x="1086" y="823"/>
                  </a:cubicBezTo>
                  <a:close/>
                  <a:moveTo>
                    <a:pt x="1621" y="811"/>
                  </a:moveTo>
                  <a:cubicBezTo>
                    <a:pt x="1621" y="1258"/>
                    <a:pt x="1258" y="1621"/>
                    <a:pt x="811" y="1621"/>
                  </a:cubicBezTo>
                  <a:cubicBezTo>
                    <a:pt x="364" y="1621"/>
                    <a:pt x="0" y="1258"/>
                    <a:pt x="0" y="811"/>
                  </a:cubicBezTo>
                  <a:cubicBezTo>
                    <a:pt x="0" y="364"/>
                    <a:pt x="364" y="0"/>
                    <a:pt x="811" y="0"/>
                  </a:cubicBezTo>
                  <a:cubicBezTo>
                    <a:pt x="1258" y="0"/>
                    <a:pt x="1621" y="364"/>
                    <a:pt x="1621" y="811"/>
                  </a:cubicBezTo>
                  <a:close/>
                  <a:moveTo>
                    <a:pt x="1502" y="811"/>
                  </a:moveTo>
                  <a:cubicBezTo>
                    <a:pt x="1502" y="429"/>
                    <a:pt x="1192" y="119"/>
                    <a:pt x="811" y="119"/>
                  </a:cubicBezTo>
                  <a:cubicBezTo>
                    <a:pt x="429" y="119"/>
                    <a:pt x="119" y="429"/>
                    <a:pt x="119" y="811"/>
                  </a:cubicBezTo>
                  <a:cubicBezTo>
                    <a:pt x="119" y="1192"/>
                    <a:pt x="429" y="1502"/>
                    <a:pt x="811" y="1502"/>
                  </a:cubicBezTo>
                  <a:cubicBezTo>
                    <a:pt x="1192" y="1502"/>
                    <a:pt x="1502" y="1192"/>
                    <a:pt x="1502" y="811"/>
                  </a:cubicBezTo>
                  <a:close/>
                  <a:moveTo>
                    <a:pt x="1502" y="811"/>
                  </a:moveTo>
                  <a:cubicBezTo>
                    <a:pt x="1502" y="811"/>
                    <a:pt x="1502" y="811"/>
                    <a:pt x="1502" y="81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6" name="ïṥļïḓé">
              <a:extLst>
                <a:ext uri="{FF2B5EF4-FFF2-40B4-BE49-F238E27FC236}">
                  <a16:creationId xmlns:a16="http://schemas.microsoft.com/office/drawing/2014/main" id="{DCCF6B3A-6252-4F32-B092-9EBEDBCE3F42}"/>
                </a:ext>
              </a:extLst>
            </p:cNvPr>
            <p:cNvSpPr/>
            <p:nvPr/>
          </p:nvSpPr>
          <p:spPr bwMode="auto">
            <a:xfrm>
              <a:off x="5427780" y="3034863"/>
              <a:ext cx="390768" cy="358923"/>
            </a:xfrm>
            <a:custGeom>
              <a:avLst/>
              <a:gdLst>
                <a:gd name="T0" fmla="*/ 19 w 189"/>
                <a:gd name="T1" fmla="*/ 0 h 174"/>
                <a:gd name="T2" fmla="*/ 0 w 189"/>
                <a:gd name="T3" fmla="*/ 174 h 174"/>
                <a:gd name="T4" fmla="*/ 189 w 189"/>
                <a:gd name="T5" fmla="*/ 174 h 174"/>
                <a:gd name="T6" fmla="*/ 166 w 189"/>
                <a:gd name="T7" fmla="*/ 0 h 174"/>
                <a:gd name="T8" fmla="*/ 19 w 189"/>
                <a:gd name="T9" fmla="*/ 0 h 174"/>
                <a:gd name="T10" fmla="*/ 78 w 189"/>
                <a:gd name="T11" fmla="*/ 101 h 174"/>
                <a:gd name="T12" fmla="*/ 78 w 189"/>
                <a:gd name="T13" fmla="*/ 55 h 174"/>
                <a:gd name="T14" fmla="*/ 89 w 189"/>
                <a:gd name="T15" fmla="*/ 44 h 174"/>
                <a:gd name="T16" fmla="*/ 100 w 189"/>
                <a:gd name="T17" fmla="*/ 55 h 174"/>
                <a:gd name="T18" fmla="*/ 100 w 189"/>
                <a:gd name="T19" fmla="*/ 62 h 174"/>
                <a:gd name="T20" fmla="*/ 122 w 189"/>
                <a:gd name="T21" fmla="*/ 62 h 174"/>
                <a:gd name="T22" fmla="*/ 127 w 189"/>
                <a:gd name="T23" fmla="*/ 67 h 174"/>
                <a:gd name="T24" fmla="*/ 122 w 189"/>
                <a:gd name="T25" fmla="*/ 72 h 174"/>
                <a:gd name="T26" fmla="*/ 111 w 189"/>
                <a:gd name="T27" fmla="*/ 72 h 174"/>
                <a:gd name="T28" fmla="*/ 100 w 189"/>
                <a:gd name="T29" fmla="*/ 72 h 174"/>
                <a:gd name="T30" fmla="*/ 100 w 189"/>
                <a:gd name="T31" fmla="*/ 88 h 174"/>
                <a:gd name="T32" fmla="*/ 135 w 189"/>
                <a:gd name="T33" fmla="*/ 88 h 174"/>
                <a:gd name="T34" fmla="*/ 135 w 189"/>
                <a:gd name="T35" fmla="*/ 88 h 174"/>
                <a:gd name="T36" fmla="*/ 136 w 189"/>
                <a:gd name="T37" fmla="*/ 88 h 174"/>
                <a:gd name="T38" fmla="*/ 136 w 189"/>
                <a:gd name="T39" fmla="*/ 88 h 174"/>
                <a:gd name="T40" fmla="*/ 136 w 189"/>
                <a:gd name="T41" fmla="*/ 88 h 174"/>
                <a:gd name="T42" fmla="*/ 140 w 189"/>
                <a:gd name="T43" fmla="*/ 91 h 174"/>
                <a:gd name="T44" fmla="*/ 154 w 189"/>
                <a:gd name="T45" fmla="*/ 132 h 174"/>
                <a:gd name="T46" fmla="*/ 150 w 189"/>
                <a:gd name="T47" fmla="*/ 139 h 174"/>
                <a:gd name="T48" fmla="*/ 148 w 189"/>
                <a:gd name="T49" fmla="*/ 139 h 174"/>
                <a:gd name="T50" fmla="*/ 143 w 189"/>
                <a:gd name="T51" fmla="*/ 136 h 174"/>
                <a:gd name="T52" fmla="*/ 132 w 189"/>
                <a:gd name="T53" fmla="*/ 102 h 174"/>
                <a:gd name="T54" fmla="*/ 78 w 189"/>
                <a:gd name="T55" fmla="*/ 102 h 174"/>
                <a:gd name="T56" fmla="*/ 78 w 189"/>
                <a:gd name="T57" fmla="*/ 101 h 174"/>
                <a:gd name="T58" fmla="*/ 103 w 189"/>
                <a:gd name="T59" fmla="*/ 78 h 174"/>
                <a:gd name="T60" fmla="*/ 103 w 189"/>
                <a:gd name="T61" fmla="*/ 78 h 174"/>
                <a:gd name="T62" fmla="*/ 103 w 189"/>
                <a:gd name="T63" fmla="*/ 75 h 174"/>
                <a:gd name="T64" fmla="*/ 103 w 189"/>
                <a:gd name="T65" fmla="*/ 75 h 174"/>
                <a:gd name="T66" fmla="*/ 103 w 189"/>
                <a:gd name="T67" fmla="*/ 78 h 174"/>
                <a:gd name="T68" fmla="*/ 91 w 189"/>
                <a:gd name="T69" fmla="*/ 17 h 174"/>
                <a:gd name="T70" fmla="*/ 103 w 189"/>
                <a:gd name="T71" fmla="*/ 28 h 174"/>
                <a:gd name="T72" fmla="*/ 91 w 189"/>
                <a:gd name="T73" fmla="*/ 40 h 174"/>
                <a:gd name="T74" fmla="*/ 80 w 189"/>
                <a:gd name="T75" fmla="*/ 28 h 174"/>
                <a:gd name="T76" fmla="*/ 91 w 189"/>
                <a:gd name="T77" fmla="*/ 17 h 174"/>
                <a:gd name="T78" fmla="*/ 80 w 189"/>
                <a:gd name="T79" fmla="*/ 144 h 174"/>
                <a:gd name="T80" fmla="*/ 38 w 189"/>
                <a:gd name="T81" fmla="*/ 102 h 174"/>
                <a:gd name="T82" fmla="*/ 75 w 189"/>
                <a:gd name="T83" fmla="*/ 60 h 174"/>
                <a:gd name="T84" fmla="*/ 75 w 189"/>
                <a:gd name="T85" fmla="*/ 69 h 174"/>
                <a:gd name="T86" fmla="*/ 47 w 189"/>
                <a:gd name="T87" fmla="*/ 102 h 174"/>
                <a:gd name="T88" fmla="*/ 80 w 189"/>
                <a:gd name="T89" fmla="*/ 135 h 174"/>
                <a:gd name="T90" fmla="*/ 113 w 189"/>
                <a:gd name="T91" fmla="*/ 105 h 174"/>
                <a:gd name="T92" fmla="*/ 123 w 189"/>
                <a:gd name="T93" fmla="*/ 105 h 174"/>
                <a:gd name="T94" fmla="*/ 80 w 189"/>
                <a:gd name="T95" fmla="*/ 144 h 174"/>
                <a:gd name="T96" fmla="*/ 80 w 189"/>
                <a:gd name="T97" fmla="*/ 144 h 174"/>
                <a:gd name="T98" fmla="*/ 80 w 189"/>
                <a:gd name="T99" fmla="*/ 14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9" h="174">
                  <a:moveTo>
                    <a:pt x="19" y="0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189" y="174"/>
                    <a:pt x="189" y="174"/>
                    <a:pt x="189" y="174"/>
                  </a:cubicBezTo>
                  <a:cubicBezTo>
                    <a:pt x="166" y="0"/>
                    <a:pt x="166" y="0"/>
                    <a:pt x="166" y="0"/>
                  </a:cubicBezTo>
                  <a:lnTo>
                    <a:pt x="19" y="0"/>
                  </a:lnTo>
                  <a:close/>
                  <a:moveTo>
                    <a:pt x="78" y="101"/>
                  </a:moveTo>
                  <a:cubicBezTo>
                    <a:pt x="78" y="55"/>
                    <a:pt x="78" y="55"/>
                    <a:pt x="78" y="55"/>
                  </a:cubicBezTo>
                  <a:cubicBezTo>
                    <a:pt x="78" y="49"/>
                    <a:pt x="83" y="44"/>
                    <a:pt x="89" y="44"/>
                  </a:cubicBezTo>
                  <a:cubicBezTo>
                    <a:pt x="95" y="44"/>
                    <a:pt x="100" y="49"/>
                    <a:pt x="100" y="55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5" y="62"/>
                    <a:pt x="127" y="64"/>
                    <a:pt x="127" y="67"/>
                  </a:cubicBezTo>
                  <a:cubicBezTo>
                    <a:pt x="127" y="70"/>
                    <a:pt x="125" y="72"/>
                    <a:pt x="122" y="72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6" y="88"/>
                  </a:cubicBezTo>
                  <a:cubicBezTo>
                    <a:pt x="136" y="88"/>
                    <a:pt x="136" y="88"/>
                    <a:pt x="136" y="88"/>
                  </a:cubicBezTo>
                  <a:cubicBezTo>
                    <a:pt x="136" y="88"/>
                    <a:pt x="136" y="88"/>
                    <a:pt x="136" y="88"/>
                  </a:cubicBezTo>
                  <a:cubicBezTo>
                    <a:pt x="138" y="88"/>
                    <a:pt x="140" y="89"/>
                    <a:pt x="140" y="91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55" y="135"/>
                    <a:pt x="153" y="138"/>
                    <a:pt x="150" y="139"/>
                  </a:cubicBezTo>
                  <a:cubicBezTo>
                    <a:pt x="150" y="139"/>
                    <a:pt x="149" y="139"/>
                    <a:pt x="148" y="139"/>
                  </a:cubicBezTo>
                  <a:cubicBezTo>
                    <a:pt x="146" y="139"/>
                    <a:pt x="144" y="138"/>
                    <a:pt x="143" y="136"/>
                  </a:cubicBezTo>
                  <a:cubicBezTo>
                    <a:pt x="132" y="102"/>
                    <a:pt x="132" y="102"/>
                    <a:pt x="132" y="102"/>
                  </a:cubicBezTo>
                  <a:cubicBezTo>
                    <a:pt x="78" y="102"/>
                    <a:pt x="78" y="102"/>
                    <a:pt x="78" y="102"/>
                  </a:cubicBezTo>
                  <a:lnTo>
                    <a:pt x="78" y="101"/>
                  </a:lnTo>
                  <a:close/>
                  <a:moveTo>
                    <a:pt x="103" y="78"/>
                  </a:moveTo>
                  <a:cubicBezTo>
                    <a:pt x="103" y="78"/>
                    <a:pt x="103" y="78"/>
                    <a:pt x="103" y="78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03" y="75"/>
                    <a:pt x="103" y="75"/>
                    <a:pt x="103" y="75"/>
                  </a:cubicBezTo>
                  <a:lnTo>
                    <a:pt x="103" y="78"/>
                  </a:lnTo>
                  <a:close/>
                  <a:moveTo>
                    <a:pt x="91" y="17"/>
                  </a:moveTo>
                  <a:cubicBezTo>
                    <a:pt x="98" y="17"/>
                    <a:pt x="103" y="22"/>
                    <a:pt x="103" y="28"/>
                  </a:cubicBezTo>
                  <a:cubicBezTo>
                    <a:pt x="103" y="35"/>
                    <a:pt x="98" y="40"/>
                    <a:pt x="91" y="40"/>
                  </a:cubicBezTo>
                  <a:cubicBezTo>
                    <a:pt x="85" y="40"/>
                    <a:pt x="80" y="35"/>
                    <a:pt x="80" y="28"/>
                  </a:cubicBezTo>
                  <a:cubicBezTo>
                    <a:pt x="80" y="22"/>
                    <a:pt x="85" y="17"/>
                    <a:pt x="91" y="17"/>
                  </a:cubicBezTo>
                  <a:close/>
                  <a:moveTo>
                    <a:pt x="80" y="144"/>
                  </a:moveTo>
                  <a:cubicBezTo>
                    <a:pt x="57" y="144"/>
                    <a:pt x="38" y="125"/>
                    <a:pt x="38" y="102"/>
                  </a:cubicBezTo>
                  <a:cubicBezTo>
                    <a:pt x="38" y="80"/>
                    <a:pt x="54" y="62"/>
                    <a:pt x="75" y="60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59" y="72"/>
                    <a:pt x="47" y="85"/>
                    <a:pt x="47" y="102"/>
                  </a:cubicBezTo>
                  <a:cubicBezTo>
                    <a:pt x="47" y="120"/>
                    <a:pt x="62" y="135"/>
                    <a:pt x="80" y="135"/>
                  </a:cubicBezTo>
                  <a:cubicBezTo>
                    <a:pt x="97" y="135"/>
                    <a:pt x="111" y="122"/>
                    <a:pt x="113" y="105"/>
                  </a:cubicBezTo>
                  <a:cubicBezTo>
                    <a:pt x="123" y="105"/>
                    <a:pt x="123" y="105"/>
                    <a:pt x="123" y="105"/>
                  </a:cubicBezTo>
                  <a:cubicBezTo>
                    <a:pt x="121" y="127"/>
                    <a:pt x="103" y="144"/>
                    <a:pt x="80" y="144"/>
                  </a:cubicBezTo>
                  <a:close/>
                  <a:moveTo>
                    <a:pt x="80" y="144"/>
                  </a:moveTo>
                  <a:cubicBezTo>
                    <a:pt x="80" y="144"/>
                    <a:pt x="80" y="144"/>
                    <a:pt x="80" y="1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27" name="îşḻíḍê">
              <a:extLst>
                <a:ext uri="{FF2B5EF4-FFF2-40B4-BE49-F238E27FC236}">
                  <a16:creationId xmlns:a16="http://schemas.microsoft.com/office/drawing/2014/main" id="{016C89A6-3D84-4C75-BC30-E8605A1519B9}"/>
                </a:ext>
              </a:extLst>
            </p:cNvPr>
            <p:cNvSpPr/>
            <p:nvPr/>
          </p:nvSpPr>
          <p:spPr bwMode="auto">
            <a:xfrm>
              <a:off x="6415125" y="3038878"/>
              <a:ext cx="390765" cy="350893"/>
            </a:xfrm>
            <a:custGeom>
              <a:avLst/>
              <a:gdLst>
                <a:gd name="connsiteX0" fmla="*/ 243830 w 508000"/>
                <a:gd name="connsiteY0" fmla="*/ 161416 h 456163"/>
                <a:gd name="connsiteX1" fmla="*/ 275464 w 508000"/>
                <a:gd name="connsiteY1" fmla="*/ 161416 h 456163"/>
                <a:gd name="connsiteX2" fmla="*/ 290970 w 508000"/>
                <a:gd name="connsiteY2" fmla="*/ 161416 h 456163"/>
                <a:gd name="connsiteX3" fmla="*/ 303996 w 508000"/>
                <a:gd name="connsiteY3" fmla="*/ 164526 h 456163"/>
                <a:gd name="connsiteX4" fmla="*/ 312990 w 508000"/>
                <a:gd name="connsiteY4" fmla="*/ 173544 h 456163"/>
                <a:gd name="connsiteX5" fmla="*/ 316401 w 508000"/>
                <a:gd name="connsiteY5" fmla="*/ 189714 h 456163"/>
                <a:gd name="connsiteX6" fmla="*/ 312990 w 508000"/>
                <a:gd name="connsiteY6" fmla="*/ 205884 h 456163"/>
                <a:gd name="connsiteX7" fmla="*/ 304306 w 508000"/>
                <a:gd name="connsiteY7" fmla="*/ 214591 h 456163"/>
                <a:gd name="connsiteX8" fmla="*/ 291280 w 508000"/>
                <a:gd name="connsiteY8" fmla="*/ 218633 h 456163"/>
                <a:gd name="connsiteX9" fmla="*/ 275464 w 508000"/>
                <a:gd name="connsiteY9" fmla="*/ 218633 h 456163"/>
                <a:gd name="connsiteX10" fmla="*/ 243830 w 508000"/>
                <a:gd name="connsiteY10" fmla="*/ 218633 h 456163"/>
                <a:gd name="connsiteX11" fmla="*/ 243830 w 508000"/>
                <a:gd name="connsiteY11" fmla="*/ 161416 h 456163"/>
                <a:gd name="connsiteX12" fmla="*/ 196270 w 508000"/>
                <a:gd name="connsiteY12" fmla="*/ 123587 h 456163"/>
                <a:gd name="connsiteX13" fmla="*/ 196270 w 508000"/>
                <a:gd name="connsiteY13" fmla="*/ 332576 h 456163"/>
                <a:gd name="connsiteX14" fmla="*/ 243792 w 508000"/>
                <a:gd name="connsiteY14" fmla="*/ 332576 h 456163"/>
                <a:gd name="connsiteX15" fmla="*/ 243792 w 508000"/>
                <a:gd name="connsiteY15" fmla="*/ 256495 h 456163"/>
                <a:gd name="connsiteX16" fmla="*/ 288208 w 508000"/>
                <a:gd name="connsiteY16" fmla="*/ 256495 h 456163"/>
                <a:gd name="connsiteX17" fmla="*/ 322063 w 508000"/>
                <a:gd name="connsiteY17" fmla="*/ 251527 h 456163"/>
                <a:gd name="connsiteX18" fmla="*/ 344737 w 508000"/>
                <a:gd name="connsiteY18" fmla="*/ 236932 h 456163"/>
                <a:gd name="connsiteX19" fmla="*/ 357782 w 508000"/>
                <a:gd name="connsiteY19" fmla="*/ 215194 h 456163"/>
                <a:gd name="connsiteX20" fmla="*/ 361509 w 508000"/>
                <a:gd name="connsiteY20" fmla="*/ 190041 h 456163"/>
                <a:gd name="connsiteX21" fmla="*/ 357782 w 508000"/>
                <a:gd name="connsiteY21" fmla="*/ 164888 h 456163"/>
                <a:gd name="connsiteX22" fmla="*/ 344737 w 508000"/>
                <a:gd name="connsiteY22" fmla="*/ 143461 h 456163"/>
                <a:gd name="connsiteX23" fmla="*/ 322063 w 508000"/>
                <a:gd name="connsiteY23" fmla="*/ 128555 h 456163"/>
                <a:gd name="connsiteX24" fmla="*/ 288208 w 508000"/>
                <a:gd name="connsiteY24" fmla="*/ 123587 h 456163"/>
                <a:gd name="connsiteX25" fmla="*/ 196270 w 508000"/>
                <a:gd name="connsiteY25" fmla="*/ 123587 h 456163"/>
                <a:gd name="connsiteX26" fmla="*/ 151233 w 508000"/>
                <a:gd name="connsiteY26" fmla="*/ 47506 h 456163"/>
                <a:gd name="connsiteX27" fmla="*/ 356850 w 508000"/>
                <a:gd name="connsiteY27" fmla="*/ 47506 h 456163"/>
                <a:gd name="connsiteX28" fmla="*/ 459969 w 508000"/>
                <a:gd name="connsiteY28" fmla="*/ 227926 h 456163"/>
                <a:gd name="connsiteX29" fmla="*/ 356850 w 508000"/>
                <a:gd name="connsiteY29" fmla="*/ 408657 h 456163"/>
                <a:gd name="connsiteX30" fmla="*/ 151233 w 508000"/>
                <a:gd name="connsiteY30" fmla="*/ 408657 h 456163"/>
                <a:gd name="connsiteX31" fmla="*/ 48425 w 508000"/>
                <a:gd name="connsiteY31" fmla="*/ 227926 h 456163"/>
                <a:gd name="connsiteX32" fmla="*/ 151233 w 508000"/>
                <a:gd name="connsiteY32" fmla="*/ 47506 h 456163"/>
                <a:gd name="connsiteX33" fmla="*/ 137925 w 508000"/>
                <a:gd name="connsiteY33" fmla="*/ 18897 h 456163"/>
                <a:gd name="connsiteX34" fmla="*/ 21785 w 508000"/>
                <a:gd name="connsiteY34" fmla="*/ 227950 h 456163"/>
                <a:gd name="connsiteX35" fmla="*/ 137925 w 508000"/>
                <a:gd name="connsiteY35" fmla="*/ 437266 h 456163"/>
                <a:gd name="connsiteX36" fmla="*/ 370206 w 508000"/>
                <a:gd name="connsiteY36" fmla="*/ 437266 h 456163"/>
                <a:gd name="connsiteX37" fmla="*/ 485691 w 508000"/>
                <a:gd name="connsiteY37" fmla="*/ 227950 h 456163"/>
                <a:gd name="connsiteX38" fmla="*/ 368894 w 508000"/>
                <a:gd name="connsiteY38" fmla="*/ 18897 h 456163"/>
                <a:gd name="connsiteX39" fmla="*/ 126770 w 508000"/>
                <a:gd name="connsiteY39" fmla="*/ 0 h 456163"/>
                <a:gd name="connsiteX40" fmla="*/ 381361 w 508000"/>
                <a:gd name="connsiteY40" fmla="*/ 0 h 456163"/>
                <a:gd name="connsiteX41" fmla="*/ 387004 w 508000"/>
                <a:gd name="connsiteY41" fmla="*/ 9580 h 456163"/>
                <a:gd name="connsiteX42" fmla="*/ 503145 w 508000"/>
                <a:gd name="connsiteY42" fmla="*/ 218895 h 456163"/>
                <a:gd name="connsiteX43" fmla="*/ 508000 w 508000"/>
                <a:gd name="connsiteY43" fmla="*/ 227950 h 456163"/>
                <a:gd name="connsiteX44" fmla="*/ 503145 w 508000"/>
                <a:gd name="connsiteY44" fmla="*/ 237268 h 456163"/>
                <a:gd name="connsiteX45" fmla="*/ 387004 w 508000"/>
                <a:gd name="connsiteY45" fmla="*/ 446321 h 456163"/>
                <a:gd name="connsiteX46" fmla="*/ 381361 w 508000"/>
                <a:gd name="connsiteY46" fmla="*/ 456163 h 456163"/>
                <a:gd name="connsiteX47" fmla="*/ 126770 w 508000"/>
                <a:gd name="connsiteY47" fmla="*/ 456163 h 456163"/>
                <a:gd name="connsiteX48" fmla="*/ 121390 w 508000"/>
                <a:gd name="connsiteY48" fmla="*/ 446321 h 456163"/>
                <a:gd name="connsiteX49" fmla="*/ 5249 w 508000"/>
                <a:gd name="connsiteY49" fmla="*/ 237268 h 456163"/>
                <a:gd name="connsiteX50" fmla="*/ 0 w 508000"/>
                <a:gd name="connsiteY50" fmla="*/ 227950 h 456163"/>
                <a:gd name="connsiteX51" fmla="*/ 4987 w 508000"/>
                <a:gd name="connsiteY51" fmla="*/ 218895 h 456163"/>
                <a:gd name="connsiteX52" fmla="*/ 121390 w 508000"/>
                <a:gd name="connsiteY52" fmla="*/ 9580 h 45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08000" h="456163">
                  <a:moveTo>
                    <a:pt x="243830" y="161416"/>
                  </a:moveTo>
                  <a:cubicBezTo>
                    <a:pt x="243830" y="161416"/>
                    <a:pt x="243830" y="161416"/>
                    <a:pt x="275464" y="161416"/>
                  </a:cubicBezTo>
                  <a:cubicBezTo>
                    <a:pt x="281046" y="161416"/>
                    <a:pt x="290970" y="161416"/>
                    <a:pt x="290970" y="161416"/>
                  </a:cubicBezTo>
                  <a:cubicBezTo>
                    <a:pt x="290970" y="161416"/>
                    <a:pt x="299034" y="161416"/>
                    <a:pt x="303996" y="164526"/>
                  </a:cubicBezTo>
                  <a:cubicBezTo>
                    <a:pt x="307717" y="166702"/>
                    <a:pt x="310819" y="169501"/>
                    <a:pt x="312990" y="173544"/>
                  </a:cubicBezTo>
                  <a:cubicBezTo>
                    <a:pt x="315471" y="177897"/>
                    <a:pt x="316401" y="183183"/>
                    <a:pt x="316401" y="189714"/>
                  </a:cubicBezTo>
                  <a:cubicBezTo>
                    <a:pt x="316401" y="196555"/>
                    <a:pt x="315471" y="201841"/>
                    <a:pt x="312990" y="205884"/>
                  </a:cubicBezTo>
                  <a:cubicBezTo>
                    <a:pt x="310819" y="210237"/>
                    <a:pt x="308338" y="212414"/>
                    <a:pt x="304306" y="214591"/>
                  </a:cubicBezTo>
                  <a:cubicBezTo>
                    <a:pt x="299034" y="218011"/>
                    <a:pt x="291280" y="218633"/>
                    <a:pt x="291280" y="218633"/>
                  </a:cubicBezTo>
                  <a:cubicBezTo>
                    <a:pt x="291280" y="218633"/>
                    <a:pt x="281046" y="218633"/>
                    <a:pt x="275464" y="218633"/>
                  </a:cubicBezTo>
                  <a:cubicBezTo>
                    <a:pt x="275464" y="218633"/>
                    <a:pt x="275464" y="218633"/>
                    <a:pt x="243830" y="218633"/>
                  </a:cubicBezTo>
                  <a:cubicBezTo>
                    <a:pt x="243830" y="218633"/>
                    <a:pt x="243830" y="218633"/>
                    <a:pt x="243830" y="161416"/>
                  </a:cubicBezTo>
                  <a:close/>
                  <a:moveTo>
                    <a:pt x="196270" y="123587"/>
                  </a:moveTo>
                  <a:cubicBezTo>
                    <a:pt x="196270" y="123587"/>
                    <a:pt x="196270" y="123587"/>
                    <a:pt x="196270" y="332576"/>
                  </a:cubicBezTo>
                  <a:cubicBezTo>
                    <a:pt x="196270" y="332576"/>
                    <a:pt x="196270" y="332576"/>
                    <a:pt x="243792" y="332576"/>
                  </a:cubicBezTo>
                  <a:cubicBezTo>
                    <a:pt x="243792" y="332576"/>
                    <a:pt x="243792" y="332576"/>
                    <a:pt x="243792" y="256495"/>
                  </a:cubicBezTo>
                  <a:cubicBezTo>
                    <a:pt x="243792" y="256495"/>
                    <a:pt x="243792" y="256495"/>
                    <a:pt x="288208" y="256495"/>
                  </a:cubicBezTo>
                  <a:cubicBezTo>
                    <a:pt x="301564" y="256495"/>
                    <a:pt x="312745" y="255253"/>
                    <a:pt x="322063" y="251527"/>
                  </a:cubicBezTo>
                  <a:cubicBezTo>
                    <a:pt x="331381" y="247800"/>
                    <a:pt x="339146" y="243453"/>
                    <a:pt x="344737" y="236932"/>
                  </a:cubicBezTo>
                  <a:cubicBezTo>
                    <a:pt x="350638" y="230721"/>
                    <a:pt x="354987" y="223268"/>
                    <a:pt x="357782" y="215194"/>
                  </a:cubicBezTo>
                  <a:cubicBezTo>
                    <a:pt x="360267" y="207121"/>
                    <a:pt x="361509" y="198736"/>
                    <a:pt x="361509" y="190041"/>
                  </a:cubicBezTo>
                  <a:cubicBezTo>
                    <a:pt x="361509" y="181346"/>
                    <a:pt x="360267" y="173272"/>
                    <a:pt x="357782" y="164888"/>
                  </a:cubicBezTo>
                  <a:cubicBezTo>
                    <a:pt x="354987" y="156814"/>
                    <a:pt x="350638" y="149982"/>
                    <a:pt x="344737" y="143461"/>
                  </a:cubicBezTo>
                  <a:cubicBezTo>
                    <a:pt x="339146" y="137250"/>
                    <a:pt x="331381" y="132592"/>
                    <a:pt x="322063" y="128555"/>
                  </a:cubicBezTo>
                  <a:cubicBezTo>
                    <a:pt x="312745" y="124829"/>
                    <a:pt x="301564" y="123587"/>
                    <a:pt x="288208" y="123587"/>
                  </a:cubicBezTo>
                  <a:cubicBezTo>
                    <a:pt x="288208" y="123587"/>
                    <a:pt x="288208" y="123587"/>
                    <a:pt x="196270" y="123587"/>
                  </a:cubicBezTo>
                  <a:close/>
                  <a:moveTo>
                    <a:pt x="151233" y="47506"/>
                  </a:moveTo>
                  <a:cubicBezTo>
                    <a:pt x="151233" y="47506"/>
                    <a:pt x="151233" y="47506"/>
                    <a:pt x="356850" y="47506"/>
                  </a:cubicBezTo>
                  <a:cubicBezTo>
                    <a:pt x="356850" y="47506"/>
                    <a:pt x="356850" y="47506"/>
                    <a:pt x="459969" y="227926"/>
                  </a:cubicBezTo>
                  <a:cubicBezTo>
                    <a:pt x="459969" y="227926"/>
                    <a:pt x="459969" y="227926"/>
                    <a:pt x="356850" y="408657"/>
                  </a:cubicBezTo>
                  <a:lnTo>
                    <a:pt x="151233" y="408657"/>
                  </a:lnTo>
                  <a:cubicBezTo>
                    <a:pt x="151233" y="408657"/>
                    <a:pt x="151233" y="408657"/>
                    <a:pt x="48425" y="227926"/>
                  </a:cubicBezTo>
                  <a:cubicBezTo>
                    <a:pt x="48425" y="227926"/>
                    <a:pt x="48425" y="227926"/>
                    <a:pt x="151233" y="47506"/>
                  </a:cubicBezTo>
                  <a:close/>
                  <a:moveTo>
                    <a:pt x="137925" y="18897"/>
                  </a:moveTo>
                  <a:lnTo>
                    <a:pt x="21785" y="227950"/>
                  </a:lnTo>
                  <a:lnTo>
                    <a:pt x="137925" y="437266"/>
                  </a:lnTo>
                  <a:lnTo>
                    <a:pt x="370206" y="437266"/>
                  </a:lnTo>
                  <a:lnTo>
                    <a:pt x="485691" y="227950"/>
                  </a:lnTo>
                  <a:lnTo>
                    <a:pt x="368894" y="18897"/>
                  </a:lnTo>
                  <a:close/>
                  <a:moveTo>
                    <a:pt x="126770" y="0"/>
                  </a:moveTo>
                  <a:lnTo>
                    <a:pt x="381361" y="0"/>
                  </a:lnTo>
                  <a:lnTo>
                    <a:pt x="387004" y="9580"/>
                  </a:lnTo>
                  <a:lnTo>
                    <a:pt x="503145" y="218895"/>
                  </a:lnTo>
                  <a:lnTo>
                    <a:pt x="508000" y="227950"/>
                  </a:lnTo>
                  <a:lnTo>
                    <a:pt x="503145" y="237268"/>
                  </a:lnTo>
                  <a:lnTo>
                    <a:pt x="387004" y="446321"/>
                  </a:lnTo>
                  <a:lnTo>
                    <a:pt x="381361" y="456163"/>
                  </a:lnTo>
                  <a:lnTo>
                    <a:pt x="126770" y="456163"/>
                  </a:lnTo>
                  <a:lnTo>
                    <a:pt x="121390" y="446321"/>
                  </a:lnTo>
                  <a:lnTo>
                    <a:pt x="5249" y="237268"/>
                  </a:lnTo>
                  <a:lnTo>
                    <a:pt x="0" y="227950"/>
                  </a:lnTo>
                  <a:lnTo>
                    <a:pt x="4987" y="218895"/>
                  </a:lnTo>
                  <a:lnTo>
                    <a:pt x="121390" y="95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28" name="i$1ïḍè">
              <a:extLst>
                <a:ext uri="{FF2B5EF4-FFF2-40B4-BE49-F238E27FC236}">
                  <a16:creationId xmlns:a16="http://schemas.microsoft.com/office/drawing/2014/main" id="{BD9D1F76-D6C6-47C5-A9FC-017994A780B2}"/>
                </a:ext>
              </a:extLst>
            </p:cNvPr>
            <p:cNvSpPr txBox="1"/>
            <p:nvPr/>
          </p:nvSpPr>
          <p:spPr>
            <a:xfrm>
              <a:off x="7075197" y="1900701"/>
              <a:ext cx="3370562" cy="42709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867" b="1" dirty="0"/>
                <a:t>Text here</a:t>
              </a:r>
              <a:endParaRPr lang="zh-CN" altLang="en-US" sz="1867" b="1" dirty="0"/>
            </a:p>
          </p:txBody>
        </p:sp>
        <p:sp>
          <p:nvSpPr>
            <p:cNvPr id="29" name="íšľïḑé">
              <a:extLst>
                <a:ext uri="{FF2B5EF4-FFF2-40B4-BE49-F238E27FC236}">
                  <a16:creationId xmlns:a16="http://schemas.microsoft.com/office/drawing/2014/main" id="{96F33675-C6BF-4556-9332-99E344D732EB}"/>
                </a:ext>
              </a:extLst>
            </p:cNvPr>
            <p:cNvSpPr txBox="1"/>
            <p:nvPr/>
          </p:nvSpPr>
          <p:spPr>
            <a:xfrm>
              <a:off x="7075488" y="4543224"/>
              <a:ext cx="3370562" cy="42709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1867" b="1" dirty="0"/>
                <a:t>Text here</a:t>
              </a:r>
              <a:endParaRPr lang="zh-CN" altLang="en-US" sz="1867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5919204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61904" y="1478011"/>
            <a:ext cx="2434096" cy="21163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4434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116CDF-481B-4A58-BE2B-17B20A5AD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5B856CB-ACD6-4073-8659-5F063937D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1864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3569340-392A-4207-B57E-6F42BCD47C55}"/>
              </a:ext>
            </a:extLst>
          </p:cNvPr>
          <p:cNvGrpSpPr>
            <a:grpSpLocks noChangeAspect="1"/>
          </p:cNvGrpSpPr>
          <p:nvPr/>
        </p:nvGrpSpPr>
        <p:grpSpPr>
          <a:xfrm>
            <a:off x="683366" y="1166719"/>
            <a:ext cx="11105814" cy="4960407"/>
            <a:chOff x="683366" y="1166719"/>
            <a:chExt cx="11105815" cy="4960407"/>
          </a:xfrm>
        </p:grpSpPr>
        <p:grpSp>
          <p:nvGrpSpPr>
            <p:cNvPr id="6" name="ïṣļídè">
              <a:extLst>
                <a:ext uri="{FF2B5EF4-FFF2-40B4-BE49-F238E27FC236}">
                  <a16:creationId xmlns:a16="http://schemas.microsoft.com/office/drawing/2014/main" id="{1D79051A-FBCC-429C-85F7-18855FBAB568}"/>
                </a:ext>
              </a:extLst>
            </p:cNvPr>
            <p:cNvGrpSpPr/>
            <p:nvPr/>
          </p:nvGrpSpPr>
          <p:grpSpPr>
            <a:xfrm>
              <a:off x="5826005" y="2303999"/>
              <a:ext cx="5963176" cy="2930599"/>
              <a:chOff x="4079762" y="1988815"/>
              <a:chExt cx="7215703" cy="3546149"/>
            </a:xfrm>
          </p:grpSpPr>
          <p:grpSp>
            <p:nvGrpSpPr>
              <p:cNvPr id="39" name="îṧḻïḑê">
                <a:extLst>
                  <a:ext uri="{FF2B5EF4-FFF2-40B4-BE49-F238E27FC236}">
                    <a16:creationId xmlns:a16="http://schemas.microsoft.com/office/drawing/2014/main" id="{0E84845B-EEFC-47DE-86DA-CD907BE433C9}"/>
                  </a:ext>
                </a:extLst>
              </p:cNvPr>
              <p:cNvGrpSpPr/>
              <p:nvPr/>
            </p:nvGrpSpPr>
            <p:grpSpPr>
              <a:xfrm>
                <a:off x="4079762" y="1988815"/>
                <a:ext cx="7215703" cy="3546149"/>
                <a:chOff x="3011298" y="414885"/>
                <a:chExt cx="5646554" cy="2774951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85" name="îṣļíḋé">
                  <a:extLst>
                    <a:ext uri="{FF2B5EF4-FFF2-40B4-BE49-F238E27FC236}">
                      <a16:creationId xmlns:a16="http://schemas.microsoft.com/office/drawing/2014/main" id="{807BA7E7-E10C-45A5-9C07-09F35921C522}"/>
                    </a:ext>
                  </a:extLst>
                </p:cNvPr>
                <p:cNvSpPr/>
                <p:nvPr/>
              </p:nvSpPr>
              <p:spPr bwMode="auto">
                <a:xfrm>
                  <a:off x="6523058" y="505936"/>
                  <a:ext cx="42023" cy="22413"/>
                </a:xfrm>
                <a:custGeom>
                  <a:avLst/>
                  <a:gdLst>
                    <a:gd name="T0" fmla="*/ 10 w 20"/>
                    <a:gd name="T1" fmla="*/ 0 h 11"/>
                    <a:gd name="T2" fmla="*/ 12 w 20"/>
                    <a:gd name="T3" fmla="*/ 2 h 11"/>
                    <a:gd name="T4" fmla="*/ 16 w 20"/>
                    <a:gd name="T5" fmla="*/ 9 h 11"/>
                    <a:gd name="T6" fmla="*/ 6 w 20"/>
                    <a:gd name="T7" fmla="*/ 6 h 11"/>
                    <a:gd name="T8" fmla="*/ 10 w 20"/>
                    <a:gd name="T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1">
                      <a:moveTo>
                        <a:pt x="10" y="0"/>
                      </a:moveTo>
                      <a:cubicBezTo>
                        <a:pt x="12" y="0"/>
                        <a:pt x="12" y="1"/>
                        <a:pt x="12" y="2"/>
                      </a:cubicBezTo>
                      <a:cubicBezTo>
                        <a:pt x="14" y="5"/>
                        <a:pt x="20" y="5"/>
                        <a:pt x="16" y="9"/>
                      </a:cubicBezTo>
                      <a:cubicBezTo>
                        <a:pt x="10" y="11"/>
                        <a:pt x="13" y="3"/>
                        <a:pt x="6" y="6"/>
                      </a:cubicBezTo>
                      <a:cubicBezTo>
                        <a:pt x="0" y="3"/>
                        <a:pt x="14" y="6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6" name="îšḷïḋê">
                  <a:extLst>
                    <a:ext uri="{FF2B5EF4-FFF2-40B4-BE49-F238E27FC236}">
                      <a16:creationId xmlns:a16="http://schemas.microsoft.com/office/drawing/2014/main" id="{B0DC5780-F9E5-4812-8AC0-131B6B38C0EF}"/>
                    </a:ext>
                  </a:extLst>
                </p:cNvPr>
                <p:cNvSpPr/>
                <p:nvPr/>
              </p:nvSpPr>
              <p:spPr bwMode="auto">
                <a:xfrm>
                  <a:off x="7114188" y="505936"/>
                  <a:ext cx="81245" cy="42023"/>
                </a:xfrm>
                <a:custGeom>
                  <a:avLst/>
                  <a:gdLst>
                    <a:gd name="T0" fmla="*/ 37 w 39"/>
                    <a:gd name="T1" fmla="*/ 15 h 20"/>
                    <a:gd name="T2" fmla="*/ 23 w 39"/>
                    <a:gd name="T3" fmla="*/ 19 h 20"/>
                    <a:gd name="T4" fmla="*/ 4 w 39"/>
                    <a:gd name="T5" fmla="*/ 19 h 20"/>
                    <a:gd name="T6" fmla="*/ 0 w 39"/>
                    <a:gd name="T7" fmla="*/ 15 h 20"/>
                    <a:gd name="T8" fmla="*/ 30 w 39"/>
                    <a:gd name="T9" fmla="*/ 0 h 20"/>
                    <a:gd name="T10" fmla="*/ 36 w 39"/>
                    <a:gd name="T11" fmla="*/ 4 h 20"/>
                    <a:gd name="T12" fmla="*/ 32 w 39"/>
                    <a:gd name="T13" fmla="*/ 6 h 20"/>
                    <a:gd name="T14" fmla="*/ 37 w 39"/>
                    <a:gd name="T15" fmla="*/ 1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9" h="20">
                      <a:moveTo>
                        <a:pt x="37" y="15"/>
                      </a:moveTo>
                      <a:cubicBezTo>
                        <a:pt x="32" y="16"/>
                        <a:pt x="23" y="13"/>
                        <a:pt x="23" y="19"/>
                      </a:cubicBezTo>
                      <a:cubicBezTo>
                        <a:pt x="19" y="16"/>
                        <a:pt x="12" y="20"/>
                        <a:pt x="4" y="19"/>
                      </a:cubicBezTo>
                      <a:cubicBezTo>
                        <a:pt x="5" y="16"/>
                        <a:pt x="2" y="15"/>
                        <a:pt x="0" y="15"/>
                      </a:cubicBezTo>
                      <a:cubicBezTo>
                        <a:pt x="4" y="4"/>
                        <a:pt x="15" y="0"/>
                        <a:pt x="30" y="0"/>
                      </a:cubicBezTo>
                      <a:cubicBezTo>
                        <a:pt x="28" y="5"/>
                        <a:pt x="34" y="2"/>
                        <a:pt x="36" y="4"/>
                      </a:cubicBezTo>
                      <a:cubicBezTo>
                        <a:pt x="37" y="5"/>
                        <a:pt x="32" y="5"/>
                        <a:pt x="32" y="6"/>
                      </a:cubicBezTo>
                      <a:cubicBezTo>
                        <a:pt x="31" y="8"/>
                        <a:pt x="39" y="7"/>
                        <a:pt x="37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7" name="íslïďé">
                  <a:extLst>
                    <a:ext uri="{FF2B5EF4-FFF2-40B4-BE49-F238E27FC236}">
                      <a16:creationId xmlns:a16="http://schemas.microsoft.com/office/drawing/2014/main" id="{787BF279-7788-47D7-BF31-D6183CBDD375}"/>
                    </a:ext>
                  </a:extLst>
                </p:cNvPr>
                <p:cNvSpPr/>
                <p:nvPr/>
              </p:nvSpPr>
              <p:spPr bwMode="auto">
                <a:xfrm>
                  <a:off x="6651930" y="510139"/>
                  <a:ext cx="39222" cy="22413"/>
                </a:xfrm>
                <a:custGeom>
                  <a:avLst/>
                  <a:gdLst>
                    <a:gd name="T0" fmla="*/ 19 w 19"/>
                    <a:gd name="T1" fmla="*/ 2 h 11"/>
                    <a:gd name="T2" fmla="*/ 17 w 19"/>
                    <a:gd name="T3" fmla="*/ 9 h 11"/>
                    <a:gd name="T4" fmla="*/ 10 w 19"/>
                    <a:gd name="T5" fmla="*/ 11 h 11"/>
                    <a:gd name="T6" fmla="*/ 0 w 19"/>
                    <a:gd name="T7" fmla="*/ 6 h 11"/>
                    <a:gd name="T8" fmla="*/ 12 w 19"/>
                    <a:gd name="T9" fmla="*/ 6 h 11"/>
                    <a:gd name="T10" fmla="*/ 19 w 19"/>
                    <a:gd name="T11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11">
                      <a:moveTo>
                        <a:pt x="19" y="2"/>
                      </a:moveTo>
                      <a:cubicBezTo>
                        <a:pt x="18" y="3"/>
                        <a:pt x="17" y="6"/>
                        <a:pt x="17" y="9"/>
                      </a:cubicBezTo>
                      <a:cubicBezTo>
                        <a:pt x="13" y="8"/>
                        <a:pt x="12" y="11"/>
                        <a:pt x="10" y="11"/>
                      </a:cubicBezTo>
                      <a:cubicBezTo>
                        <a:pt x="6" y="9"/>
                        <a:pt x="0" y="11"/>
                        <a:pt x="0" y="6"/>
                      </a:cubicBezTo>
                      <a:cubicBezTo>
                        <a:pt x="6" y="6"/>
                        <a:pt x="8" y="1"/>
                        <a:pt x="12" y="6"/>
                      </a:cubicBezTo>
                      <a:cubicBezTo>
                        <a:pt x="14" y="5"/>
                        <a:pt x="13" y="0"/>
                        <a:pt x="1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8" name="îSḻïḓè">
                  <a:extLst>
                    <a:ext uri="{FF2B5EF4-FFF2-40B4-BE49-F238E27FC236}">
                      <a16:creationId xmlns:a16="http://schemas.microsoft.com/office/drawing/2014/main" id="{9FFE16A0-2B7F-4345-8F13-B933F5500E4A}"/>
                    </a:ext>
                  </a:extLst>
                </p:cNvPr>
                <p:cNvSpPr/>
                <p:nvPr/>
              </p:nvSpPr>
              <p:spPr bwMode="auto">
                <a:xfrm>
                  <a:off x="6402591" y="522746"/>
                  <a:ext cx="50428" cy="26615"/>
                </a:xfrm>
                <a:custGeom>
                  <a:avLst/>
                  <a:gdLst>
                    <a:gd name="T0" fmla="*/ 23 w 24"/>
                    <a:gd name="T1" fmla="*/ 0 h 13"/>
                    <a:gd name="T2" fmla="*/ 20 w 24"/>
                    <a:gd name="T3" fmla="*/ 5 h 13"/>
                    <a:gd name="T4" fmla="*/ 14 w 24"/>
                    <a:gd name="T5" fmla="*/ 11 h 13"/>
                    <a:gd name="T6" fmla="*/ 10 w 24"/>
                    <a:gd name="T7" fmla="*/ 7 h 13"/>
                    <a:gd name="T8" fmla="*/ 5 w 24"/>
                    <a:gd name="T9" fmla="*/ 9 h 13"/>
                    <a:gd name="T10" fmla="*/ 1 w 24"/>
                    <a:gd name="T11" fmla="*/ 5 h 13"/>
                    <a:gd name="T12" fmla="*/ 10 w 24"/>
                    <a:gd name="T13" fmla="*/ 3 h 13"/>
                    <a:gd name="T14" fmla="*/ 10 w 24"/>
                    <a:gd name="T15" fmla="*/ 1 h 13"/>
                    <a:gd name="T16" fmla="*/ 23 w 24"/>
                    <a:gd name="T1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" h="13">
                      <a:moveTo>
                        <a:pt x="23" y="0"/>
                      </a:moveTo>
                      <a:cubicBezTo>
                        <a:pt x="24" y="4"/>
                        <a:pt x="20" y="2"/>
                        <a:pt x="20" y="5"/>
                      </a:cubicBezTo>
                      <a:cubicBezTo>
                        <a:pt x="20" y="6"/>
                        <a:pt x="17" y="10"/>
                        <a:pt x="14" y="11"/>
                      </a:cubicBezTo>
                      <a:cubicBezTo>
                        <a:pt x="10" y="13"/>
                        <a:pt x="11" y="7"/>
                        <a:pt x="10" y="7"/>
                      </a:cubicBezTo>
                      <a:cubicBezTo>
                        <a:pt x="10" y="7"/>
                        <a:pt x="7" y="9"/>
                        <a:pt x="5" y="9"/>
                      </a:cubicBezTo>
                      <a:cubicBezTo>
                        <a:pt x="4" y="9"/>
                        <a:pt x="3" y="5"/>
                        <a:pt x="1" y="5"/>
                      </a:cubicBezTo>
                      <a:cubicBezTo>
                        <a:pt x="0" y="0"/>
                        <a:pt x="8" y="5"/>
                        <a:pt x="10" y="3"/>
                      </a:cubicBezTo>
                      <a:cubicBezTo>
                        <a:pt x="11" y="3"/>
                        <a:pt x="10" y="1"/>
                        <a:pt x="10" y="1"/>
                      </a:cubicBezTo>
                      <a:cubicBezTo>
                        <a:pt x="15" y="0"/>
                        <a:pt x="17" y="1"/>
                        <a:pt x="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9" name="íṧ1iḑé">
                  <a:extLst>
                    <a:ext uri="{FF2B5EF4-FFF2-40B4-BE49-F238E27FC236}">
                      <a16:creationId xmlns:a16="http://schemas.microsoft.com/office/drawing/2014/main" id="{D973A6AB-0090-434C-A439-CCEA2A28357A}"/>
                    </a:ext>
                  </a:extLst>
                </p:cNvPr>
                <p:cNvSpPr/>
                <p:nvPr/>
              </p:nvSpPr>
              <p:spPr bwMode="auto">
                <a:xfrm>
                  <a:off x="6604304" y="518544"/>
                  <a:ext cx="42023" cy="14008"/>
                </a:xfrm>
                <a:custGeom>
                  <a:avLst/>
                  <a:gdLst>
                    <a:gd name="T0" fmla="*/ 18 w 20"/>
                    <a:gd name="T1" fmla="*/ 7 h 7"/>
                    <a:gd name="T2" fmla="*/ 3 w 20"/>
                    <a:gd name="T3" fmla="*/ 7 h 7"/>
                    <a:gd name="T4" fmla="*/ 8 w 20"/>
                    <a:gd name="T5" fmla="*/ 2 h 7"/>
                    <a:gd name="T6" fmla="*/ 18 w 20"/>
                    <a:gd name="T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7">
                      <a:moveTo>
                        <a:pt x="18" y="7"/>
                      </a:moveTo>
                      <a:cubicBezTo>
                        <a:pt x="13" y="7"/>
                        <a:pt x="8" y="7"/>
                        <a:pt x="3" y="7"/>
                      </a:cubicBezTo>
                      <a:cubicBezTo>
                        <a:pt x="0" y="1"/>
                        <a:pt x="9" y="6"/>
                        <a:pt x="8" y="2"/>
                      </a:cubicBezTo>
                      <a:cubicBezTo>
                        <a:pt x="10" y="5"/>
                        <a:pt x="20" y="0"/>
                        <a:pt x="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0" name="íṥ1ïḓè">
                  <a:extLst>
                    <a:ext uri="{FF2B5EF4-FFF2-40B4-BE49-F238E27FC236}">
                      <a16:creationId xmlns:a16="http://schemas.microsoft.com/office/drawing/2014/main" id="{76A049CA-FAE4-4CEC-AF7B-85BE5B2537C1}"/>
                    </a:ext>
                  </a:extLst>
                </p:cNvPr>
                <p:cNvSpPr/>
                <p:nvPr/>
              </p:nvSpPr>
              <p:spPr bwMode="auto">
                <a:xfrm>
                  <a:off x="6544070" y="536753"/>
                  <a:ext cx="50428" cy="18211"/>
                </a:xfrm>
                <a:custGeom>
                  <a:avLst/>
                  <a:gdLst>
                    <a:gd name="T0" fmla="*/ 17 w 24"/>
                    <a:gd name="T1" fmla="*/ 0 h 9"/>
                    <a:gd name="T2" fmla="*/ 17 w 24"/>
                    <a:gd name="T3" fmla="*/ 7 h 9"/>
                    <a:gd name="T4" fmla="*/ 0 w 24"/>
                    <a:gd name="T5" fmla="*/ 6 h 9"/>
                    <a:gd name="T6" fmla="*/ 17 w 24"/>
                    <a:gd name="T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9">
                      <a:moveTo>
                        <a:pt x="17" y="0"/>
                      </a:moveTo>
                      <a:cubicBezTo>
                        <a:pt x="24" y="3"/>
                        <a:pt x="17" y="2"/>
                        <a:pt x="17" y="7"/>
                      </a:cubicBezTo>
                      <a:cubicBezTo>
                        <a:pt x="11" y="7"/>
                        <a:pt x="3" y="9"/>
                        <a:pt x="0" y="6"/>
                      </a:cubicBezTo>
                      <a:cubicBezTo>
                        <a:pt x="3" y="1"/>
                        <a:pt x="13" y="4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1" name="íŝḻïḓê">
                  <a:extLst>
                    <a:ext uri="{FF2B5EF4-FFF2-40B4-BE49-F238E27FC236}">
                      <a16:creationId xmlns:a16="http://schemas.microsoft.com/office/drawing/2014/main" id="{8BA8B89C-45EE-48F6-9F3C-DD0E7883F7B1}"/>
                    </a:ext>
                  </a:extLst>
                </p:cNvPr>
                <p:cNvSpPr/>
                <p:nvPr/>
              </p:nvSpPr>
              <p:spPr bwMode="auto">
                <a:xfrm>
                  <a:off x="4077293" y="552163"/>
                  <a:ext cx="22413" cy="15409"/>
                </a:xfrm>
                <a:custGeom>
                  <a:avLst/>
                  <a:gdLst>
                    <a:gd name="T0" fmla="*/ 1 w 11"/>
                    <a:gd name="T1" fmla="*/ 0 h 8"/>
                    <a:gd name="T2" fmla="*/ 10 w 11"/>
                    <a:gd name="T3" fmla="*/ 8 h 8"/>
                    <a:gd name="T4" fmla="*/ 1 w 11"/>
                    <a:gd name="T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" h="8">
                      <a:moveTo>
                        <a:pt x="1" y="0"/>
                      </a:moveTo>
                      <a:cubicBezTo>
                        <a:pt x="6" y="1"/>
                        <a:pt x="11" y="1"/>
                        <a:pt x="10" y="8"/>
                      </a:cubicBezTo>
                      <a:cubicBezTo>
                        <a:pt x="7" y="5"/>
                        <a:pt x="0" y="6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2" name="iṥlíďè">
                  <a:extLst>
                    <a:ext uri="{FF2B5EF4-FFF2-40B4-BE49-F238E27FC236}">
                      <a16:creationId xmlns:a16="http://schemas.microsoft.com/office/drawing/2014/main" id="{69A7CCB0-3933-40D3-AA0C-D3CC5FDC94A5}"/>
                    </a:ext>
                  </a:extLst>
                </p:cNvPr>
                <p:cNvSpPr/>
                <p:nvPr/>
              </p:nvSpPr>
              <p:spPr bwMode="auto">
                <a:xfrm>
                  <a:off x="7143605" y="549361"/>
                  <a:ext cx="89650" cy="46226"/>
                </a:xfrm>
                <a:custGeom>
                  <a:avLst/>
                  <a:gdLst>
                    <a:gd name="T0" fmla="*/ 38 w 43"/>
                    <a:gd name="T1" fmla="*/ 5 h 22"/>
                    <a:gd name="T2" fmla="*/ 42 w 43"/>
                    <a:gd name="T3" fmla="*/ 15 h 22"/>
                    <a:gd name="T4" fmla="*/ 23 w 43"/>
                    <a:gd name="T5" fmla="*/ 20 h 22"/>
                    <a:gd name="T6" fmla="*/ 20 w 43"/>
                    <a:gd name="T7" fmla="*/ 18 h 22"/>
                    <a:gd name="T8" fmla="*/ 12 w 43"/>
                    <a:gd name="T9" fmla="*/ 18 h 22"/>
                    <a:gd name="T10" fmla="*/ 12 w 43"/>
                    <a:gd name="T11" fmla="*/ 15 h 22"/>
                    <a:gd name="T12" fmla="*/ 7 w 43"/>
                    <a:gd name="T13" fmla="*/ 16 h 22"/>
                    <a:gd name="T14" fmla="*/ 9 w 43"/>
                    <a:gd name="T15" fmla="*/ 13 h 22"/>
                    <a:gd name="T16" fmla="*/ 1 w 43"/>
                    <a:gd name="T17" fmla="*/ 11 h 22"/>
                    <a:gd name="T18" fmla="*/ 5 w 43"/>
                    <a:gd name="T19" fmla="*/ 7 h 22"/>
                    <a:gd name="T20" fmla="*/ 10 w 43"/>
                    <a:gd name="T21" fmla="*/ 3 h 22"/>
                    <a:gd name="T22" fmla="*/ 27 w 43"/>
                    <a:gd name="T23" fmla="*/ 1 h 22"/>
                    <a:gd name="T24" fmla="*/ 27 w 43"/>
                    <a:gd name="T25" fmla="*/ 5 h 22"/>
                    <a:gd name="T26" fmla="*/ 38 w 43"/>
                    <a:gd name="T27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3" h="22">
                      <a:moveTo>
                        <a:pt x="38" y="5"/>
                      </a:moveTo>
                      <a:cubicBezTo>
                        <a:pt x="37" y="11"/>
                        <a:pt x="31" y="15"/>
                        <a:pt x="42" y="15"/>
                      </a:cubicBezTo>
                      <a:cubicBezTo>
                        <a:pt x="43" y="22"/>
                        <a:pt x="31" y="21"/>
                        <a:pt x="23" y="20"/>
                      </a:cubicBezTo>
                      <a:cubicBezTo>
                        <a:pt x="20" y="20"/>
                        <a:pt x="21" y="20"/>
                        <a:pt x="20" y="18"/>
                      </a:cubicBezTo>
                      <a:cubicBezTo>
                        <a:pt x="16" y="15"/>
                        <a:pt x="17" y="21"/>
                        <a:pt x="12" y="18"/>
                      </a:cubicBezTo>
                      <a:cubicBezTo>
                        <a:pt x="12" y="18"/>
                        <a:pt x="13" y="15"/>
                        <a:pt x="12" y="15"/>
                      </a:cubicBezTo>
                      <a:cubicBezTo>
                        <a:pt x="11" y="14"/>
                        <a:pt x="9" y="17"/>
                        <a:pt x="7" y="16"/>
                      </a:cubicBezTo>
                      <a:cubicBezTo>
                        <a:pt x="6" y="16"/>
                        <a:pt x="9" y="13"/>
                        <a:pt x="9" y="13"/>
                      </a:cubicBezTo>
                      <a:cubicBezTo>
                        <a:pt x="7" y="11"/>
                        <a:pt x="0" y="15"/>
                        <a:pt x="1" y="11"/>
                      </a:cubicBezTo>
                      <a:cubicBezTo>
                        <a:pt x="0" y="7"/>
                        <a:pt x="3" y="8"/>
                        <a:pt x="5" y="7"/>
                      </a:cubicBezTo>
                      <a:cubicBezTo>
                        <a:pt x="7" y="5"/>
                        <a:pt x="6" y="4"/>
                        <a:pt x="10" y="3"/>
                      </a:cubicBezTo>
                      <a:cubicBezTo>
                        <a:pt x="12" y="3"/>
                        <a:pt x="20" y="0"/>
                        <a:pt x="27" y="1"/>
                      </a:cubicBezTo>
                      <a:cubicBezTo>
                        <a:pt x="27" y="2"/>
                        <a:pt x="27" y="5"/>
                        <a:pt x="27" y="5"/>
                      </a:cubicBezTo>
                      <a:cubicBezTo>
                        <a:pt x="30" y="7"/>
                        <a:pt x="37" y="3"/>
                        <a:pt x="38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3" name="iṣlîďê">
                  <a:extLst>
                    <a:ext uri="{FF2B5EF4-FFF2-40B4-BE49-F238E27FC236}">
                      <a16:creationId xmlns:a16="http://schemas.microsoft.com/office/drawing/2014/main" id="{2D94D617-5C28-42E8-9FE6-D06C4482804A}"/>
                    </a:ext>
                  </a:extLst>
                </p:cNvPr>
                <p:cNvSpPr/>
                <p:nvPr/>
              </p:nvSpPr>
              <p:spPr bwMode="auto">
                <a:xfrm>
                  <a:off x="7105784" y="552163"/>
                  <a:ext cx="35020" cy="22413"/>
                </a:xfrm>
                <a:custGeom>
                  <a:avLst/>
                  <a:gdLst>
                    <a:gd name="T0" fmla="*/ 17 w 17"/>
                    <a:gd name="T1" fmla="*/ 6 h 11"/>
                    <a:gd name="T2" fmla="*/ 12 w 17"/>
                    <a:gd name="T3" fmla="*/ 6 h 11"/>
                    <a:gd name="T4" fmla="*/ 10 w 17"/>
                    <a:gd name="T5" fmla="*/ 10 h 11"/>
                    <a:gd name="T6" fmla="*/ 0 w 17"/>
                    <a:gd name="T7" fmla="*/ 6 h 11"/>
                    <a:gd name="T8" fmla="*/ 17 w 17"/>
                    <a:gd name="T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1">
                      <a:moveTo>
                        <a:pt x="17" y="6"/>
                      </a:moveTo>
                      <a:cubicBezTo>
                        <a:pt x="16" y="9"/>
                        <a:pt x="14" y="6"/>
                        <a:pt x="12" y="6"/>
                      </a:cubicBezTo>
                      <a:cubicBezTo>
                        <a:pt x="10" y="6"/>
                        <a:pt x="10" y="8"/>
                        <a:pt x="10" y="10"/>
                      </a:cubicBezTo>
                      <a:cubicBezTo>
                        <a:pt x="4" y="11"/>
                        <a:pt x="6" y="5"/>
                        <a:pt x="0" y="6"/>
                      </a:cubicBezTo>
                      <a:cubicBezTo>
                        <a:pt x="4" y="0"/>
                        <a:pt x="12" y="4"/>
                        <a:pt x="17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4" name="îṧḻidè">
                  <a:extLst>
                    <a:ext uri="{FF2B5EF4-FFF2-40B4-BE49-F238E27FC236}">
                      <a16:creationId xmlns:a16="http://schemas.microsoft.com/office/drawing/2014/main" id="{D7F59E80-F082-4346-BEF3-534B2C0EC72D}"/>
                    </a:ext>
                  </a:extLst>
                </p:cNvPr>
                <p:cNvSpPr/>
                <p:nvPr/>
              </p:nvSpPr>
              <p:spPr bwMode="auto">
                <a:xfrm>
                  <a:off x="3997449" y="578777"/>
                  <a:ext cx="91051" cy="49028"/>
                </a:xfrm>
                <a:custGeom>
                  <a:avLst/>
                  <a:gdLst>
                    <a:gd name="T0" fmla="*/ 31 w 44"/>
                    <a:gd name="T1" fmla="*/ 6 h 24"/>
                    <a:gd name="T2" fmla="*/ 37 w 44"/>
                    <a:gd name="T3" fmla="*/ 14 h 24"/>
                    <a:gd name="T4" fmla="*/ 42 w 44"/>
                    <a:gd name="T5" fmla="*/ 23 h 24"/>
                    <a:gd name="T6" fmla="*/ 37 w 44"/>
                    <a:gd name="T7" fmla="*/ 23 h 24"/>
                    <a:gd name="T8" fmla="*/ 37 w 44"/>
                    <a:gd name="T9" fmla="*/ 19 h 24"/>
                    <a:gd name="T10" fmla="*/ 33 w 44"/>
                    <a:gd name="T11" fmla="*/ 17 h 24"/>
                    <a:gd name="T12" fmla="*/ 9 w 44"/>
                    <a:gd name="T13" fmla="*/ 15 h 24"/>
                    <a:gd name="T14" fmla="*/ 15 w 44"/>
                    <a:gd name="T15" fmla="*/ 12 h 24"/>
                    <a:gd name="T16" fmla="*/ 11 w 44"/>
                    <a:gd name="T17" fmla="*/ 8 h 24"/>
                    <a:gd name="T18" fmla="*/ 0 w 44"/>
                    <a:gd name="T19" fmla="*/ 2 h 24"/>
                    <a:gd name="T20" fmla="*/ 15 w 44"/>
                    <a:gd name="T21" fmla="*/ 2 h 24"/>
                    <a:gd name="T22" fmla="*/ 18 w 44"/>
                    <a:gd name="T23" fmla="*/ 6 h 24"/>
                    <a:gd name="T24" fmla="*/ 26 w 44"/>
                    <a:gd name="T25" fmla="*/ 6 h 24"/>
                    <a:gd name="T26" fmla="*/ 31 w 44"/>
                    <a:gd name="T27" fmla="*/ 6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4" h="24">
                      <a:moveTo>
                        <a:pt x="31" y="6"/>
                      </a:moveTo>
                      <a:cubicBezTo>
                        <a:pt x="34" y="8"/>
                        <a:pt x="35" y="11"/>
                        <a:pt x="37" y="14"/>
                      </a:cubicBezTo>
                      <a:cubicBezTo>
                        <a:pt x="39" y="16"/>
                        <a:pt x="44" y="18"/>
                        <a:pt x="42" y="23"/>
                      </a:cubicBezTo>
                      <a:cubicBezTo>
                        <a:pt x="41" y="22"/>
                        <a:pt x="38" y="24"/>
                        <a:pt x="37" y="23"/>
                      </a:cubicBezTo>
                      <a:cubicBezTo>
                        <a:pt x="36" y="22"/>
                        <a:pt x="37" y="20"/>
                        <a:pt x="37" y="19"/>
                      </a:cubicBezTo>
                      <a:cubicBezTo>
                        <a:pt x="36" y="19"/>
                        <a:pt x="32" y="23"/>
                        <a:pt x="33" y="17"/>
                      </a:cubicBezTo>
                      <a:cubicBezTo>
                        <a:pt x="22" y="17"/>
                        <a:pt x="15" y="17"/>
                        <a:pt x="9" y="15"/>
                      </a:cubicBezTo>
                      <a:cubicBezTo>
                        <a:pt x="8" y="11"/>
                        <a:pt x="12" y="12"/>
                        <a:pt x="15" y="12"/>
                      </a:cubicBezTo>
                      <a:cubicBezTo>
                        <a:pt x="14" y="10"/>
                        <a:pt x="11" y="10"/>
                        <a:pt x="11" y="8"/>
                      </a:cubicBezTo>
                      <a:cubicBezTo>
                        <a:pt x="4" y="6"/>
                        <a:pt x="1" y="11"/>
                        <a:pt x="0" y="2"/>
                      </a:cubicBezTo>
                      <a:cubicBezTo>
                        <a:pt x="4" y="0"/>
                        <a:pt x="10" y="1"/>
                        <a:pt x="15" y="2"/>
                      </a:cubicBezTo>
                      <a:cubicBezTo>
                        <a:pt x="17" y="3"/>
                        <a:pt x="18" y="3"/>
                        <a:pt x="18" y="6"/>
                      </a:cubicBezTo>
                      <a:cubicBezTo>
                        <a:pt x="20" y="8"/>
                        <a:pt x="26" y="0"/>
                        <a:pt x="26" y="6"/>
                      </a:cubicBezTo>
                      <a:cubicBezTo>
                        <a:pt x="26" y="8"/>
                        <a:pt x="32" y="9"/>
                        <a:pt x="3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5" name="íŝliḍé">
                  <a:extLst>
                    <a:ext uri="{FF2B5EF4-FFF2-40B4-BE49-F238E27FC236}">
                      <a16:creationId xmlns:a16="http://schemas.microsoft.com/office/drawing/2014/main" id="{20467590-9C88-4715-9A64-9BCA951D87C8}"/>
                    </a:ext>
                  </a:extLst>
                </p:cNvPr>
                <p:cNvSpPr/>
                <p:nvPr/>
              </p:nvSpPr>
              <p:spPr bwMode="auto">
                <a:xfrm>
                  <a:off x="7237457" y="578777"/>
                  <a:ext cx="88250" cy="44825"/>
                </a:xfrm>
                <a:custGeom>
                  <a:avLst/>
                  <a:gdLst>
                    <a:gd name="T0" fmla="*/ 18 w 43"/>
                    <a:gd name="T1" fmla="*/ 1 h 22"/>
                    <a:gd name="T2" fmla="*/ 25 w 43"/>
                    <a:gd name="T3" fmla="*/ 6 h 22"/>
                    <a:gd name="T4" fmla="*/ 27 w 43"/>
                    <a:gd name="T5" fmla="*/ 2 h 22"/>
                    <a:gd name="T6" fmla="*/ 31 w 43"/>
                    <a:gd name="T7" fmla="*/ 6 h 22"/>
                    <a:gd name="T8" fmla="*/ 34 w 43"/>
                    <a:gd name="T9" fmla="*/ 6 h 22"/>
                    <a:gd name="T10" fmla="*/ 34 w 43"/>
                    <a:gd name="T11" fmla="*/ 8 h 22"/>
                    <a:gd name="T12" fmla="*/ 42 w 43"/>
                    <a:gd name="T13" fmla="*/ 10 h 22"/>
                    <a:gd name="T14" fmla="*/ 29 w 43"/>
                    <a:gd name="T15" fmla="*/ 14 h 22"/>
                    <a:gd name="T16" fmla="*/ 27 w 43"/>
                    <a:gd name="T17" fmla="*/ 17 h 22"/>
                    <a:gd name="T18" fmla="*/ 10 w 43"/>
                    <a:gd name="T19" fmla="*/ 17 h 22"/>
                    <a:gd name="T20" fmla="*/ 8 w 43"/>
                    <a:gd name="T21" fmla="*/ 21 h 22"/>
                    <a:gd name="T22" fmla="*/ 1 w 43"/>
                    <a:gd name="T23" fmla="*/ 19 h 22"/>
                    <a:gd name="T24" fmla="*/ 1 w 43"/>
                    <a:gd name="T25" fmla="*/ 14 h 22"/>
                    <a:gd name="T26" fmla="*/ 5 w 43"/>
                    <a:gd name="T27" fmla="*/ 14 h 22"/>
                    <a:gd name="T28" fmla="*/ 6 w 43"/>
                    <a:gd name="T29" fmla="*/ 8 h 22"/>
                    <a:gd name="T30" fmla="*/ 10 w 43"/>
                    <a:gd name="T31" fmla="*/ 8 h 22"/>
                    <a:gd name="T32" fmla="*/ 18 w 43"/>
                    <a:gd name="T33" fmla="*/ 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22">
                      <a:moveTo>
                        <a:pt x="18" y="1"/>
                      </a:moveTo>
                      <a:cubicBezTo>
                        <a:pt x="19" y="4"/>
                        <a:pt x="27" y="0"/>
                        <a:pt x="25" y="6"/>
                      </a:cubicBezTo>
                      <a:cubicBezTo>
                        <a:pt x="27" y="7"/>
                        <a:pt x="27" y="2"/>
                        <a:pt x="27" y="2"/>
                      </a:cubicBezTo>
                      <a:cubicBezTo>
                        <a:pt x="29" y="2"/>
                        <a:pt x="29" y="5"/>
                        <a:pt x="31" y="6"/>
                      </a:cubicBezTo>
                      <a:cubicBezTo>
                        <a:pt x="31" y="7"/>
                        <a:pt x="34" y="5"/>
                        <a:pt x="34" y="6"/>
                      </a:cubicBezTo>
                      <a:cubicBezTo>
                        <a:pt x="35" y="6"/>
                        <a:pt x="34" y="8"/>
                        <a:pt x="34" y="8"/>
                      </a:cubicBezTo>
                      <a:cubicBezTo>
                        <a:pt x="37" y="9"/>
                        <a:pt x="42" y="6"/>
                        <a:pt x="42" y="10"/>
                      </a:cubicBezTo>
                      <a:cubicBezTo>
                        <a:pt x="43" y="17"/>
                        <a:pt x="33" y="12"/>
                        <a:pt x="29" y="14"/>
                      </a:cubicBezTo>
                      <a:cubicBezTo>
                        <a:pt x="27" y="13"/>
                        <a:pt x="28" y="17"/>
                        <a:pt x="27" y="17"/>
                      </a:cubicBezTo>
                      <a:cubicBezTo>
                        <a:pt x="23" y="19"/>
                        <a:pt x="12" y="18"/>
                        <a:pt x="10" y="17"/>
                      </a:cubicBezTo>
                      <a:cubicBezTo>
                        <a:pt x="8" y="17"/>
                        <a:pt x="9" y="20"/>
                        <a:pt x="8" y="21"/>
                      </a:cubicBezTo>
                      <a:cubicBezTo>
                        <a:pt x="4" y="18"/>
                        <a:pt x="5" y="22"/>
                        <a:pt x="1" y="19"/>
                      </a:cubicBezTo>
                      <a:cubicBezTo>
                        <a:pt x="2" y="18"/>
                        <a:pt x="0" y="14"/>
                        <a:pt x="1" y="14"/>
                      </a:cubicBezTo>
                      <a:cubicBezTo>
                        <a:pt x="1" y="13"/>
                        <a:pt x="4" y="14"/>
                        <a:pt x="5" y="14"/>
                      </a:cubicBezTo>
                      <a:cubicBezTo>
                        <a:pt x="6" y="12"/>
                        <a:pt x="5" y="9"/>
                        <a:pt x="6" y="8"/>
                      </a:cubicBezTo>
                      <a:cubicBezTo>
                        <a:pt x="7" y="7"/>
                        <a:pt x="10" y="9"/>
                        <a:pt x="10" y="8"/>
                      </a:cubicBezTo>
                      <a:cubicBezTo>
                        <a:pt x="12" y="5"/>
                        <a:pt x="15" y="4"/>
                        <a:pt x="1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6" name="îṥlîḑè">
                  <a:extLst>
                    <a:ext uri="{FF2B5EF4-FFF2-40B4-BE49-F238E27FC236}">
                      <a16:creationId xmlns:a16="http://schemas.microsoft.com/office/drawing/2014/main" id="{44AC9B4D-6EB3-4D7A-B0EB-7FB18A50D2AE}"/>
                    </a:ext>
                  </a:extLst>
                </p:cNvPr>
                <p:cNvSpPr/>
                <p:nvPr/>
              </p:nvSpPr>
              <p:spPr bwMode="auto">
                <a:xfrm>
                  <a:off x="3837759" y="612396"/>
                  <a:ext cx="16809" cy="26615"/>
                </a:xfrm>
                <a:custGeom>
                  <a:avLst/>
                  <a:gdLst>
                    <a:gd name="T0" fmla="*/ 8 w 8"/>
                    <a:gd name="T1" fmla="*/ 7 h 13"/>
                    <a:gd name="T2" fmla="*/ 8 w 8"/>
                    <a:gd name="T3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8" h="13">
                      <a:moveTo>
                        <a:pt x="8" y="7"/>
                      </a:moveTo>
                      <a:cubicBezTo>
                        <a:pt x="3" y="13"/>
                        <a:pt x="0" y="0"/>
                        <a:pt x="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7" name="îŝliḓe">
                  <a:extLst>
                    <a:ext uri="{FF2B5EF4-FFF2-40B4-BE49-F238E27FC236}">
                      <a16:creationId xmlns:a16="http://schemas.microsoft.com/office/drawing/2014/main" id="{347226DB-D9F2-4110-A478-1BDB43D673C1}"/>
                    </a:ext>
                  </a:extLst>
                </p:cNvPr>
                <p:cNvSpPr/>
                <p:nvPr/>
              </p:nvSpPr>
              <p:spPr bwMode="auto">
                <a:xfrm>
                  <a:off x="3872779" y="617999"/>
                  <a:ext cx="50428" cy="29417"/>
                </a:xfrm>
                <a:custGeom>
                  <a:avLst/>
                  <a:gdLst>
                    <a:gd name="T0" fmla="*/ 22 w 24"/>
                    <a:gd name="T1" fmla="*/ 4 h 14"/>
                    <a:gd name="T2" fmla="*/ 6 w 24"/>
                    <a:gd name="T3" fmla="*/ 13 h 14"/>
                    <a:gd name="T4" fmla="*/ 0 w 24"/>
                    <a:gd name="T5" fmla="*/ 8 h 14"/>
                    <a:gd name="T6" fmla="*/ 11 w 24"/>
                    <a:gd name="T7" fmla="*/ 4 h 14"/>
                    <a:gd name="T8" fmla="*/ 22 w 24"/>
                    <a:gd name="T9" fmla="*/ 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14">
                      <a:moveTo>
                        <a:pt x="22" y="4"/>
                      </a:moveTo>
                      <a:cubicBezTo>
                        <a:pt x="24" y="14"/>
                        <a:pt x="10" y="9"/>
                        <a:pt x="6" y="13"/>
                      </a:cubicBezTo>
                      <a:cubicBezTo>
                        <a:pt x="2" y="13"/>
                        <a:pt x="4" y="7"/>
                        <a:pt x="0" y="8"/>
                      </a:cubicBezTo>
                      <a:cubicBezTo>
                        <a:pt x="1" y="2"/>
                        <a:pt x="11" y="9"/>
                        <a:pt x="11" y="4"/>
                      </a:cubicBezTo>
                      <a:cubicBezTo>
                        <a:pt x="11" y="0"/>
                        <a:pt x="16" y="6"/>
                        <a:pt x="2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8" name="işḻîďê">
                  <a:extLst>
                    <a:ext uri="{FF2B5EF4-FFF2-40B4-BE49-F238E27FC236}">
                      <a16:creationId xmlns:a16="http://schemas.microsoft.com/office/drawing/2014/main" id="{23DBB53D-01D3-492F-AF11-D6888B5AE4F5}"/>
                    </a:ext>
                  </a:extLst>
                </p:cNvPr>
                <p:cNvSpPr/>
                <p:nvPr/>
              </p:nvSpPr>
              <p:spPr bwMode="auto">
                <a:xfrm>
                  <a:off x="4148733" y="622202"/>
                  <a:ext cx="44825" cy="22413"/>
                </a:xfrm>
                <a:custGeom>
                  <a:avLst/>
                  <a:gdLst>
                    <a:gd name="T0" fmla="*/ 18 w 21"/>
                    <a:gd name="T1" fmla="*/ 4 h 11"/>
                    <a:gd name="T2" fmla="*/ 18 w 21"/>
                    <a:gd name="T3" fmla="*/ 7 h 11"/>
                    <a:gd name="T4" fmla="*/ 12 w 21"/>
                    <a:gd name="T5" fmla="*/ 9 h 11"/>
                    <a:gd name="T6" fmla="*/ 10 w 21"/>
                    <a:gd name="T7" fmla="*/ 11 h 11"/>
                    <a:gd name="T8" fmla="*/ 5 w 21"/>
                    <a:gd name="T9" fmla="*/ 9 h 11"/>
                    <a:gd name="T10" fmla="*/ 3 w 21"/>
                    <a:gd name="T11" fmla="*/ 11 h 11"/>
                    <a:gd name="T12" fmla="*/ 1 w 21"/>
                    <a:gd name="T13" fmla="*/ 9 h 11"/>
                    <a:gd name="T14" fmla="*/ 18 w 21"/>
                    <a:gd name="T15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11">
                      <a:moveTo>
                        <a:pt x="18" y="4"/>
                      </a:moveTo>
                      <a:cubicBezTo>
                        <a:pt x="21" y="5"/>
                        <a:pt x="19" y="7"/>
                        <a:pt x="18" y="7"/>
                      </a:cubicBezTo>
                      <a:cubicBezTo>
                        <a:pt x="16" y="9"/>
                        <a:pt x="15" y="9"/>
                        <a:pt x="12" y="9"/>
                      </a:cubicBezTo>
                      <a:cubicBezTo>
                        <a:pt x="11" y="10"/>
                        <a:pt x="10" y="11"/>
                        <a:pt x="10" y="11"/>
                      </a:cubicBezTo>
                      <a:cubicBezTo>
                        <a:pt x="9" y="11"/>
                        <a:pt x="7" y="9"/>
                        <a:pt x="5" y="9"/>
                      </a:cubicBezTo>
                      <a:cubicBezTo>
                        <a:pt x="5" y="9"/>
                        <a:pt x="4" y="11"/>
                        <a:pt x="3" y="11"/>
                      </a:cubicBezTo>
                      <a:cubicBezTo>
                        <a:pt x="1" y="11"/>
                        <a:pt x="1" y="11"/>
                        <a:pt x="1" y="9"/>
                      </a:cubicBezTo>
                      <a:cubicBezTo>
                        <a:pt x="0" y="0"/>
                        <a:pt x="17" y="10"/>
                        <a:pt x="18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99" name="íŝļiḋe">
                  <a:extLst>
                    <a:ext uri="{FF2B5EF4-FFF2-40B4-BE49-F238E27FC236}">
                      <a16:creationId xmlns:a16="http://schemas.microsoft.com/office/drawing/2014/main" id="{A61B7AF1-845E-4604-83E8-D646C520EBA5}"/>
                    </a:ext>
                  </a:extLst>
                </p:cNvPr>
                <p:cNvSpPr/>
                <p:nvPr/>
              </p:nvSpPr>
              <p:spPr bwMode="auto">
                <a:xfrm>
                  <a:off x="3984841" y="634808"/>
                  <a:ext cx="25214" cy="9806"/>
                </a:xfrm>
                <a:custGeom>
                  <a:avLst/>
                  <a:gdLst>
                    <a:gd name="T0" fmla="*/ 0 w 12"/>
                    <a:gd name="T1" fmla="*/ 3 h 5"/>
                    <a:gd name="T2" fmla="*/ 9 w 12"/>
                    <a:gd name="T3" fmla="*/ 5 h 5"/>
                    <a:gd name="T4" fmla="*/ 0 w 12"/>
                    <a:gd name="T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5">
                      <a:moveTo>
                        <a:pt x="0" y="3"/>
                      </a:moveTo>
                      <a:cubicBezTo>
                        <a:pt x="0" y="0"/>
                        <a:pt x="12" y="0"/>
                        <a:pt x="9" y="5"/>
                      </a:cubicBezTo>
                      <a:cubicBezTo>
                        <a:pt x="5" y="3"/>
                        <a:pt x="6" y="5"/>
                        <a:pt x="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0" name="î$ļîḑe">
                  <a:extLst>
                    <a:ext uri="{FF2B5EF4-FFF2-40B4-BE49-F238E27FC236}">
                      <a16:creationId xmlns:a16="http://schemas.microsoft.com/office/drawing/2014/main" id="{2BA082DA-4230-456E-9B0B-F1584C678799}"/>
                    </a:ext>
                  </a:extLst>
                </p:cNvPr>
                <p:cNvSpPr/>
                <p:nvPr/>
              </p:nvSpPr>
              <p:spPr bwMode="auto">
                <a:xfrm>
                  <a:off x="4228577" y="636209"/>
                  <a:ext cx="12607" cy="12607"/>
                </a:xfrm>
                <a:custGeom>
                  <a:avLst/>
                  <a:gdLst>
                    <a:gd name="T0" fmla="*/ 0 w 6"/>
                    <a:gd name="T1" fmla="*/ 0 h 6"/>
                    <a:gd name="T2" fmla="*/ 6 w 6"/>
                    <a:gd name="T3" fmla="*/ 6 h 6"/>
                    <a:gd name="T4" fmla="*/ 0 w 6"/>
                    <a:gd name="T5" fmla="*/ 6 h 6"/>
                    <a:gd name="T6" fmla="*/ 0 w 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6">
                      <a:moveTo>
                        <a:pt x="0" y="0"/>
                      </a:moveTo>
                      <a:cubicBezTo>
                        <a:pt x="4" y="0"/>
                        <a:pt x="6" y="2"/>
                        <a:pt x="6" y="6"/>
                      </a:cubicBezTo>
                      <a:cubicBezTo>
                        <a:pt x="4" y="6"/>
                        <a:pt x="2" y="6"/>
                        <a:pt x="0" y="6"/>
                      </a:cubicBezTo>
                      <a:cubicBezTo>
                        <a:pt x="0" y="4"/>
                        <a:pt x="0" y="2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1" name="íS1îḓè">
                  <a:extLst>
                    <a:ext uri="{FF2B5EF4-FFF2-40B4-BE49-F238E27FC236}">
                      <a16:creationId xmlns:a16="http://schemas.microsoft.com/office/drawing/2014/main" id="{1FD46BA0-7FE1-4554-A94D-6BDBAAB38EC9}"/>
                    </a:ext>
                  </a:extLst>
                </p:cNvPr>
                <p:cNvSpPr/>
                <p:nvPr/>
              </p:nvSpPr>
              <p:spPr bwMode="auto">
                <a:xfrm>
                  <a:off x="4124919" y="657221"/>
                  <a:ext cx="274553" cy="84047"/>
                </a:xfrm>
                <a:custGeom>
                  <a:avLst/>
                  <a:gdLst>
                    <a:gd name="T0" fmla="*/ 132 w 132"/>
                    <a:gd name="T1" fmla="*/ 22 h 40"/>
                    <a:gd name="T2" fmla="*/ 132 w 132"/>
                    <a:gd name="T3" fmla="*/ 31 h 40"/>
                    <a:gd name="T4" fmla="*/ 127 w 132"/>
                    <a:gd name="T5" fmla="*/ 35 h 40"/>
                    <a:gd name="T6" fmla="*/ 104 w 132"/>
                    <a:gd name="T7" fmla="*/ 35 h 40"/>
                    <a:gd name="T8" fmla="*/ 97 w 132"/>
                    <a:gd name="T9" fmla="*/ 39 h 40"/>
                    <a:gd name="T10" fmla="*/ 91 w 132"/>
                    <a:gd name="T11" fmla="*/ 37 h 40"/>
                    <a:gd name="T12" fmla="*/ 90 w 132"/>
                    <a:gd name="T13" fmla="*/ 39 h 40"/>
                    <a:gd name="T14" fmla="*/ 82 w 132"/>
                    <a:gd name="T15" fmla="*/ 39 h 40"/>
                    <a:gd name="T16" fmla="*/ 82 w 132"/>
                    <a:gd name="T17" fmla="*/ 37 h 40"/>
                    <a:gd name="T18" fmla="*/ 78 w 132"/>
                    <a:gd name="T19" fmla="*/ 39 h 40"/>
                    <a:gd name="T20" fmla="*/ 71 w 132"/>
                    <a:gd name="T21" fmla="*/ 35 h 40"/>
                    <a:gd name="T22" fmla="*/ 43 w 132"/>
                    <a:gd name="T23" fmla="*/ 35 h 40"/>
                    <a:gd name="T24" fmla="*/ 45 w 132"/>
                    <a:gd name="T25" fmla="*/ 31 h 40"/>
                    <a:gd name="T26" fmla="*/ 41 w 132"/>
                    <a:gd name="T27" fmla="*/ 30 h 40"/>
                    <a:gd name="T28" fmla="*/ 37 w 132"/>
                    <a:gd name="T29" fmla="*/ 22 h 40"/>
                    <a:gd name="T30" fmla="*/ 41 w 132"/>
                    <a:gd name="T31" fmla="*/ 18 h 40"/>
                    <a:gd name="T32" fmla="*/ 37 w 132"/>
                    <a:gd name="T33" fmla="*/ 11 h 40"/>
                    <a:gd name="T34" fmla="*/ 21 w 132"/>
                    <a:gd name="T35" fmla="*/ 13 h 40"/>
                    <a:gd name="T36" fmla="*/ 17 w 132"/>
                    <a:gd name="T37" fmla="*/ 9 h 40"/>
                    <a:gd name="T38" fmla="*/ 13 w 132"/>
                    <a:gd name="T39" fmla="*/ 7 h 40"/>
                    <a:gd name="T40" fmla="*/ 6 w 132"/>
                    <a:gd name="T41" fmla="*/ 9 h 40"/>
                    <a:gd name="T42" fmla="*/ 2 w 132"/>
                    <a:gd name="T43" fmla="*/ 2 h 40"/>
                    <a:gd name="T44" fmla="*/ 22 w 132"/>
                    <a:gd name="T45" fmla="*/ 0 h 40"/>
                    <a:gd name="T46" fmla="*/ 26 w 132"/>
                    <a:gd name="T47" fmla="*/ 2 h 40"/>
                    <a:gd name="T48" fmla="*/ 26 w 132"/>
                    <a:gd name="T49" fmla="*/ 5 h 40"/>
                    <a:gd name="T50" fmla="*/ 32 w 132"/>
                    <a:gd name="T51" fmla="*/ 9 h 40"/>
                    <a:gd name="T52" fmla="*/ 49 w 132"/>
                    <a:gd name="T53" fmla="*/ 9 h 40"/>
                    <a:gd name="T54" fmla="*/ 49 w 132"/>
                    <a:gd name="T55" fmla="*/ 18 h 40"/>
                    <a:gd name="T56" fmla="*/ 62 w 132"/>
                    <a:gd name="T57" fmla="*/ 20 h 40"/>
                    <a:gd name="T58" fmla="*/ 62 w 132"/>
                    <a:gd name="T59" fmla="*/ 24 h 40"/>
                    <a:gd name="T60" fmla="*/ 65 w 132"/>
                    <a:gd name="T61" fmla="*/ 22 h 40"/>
                    <a:gd name="T62" fmla="*/ 88 w 132"/>
                    <a:gd name="T63" fmla="*/ 22 h 40"/>
                    <a:gd name="T64" fmla="*/ 91 w 132"/>
                    <a:gd name="T65" fmla="*/ 24 h 40"/>
                    <a:gd name="T66" fmla="*/ 97 w 132"/>
                    <a:gd name="T67" fmla="*/ 20 h 40"/>
                    <a:gd name="T68" fmla="*/ 103 w 132"/>
                    <a:gd name="T69" fmla="*/ 20 h 40"/>
                    <a:gd name="T70" fmla="*/ 132 w 132"/>
                    <a:gd name="T71" fmla="*/ 22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2" h="40">
                      <a:moveTo>
                        <a:pt x="132" y="22"/>
                      </a:moveTo>
                      <a:cubicBezTo>
                        <a:pt x="132" y="25"/>
                        <a:pt x="132" y="28"/>
                        <a:pt x="132" y="31"/>
                      </a:cubicBezTo>
                      <a:cubicBezTo>
                        <a:pt x="129" y="31"/>
                        <a:pt x="128" y="33"/>
                        <a:pt x="127" y="35"/>
                      </a:cubicBezTo>
                      <a:cubicBezTo>
                        <a:pt x="118" y="36"/>
                        <a:pt x="111" y="35"/>
                        <a:pt x="104" y="35"/>
                      </a:cubicBezTo>
                      <a:cubicBezTo>
                        <a:pt x="102" y="35"/>
                        <a:pt x="99" y="38"/>
                        <a:pt x="97" y="39"/>
                      </a:cubicBezTo>
                      <a:cubicBezTo>
                        <a:pt x="94" y="40"/>
                        <a:pt x="94" y="37"/>
                        <a:pt x="91" y="37"/>
                      </a:cubicBezTo>
                      <a:cubicBezTo>
                        <a:pt x="92" y="37"/>
                        <a:pt x="90" y="39"/>
                        <a:pt x="90" y="39"/>
                      </a:cubicBezTo>
                      <a:cubicBezTo>
                        <a:pt x="89" y="39"/>
                        <a:pt x="82" y="39"/>
                        <a:pt x="82" y="39"/>
                      </a:cubicBezTo>
                      <a:cubicBezTo>
                        <a:pt x="82" y="39"/>
                        <a:pt x="82" y="37"/>
                        <a:pt x="82" y="37"/>
                      </a:cubicBezTo>
                      <a:cubicBezTo>
                        <a:pt x="80" y="37"/>
                        <a:pt x="78" y="39"/>
                        <a:pt x="78" y="39"/>
                      </a:cubicBezTo>
                      <a:cubicBezTo>
                        <a:pt x="74" y="38"/>
                        <a:pt x="74" y="35"/>
                        <a:pt x="71" y="35"/>
                      </a:cubicBezTo>
                      <a:cubicBezTo>
                        <a:pt x="63" y="35"/>
                        <a:pt x="54" y="40"/>
                        <a:pt x="43" y="35"/>
                      </a:cubicBezTo>
                      <a:cubicBezTo>
                        <a:pt x="43" y="34"/>
                        <a:pt x="45" y="33"/>
                        <a:pt x="45" y="31"/>
                      </a:cubicBezTo>
                      <a:cubicBezTo>
                        <a:pt x="44" y="29"/>
                        <a:pt x="42" y="31"/>
                        <a:pt x="41" y="30"/>
                      </a:cubicBezTo>
                      <a:cubicBezTo>
                        <a:pt x="39" y="27"/>
                        <a:pt x="41" y="23"/>
                        <a:pt x="37" y="22"/>
                      </a:cubicBezTo>
                      <a:cubicBezTo>
                        <a:pt x="38" y="20"/>
                        <a:pt x="41" y="21"/>
                        <a:pt x="41" y="18"/>
                      </a:cubicBezTo>
                      <a:cubicBezTo>
                        <a:pt x="41" y="15"/>
                        <a:pt x="36" y="16"/>
                        <a:pt x="37" y="11"/>
                      </a:cubicBezTo>
                      <a:cubicBezTo>
                        <a:pt x="34" y="14"/>
                        <a:pt x="26" y="12"/>
                        <a:pt x="21" y="13"/>
                      </a:cubicBezTo>
                      <a:cubicBezTo>
                        <a:pt x="17" y="14"/>
                        <a:pt x="18" y="10"/>
                        <a:pt x="17" y="9"/>
                      </a:cubicBezTo>
                      <a:cubicBezTo>
                        <a:pt x="16" y="8"/>
                        <a:pt x="13" y="10"/>
                        <a:pt x="13" y="7"/>
                      </a:cubicBezTo>
                      <a:cubicBezTo>
                        <a:pt x="11" y="9"/>
                        <a:pt x="9" y="9"/>
                        <a:pt x="6" y="9"/>
                      </a:cubicBezTo>
                      <a:cubicBezTo>
                        <a:pt x="12" y="3"/>
                        <a:pt x="0" y="8"/>
                        <a:pt x="2" y="2"/>
                      </a:cubicBezTo>
                      <a:cubicBezTo>
                        <a:pt x="10" y="3"/>
                        <a:pt x="16" y="1"/>
                        <a:pt x="22" y="0"/>
                      </a:cubicBezTo>
                      <a:cubicBezTo>
                        <a:pt x="22" y="2"/>
                        <a:pt x="26" y="1"/>
                        <a:pt x="26" y="2"/>
                      </a:cubicBezTo>
                      <a:cubicBezTo>
                        <a:pt x="27" y="2"/>
                        <a:pt x="26" y="5"/>
                        <a:pt x="26" y="5"/>
                      </a:cubicBezTo>
                      <a:cubicBezTo>
                        <a:pt x="28" y="7"/>
                        <a:pt x="33" y="4"/>
                        <a:pt x="32" y="9"/>
                      </a:cubicBezTo>
                      <a:cubicBezTo>
                        <a:pt x="37" y="4"/>
                        <a:pt x="42" y="10"/>
                        <a:pt x="49" y="9"/>
                      </a:cubicBezTo>
                      <a:cubicBezTo>
                        <a:pt x="47" y="15"/>
                        <a:pt x="52" y="15"/>
                        <a:pt x="49" y="18"/>
                      </a:cubicBezTo>
                      <a:cubicBezTo>
                        <a:pt x="52" y="19"/>
                        <a:pt x="57" y="18"/>
                        <a:pt x="62" y="20"/>
                      </a:cubicBezTo>
                      <a:cubicBezTo>
                        <a:pt x="63" y="21"/>
                        <a:pt x="53" y="25"/>
                        <a:pt x="62" y="24"/>
                      </a:cubicBezTo>
                      <a:cubicBezTo>
                        <a:pt x="63" y="24"/>
                        <a:pt x="63" y="22"/>
                        <a:pt x="65" y="22"/>
                      </a:cubicBezTo>
                      <a:cubicBezTo>
                        <a:pt x="71" y="22"/>
                        <a:pt x="80" y="21"/>
                        <a:pt x="88" y="22"/>
                      </a:cubicBezTo>
                      <a:cubicBezTo>
                        <a:pt x="89" y="22"/>
                        <a:pt x="92" y="24"/>
                        <a:pt x="91" y="24"/>
                      </a:cubicBezTo>
                      <a:cubicBezTo>
                        <a:pt x="96" y="24"/>
                        <a:pt x="88" y="21"/>
                        <a:pt x="97" y="20"/>
                      </a:cubicBezTo>
                      <a:cubicBezTo>
                        <a:pt x="99" y="20"/>
                        <a:pt x="101" y="21"/>
                        <a:pt x="103" y="20"/>
                      </a:cubicBezTo>
                      <a:cubicBezTo>
                        <a:pt x="110" y="19"/>
                        <a:pt x="122" y="19"/>
                        <a:pt x="132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2" name="iṡ1ide">
                  <a:extLst>
                    <a:ext uri="{FF2B5EF4-FFF2-40B4-BE49-F238E27FC236}">
                      <a16:creationId xmlns:a16="http://schemas.microsoft.com/office/drawing/2014/main" id="{77EEEEE1-C9A8-4D5D-85B4-BBD3BF60F43D}"/>
                    </a:ext>
                  </a:extLst>
                </p:cNvPr>
                <p:cNvSpPr/>
                <p:nvPr/>
              </p:nvSpPr>
              <p:spPr bwMode="auto">
                <a:xfrm>
                  <a:off x="6475432" y="655820"/>
                  <a:ext cx="278756" cy="198911"/>
                </a:xfrm>
                <a:custGeom>
                  <a:avLst/>
                  <a:gdLst>
                    <a:gd name="T0" fmla="*/ 110 w 134"/>
                    <a:gd name="T1" fmla="*/ 3 h 96"/>
                    <a:gd name="T2" fmla="*/ 132 w 134"/>
                    <a:gd name="T3" fmla="*/ 1 h 96"/>
                    <a:gd name="T4" fmla="*/ 130 w 134"/>
                    <a:gd name="T5" fmla="*/ 10 h 96"/>
                    <a:gd name="T6" fmla="*/ 106 w 134"/>
                    <a:gd name="T7" fmla="*/ 14 h 96"/>
                    <a:gd name="T8" fmla="*/ 102 w 134"/>
                    <a:gd name="T9" fmla="*/ 18 h 96"/>
                    <a:gd name="T10" fmla="*/ 98 w 134"/>
                    <a:gd name="T11" fmla="*/ 18 h 96"/>
                    <a:gd name="T12" fmla="*/ 95 w 134"/>
                    <a:gd name="T13" fmla="*/ 21 h 96"/>
                    <a:gd name="T14" fmla="*/ 91 w 134"/>
                    <a:gd name="T15" fmla="*/ 19 h 96"/>
                    <a:gd name="T16" fmla="*/ 83 w 134"/>
                    <a:gd name="T17" fmla="*/ 21 h 96"/>
                    <a:gd name="T18" fmla="*/ 76 w 134"/>
                    <a:gd name="T19" fmla="*/ 23 h 96"/>
                    <a:gd name="T20" fmla="*/ 74 w 134"/>
                    <a:gd name="T21" fmla="*/ 27 h 96"/>
                    <a:gd name="T22" fmla="*/ 65 w 134"/>
                    <a:gd name="T23" fmla="*/ 32 h 96"/>
                    <a:gd name="T24" fmla="*/ 59 w 134"/>
                    <a:gd name="T25" fmla="*/ 36 h 96"/>
                    <a:gd name="T26" fmla="*/ 56 w 134"/>
                    <a:gd name="T27" fmla="*/ 40 h 96"/>
                    <a:gd name="T28" fmla="*/ 54 w 134"/>
                    <a:gd name="T29" fmla="*/ 44 h 96"/>
                    <a:gd name="T30" fmla="*/ 44 w 134"/>
                    <a:gd name="T31" fmla="*/ 47 h 96"/>
                    <a:gd name="T32" fmla="*/ 43 w 134"/>
                    <a:gd name="T33" fmla="*/ 49 h 96"/>
                    <a:gd name="T34" fmla="*/ 35 w 134"/>
                    <a:gd name="T35" fmla="*/ 53 h 96"/>
                    <a:gd name="T36" fmla="*/ 31 w 134"/>
                    <a:gd name="T37" fmla="*/ 60 h 96"/>
                    <a:gd name="T38" fmla="*/ 33 w 134"/>
                    <a:gd name="T39" fmla="*/ 72 h 96"/>
                    <a:gd name="T40" fmla="*/ 28 w 134"/>
                    <a:gd name="T41" fmla="*/ 75 h 96"/>
                    <a:gd name="T42" fmla="*/ 31 w 134"/>
                    <a:gd name="T43" fmla="*/ 83 h 96"/>
                    <a:gd name="T44" fmla="*/ 29 w 134"/>
                    <a:gd name="T45" fmla="*/ 85 h 96"/>
                    <a:gd name="T46" fmla="*/ 31 w 134"/>
                    <a:gd name="T47" fmla="*/ 87 h 96"/>
                    <a:gd name="T48" fmla="*/ 33 w 134"/>
                    <a:gd name="T49" fmla="*/ 85 h 96"/>
                    <a:gd name="T50" fmla="*/ 39 w 134"/>
                    <a:gd name="T51" fmla="*/ 88 h 96"/>
                    <a:gd name="T52" fmla="*/ 37 w 134"/>
                    <a:gd name="T53" fmla="*/ 96 h 96"/>
                    <a:gd name="T54" fmla="*/ 20 w 134"/>
                    <a:gd name="T55" fmla="*/ 96 h 96"/>
                    <a:gd name="T56" fmla="*/ 22 w 134"/>
                    <a:gd name="T57" fmla="*/ 92 h 96"/>
                    <a:gd name="T58" fmla="*/ 16 w 134"/>
                    <a:gd name="T59" fmla="*/ 90 h 96"/>
                    <a:gd name="T60" fmla="*/ 13 w 134"/>
                    <a:gd name="T61" fmla="*/ 87 h 96"/>
                    <a:gd name="T62" fmla="*/ 9 w 134"/>
                    <a:gd name="T63" fmla="*/ 87 h 96"/>
                    <a:gd name="T64" fmla="*/ 3 w 134"/>
                    <a:gd name="T65" fmla="*/ 87 h 96"/>
                    <a:gd name="T66" fmla="*/ 2 w 134"/>
                    <a:gd name="T67" fmla="*/ 73 h 96"/>
                    <a:gd name="T68" fmla="*/ 11 w 134"/>
                    <a:gd name="T69" fmla="*/ 70 h 96"/>
                    <a:gd name="T70" fmla="*/ 9 w 134"/>
                    <a:gd name="T71" fmla="*/ 68 h 96"/>
                    <a:gd name="T72" fmla="*/ 11 w 134"/>
                    <a:gd name="T73" fmla="*/ 64 h 96"/>
                    <a:gd name="T74" fmla="*/ 20 w 134"/>
                    <a:gd name="T75" fmla="*/ 60 h 96"/>
                    <a:gd name="T76" fmla="*/ 20 w 134"/>
                    <a:gd name="T77" fmla="*/ 53 h 96"/>
                    <a:gd name="T78" fmla="*/ 26 w 134"/>
                    <a:gd name="T79" fmla="*/ 51 h 96"/>
                    <a:gd name="T80" fmla="*/ 29 w 134"/>
                    <a:gd name="T81" fmla="*/ 46 h 96"/>
                    <a:gd name="T82" fmla="*/ 29 w 134"/>
                    <a:gd name="T83" fmla="*/ 36 h 96"/>
                    <a:gd name="T84" fmla="*/ 44 w 134"/>
                    <a:gd name="T85" fmla="*/ 31 h 96"/>
                    <a:gd name="T86" fmla="*/ 46 w 134"/>
                    <a:gd name="T87" fmla="*/ 27 h 96"/>
                    <a:gd name="T88" fmla="*/ 48 w 134"/>
                    <a:gd name="T89" fmla="*/ 29 h 96"/>
                    <a:gd name="T90" fmla="*/ 52 w 134"/>
                    <a:gd name="T91" fmla="*/ 25 h 96"/>
                    <a:gd name="T92" fmla="*/ 54 w 134"/>
                    <a:gd name="T93" fmla="*/ 21 h 96"/>
                    <a:gd name="T94" fmla="*/ 63 w 134"/>
                    <a:gd name="T95" fmla="*/ 19 h 96"/>
                    <a:gd name="T96" fmla="*/ 74 w 134"/>
                    <a:gd name="T97" fmla="*/ 18 h 96"/>
                    <a:gd name="T98" fmla="*/ 76 w 134"/>
                    <a:gd name="T99" fmla="*/ 16 h 96"/>
                    <a:gd name="T100" fmla="*/ 80 w 134"/>
                    <a:gd name="T101" fmla="*/ 18 h 96"/>
                    <a:gd name="T102" fmla="*/ 82 w 134"/>
                    <a:gd name="T103" fmla="*/ 14 h 96"/>
                    <a:gd name="T104" fmla="*/ 83 w 134"/>
                    <a:gd name="T105" fmla="*/ 14 h 96"/>
                    <a:gd name="T106" fmla="*/ 97 w 134"/>
                    <a:gd name="T107" fmla="*/ 12 h 96"/>
                    <a:gd name="T108" fmla="*/ 100 w 134"/>
                    <a:gd name="T109" fmla="*/ 10 h 96"/>
                    <a:gd name="T110" fmla="*/ 102 w 134"/>
                    <a:gd name="T111" fmla="*/ 8 h 96"/>
                    <a:gd name="T112" fmla="*/ 110 w 134"/>
                    <a:gd name="T113" fmla="*/ 3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34" h="96">
                      <a:moveTo>
                        <a:pt x="110" y="3"/>
                      </a:moveTo>
                      <a:cubicBezTo>
                        <a:pt x="116" y="7"/>
                        <a:pt x="124" y="0"/>
                        <a:pt x="132" y="1"/>
                      </a:cubicBezTo>
                      <a:cubicBezTo>
                        <a:pt x="134" y="6"/>
                        <a:pt x="129" y="6"/>
                        <a:pt x="130" y="10"/>
                      </a:cubicBezTo>
                      <a:cubicBezTo>
                        <a:pt x="124" y="7"/>
                        <a:pt x="114" y="13"/>
                        <a:pt x="106" y="14"/>
                      </a:cubicBezTo>
                      <a:cubicBezTo>
                        <a:pt x="104" y="14"/>
                        <a:pt x="103" y="17"/>
                        <a:pt x="102" y="18"/>
                      </a:cubicBezTo>
                      <a:cubicBezTo>
                        <a:pt x="101" y="18"/>
                        <a:pt x="99" y="17"/>
                        <a:pt x="98" y="18"/>
                      </a:cubicBezTo>
                      <a:cubicBezTo>
                        <a:pt x="98" y="18"/>
                        <a:pt x="95" y="21"/>
                        <a:pt x="95" y="21"/>
                      </a:cubicBezTo>
                      <a:cubicBezTo>
                        <a:pt x="93" y="22"/>
                        <a:pt x="93" y="19"/>
                        <a:pt x="91" y="19"/>
                      </a:cubicBezTo>
                      <a:cubicBezTo>
                        <a:pt x="89" y="20"/>
                        <a:pt x="86" y="21"/>
                        <a:pt x="83" y="21"/>
                      </a:cubicBezTo>
                      <a:cubicBezTo>
                        <a:pt x="82" y="22"/>
                        <a:pt x="78" y="22"/>
                        <a:pt x="76" y="23"/>
                      </a:cubicBezTo>
                      <a:cubicBezTo>
                        <a:pt x="74" y="24"/>
                        <a:pt x="76" y="26"/>
                        <a:pt x="74" y="27"/>
                      </a:cubicBezTo>
                      <a:cubicBezTo>
                        <a:pt x="73" y="28"/>
                        <a:pt x="65" y="27"/>
                        <a:pt x="65" y="32"/>
                      </a:cubicBezTo>
                      <a:cubicBezTo>
                        <a:pt x="65" y="34"/>
                        <a:pt x="61" y="35"/>
                        <a:pt x="59" y="36"/>
                      </a:cubicBezTo>
                      <a:cubicBezTo>
                        <a:pt x="58" y="37"/>
                        <a:pt x="56" y="39"/>
                        <a:pt x="56" y="40"/>
                      </a:cubicBezTo>
                      <a:cubicBezTo>
                        <a:pt x="55" y="41"/>
                        <a:pt x="53" y="42"/>
                        <a:pt x="54" y="44"/>
                      </a:cubicBezTo>
                      <a:cubicBezTo>
                        <a:pt x="48" y="46"/>
                        <a:pt x="48" y="42"/>
                        <a:pt x="44" y="47"/>
                      </a:cubicBezTo>
                      <a:cubicBezTo>
                        <a:pt x="44" y="48"/>
                        <a:pt x="43" y="47"/>
                        <a:pt x="43" y="49"/>
                      </a:cubicBezTo>
                      <a:cubicBezTo>
                        <a:pt x="42" y="52"/>
                        <a:pt x="38" y="51"/>
                        <a:pt x="35" y="53"/>
                      </a:cubicBezTo>
                      <a:cubicBezTo>
                        <a:pt x="35" y="56"/>
                        <a:pt x="37" y="62"/>
                        <a:pt x="31" y="60"/>
                      </a:cubicBezTo>
                      <a:cubicBezTo>
                        <a:pt x="32" y="64"/>
                        <a:pt x="29" y="71"/>
                        <a:pt x="33" y="72"/>
                      </a:cubicBezTo>
                      <a:cubicBezTo>
                        <a:pt x="32" y="73"/>
                        <a:pt x="30" y="74"/>
                        <a:pt x="28" y="75"/>
                      </a:cubicBezTo>
                      <a:cubicBezTo>
                        <a:pt x="25" y="80"/>
                        <a:pt x="32" y="79"/>
                        <a:pt x="31" y="83"/>
                      </a:cubicBezTo>
                      <a:cubicBezTo>
                        <a:pt x="31" y="83"/>
                        <a:pt x="28" y="83"/>
                        <a:pt x="29" y="85"/>
                      </a:cubicBezTo>
                      <a:cubicBezTo>
                        <a:pt x="29" y="84"/>
                        <a:pt x="33" y="87"/>
                        <a:pt x="31" y="87"/>
                      </a:cubicBezTo>
                      <a:cubicBezTo>
                        <a:pt x="33" y="87"/>
                        <a:pt x="34" y="85"/>
                        <a:pt x="33" y="85"/>
                      </a:cubicBezTo>
                      <a:cubicBezTo>
                        <a:pt x="35" y="86"/>
                        <a:pt x="35" y="89"/>
                        <a:pt x="39" y="88"/>
                      </a:cubicBezTo>
                      <a:cubicBezTo>
                        <a:pt x="39" y="92"/>
                        <a:pt x="36" y="92"/>
                        <a:pt x="37" y="96"/>
                      </a:cubicBezTo>
                      <a:cubicBezTo>
                        <a:pt x="31" y="96"/>
                        <a:pt x="26" y="96"/>
                        <a:pt x="20" y="96"/>
                      </a:cubicBezTo>
                      <a:cubicBezTo>
                        <a:pt x="20" y="95"/>
                        <a:pt x="23" y="93"/>
                        <a:pt x="22" y="92"/>
                      </a:cubicBezTo>
                      <a:cubicBezTo>
                        <a:pt x="21" y="90"/>
                        <a:pt x="18" y="91"/>
                        <a:pt x="16" y="90"/>
                      </a:cubicBezTo>
                      <a:cubicBezTo>
                        <a:pt x="15" y="90"/>
                        <a:pt x="14" y="87"/>
                        <a:pt x="13" y="87"/>
                      </a:cubicBezTo>
                      <a:cubicBezTo>
                        <a:pt x="12" y="86"/>
                        <a:pt x="9" y="87"/>
                        <a:pt x="9" y="87"/>
                      </a:cubicBezTo>
                      <a:cubicBezTo>
                        <a:pt x="7" y="84"/>
                        <a:pt x="7" y="87"/>
                        <a:pt x="3" y="87"/>
                      </a:cubicBezTo>
                      <a:cubicBezTo>
                        <a:pt x="3" y="82"/>
                        <a:pt x="0" y="80"/>
                        <a:pt x="2" y="73"/>
                      </a:cubicBezTo>
                      <a:cubicBezTo>
                        <a:pt x="7" y="80"/>
                        <a:pt x="2" y="66"/>
                        <a:pt x="11" y="70"/>
                      </a:cubicBezTo>
                      <a:cubicBezTo>
                        <a:pt x="12" y="68"/>
                        <a:pt x="9" y="68"/>
                        <a:pt x="9" y="68"/>
                      </a:cubicBezTo>
                      <a:cubicBezTo>
                        <a:pt x="9" y="66"/>
                        <a:pt x="15" y="65"/>
                        <a:pt x="11" y="64"/>
                      </a:cubicBezTo>
                      <a:cubicBezTo>
                        <a:pt x="12" y="61"/>
                        <a:pt x="17" y="61"/>
                        <a:pt x="20" y="60"/>
                      </a:cubicBezTo>
                      <a:cubicBezTo>
                        <a:pt x="18" y="57"/>
                        <a:pt x="26" y="54"/>
                        <a:pt x="20" y="53"/>
                      </a:cubicBezTo>
                      <a:cubicBezTo>
                        <a:pt x="20" y="51"/>
                        <a:pt x="24" y="51"/>
                        <a:pt x="26" y="51"/>
                      </a:cubicBezTo>
                      <a:cubicBezTo>
                        <a:pt x="26" y="48"/>
                        <a:pt x="27" y="46"/>
                        <a:pt x="29" y="46"/>
                      </a:cubicBezTo>
                      <a:cubicBezTo>
                        <a:pt x="26" y="42"/>
                        <a:pt x="31" y="42"/>
                        <a:pt x="29" y="36"/>
                      </a:cubicBezTo>
                      <a:cubicBezTo>
                        <a:pt x="37" y="37"/>
                        <a:pt x="39" y="32"/>
                        <a:pt x="44" y="31"/>
                      </a:cubicBezTo>
                      <a:cubicBezTo>
                        <a:pt x="47" y="31"/>
                        <a:pt x="45" y="27"/>
                        <a:pt x="46" y="27"/>
                      </a:cubicBezTo>
                      <a:cubicBezTo>
                        <a:pt x="47" y="26"/>
                        <a:pt x="49" y="28"/>
                        <a:pt x="48" y="29"/>
                      </a:cubicBezTo>
                      <a:cubicBezTo>
                        <a:pt x="49" y="28"/>
                        <a:pt x="51" y="26"/>
                        <a:pt x="52" y="25"/>
                      </a:cubicBezTo>
                      <a:cubicBezTo>
                        <a:pt x="53" y="24"/>
                        <a:pt x="54" y="23"/>
                        <a:pt x="54" y="21"/>
                      </a:cubicBezTo>
                      <a:cubicBezTo>
                        <a:pt x="57" y="22"/>
                        <a:pt x="60" y="21"/>
                        <a:pt x="63" y="19"/>
                      </a:cubicBezTo>
                      <a:cubicBezTo>
                        <a:pt x="66" y="18"/>
                        <a:pt x="68" y="19"/>
                        <a:pt x="74" y="18"/>
                      </a:cubicBezTo>
                      <a:cubicBezTo>
                        <a:pt x="76" y="17"/>
                        <a:pt x="75" y="16"/>
                        <a:pt x="76" y="16"/>
                      </a:cubicBezTo>
                      <a:cubicBezTo>
                        <a:pt x="78" y="15"/>
                        <a:pt x="80" y="18"/>
                        <a:pt x="80" y="18"/>
                      </a:cubicBezTo>
                      <a:cubicBezTo>
                        <a:pt x="83" y="17"/>
                        <a:pt x="78" y="14"/>
                        <a:pt x="82" y="14"/>
                      </a:cubicBezTo>
                      <a:cubicBezTo>
                        <a:pt x="82" y="14"/>
                        <a:pt x="83" y="14"/>
                        <a:pt x="83" y="14"/>
                      </a:cubicBezTo>
                      <a:cubicBezTo>
                        <a:pt x="85" y="13"/>
                        <a:pt x="91" y="13"/>
                        <a:pt x="97" y="12"/>
                      </a:cubicBezTo>
                      <a:cubicBezTo>
                        <a:pt x="100" y="11"/>
                        <a:pt x="99" y="12"/>
                        <a:pt x="100" y="10"/>
                      </a:cubicBezTo>
                      <a:cubicBezTo>
                        <a:pt x="100" y="10"/>
                        <a:pt x="102" y="8"/>
                        <a:pt x="102" y="8"/>
                      </a:cubicBezTo>
                      <a:cubicBezTo>
                        <a:pt x="107" y="6"/>
                        <a:pt x="110" y="12"/>
                        <a:pt x="11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3" name="îṩḻïďe">
                  <a:extLst>
                    <a:ext uri="{FF2B5EF4-FFF2-40B4-BE49-F238E27FC236}">
                      <a16:creationId xmlns:a16="http://schemas.microsoft.com/office/drawing/2014/main" id="{1486F1BB-9672-436A-B76D-7AA885154E7B}"/>
                    </a:ext>
                  </a:extLst>
                </p:cNvPr>
                <p:cNvSpPr/>
                <p:nvPr/>
              </p:nvSpPr>
              <p:spPr bwMode="auto">
                <a:xfrm>
                  <a:off x="4053480" y="668427"/>
                  <a:ext cx="29417" cy="12607"/>
                </a:xfrm>
                <a:custGeom>
                  <a:avLst/>
                  <a:gdLst>
                    <a:gd name="T0" fmla="*/ 10 w 14"/>
                    <a:gd name="T1" fmla="*/ 0 h 6"/>
                    <a:gd name="T2" fmla="*/ 14 w 14"/>
                    <a:gd name="T3" fmla="*/ 0 h 6"/>
                    <a:gd name="T4" fmla="*/ 10 w 14"/>
                    <a:gd name="T5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0" y="0"/>
                      </a:moveTo>
                      <a:cubicBezTo>
                        <a:pt x="11" y="0"/>
                        <a:pt x="12" y="0"/>
                        <a:pt x="14" y="0"/>
                      </a:cubicBezTo>
                      <a:cubicBezTo>
                        <a:pt x="14" y="6"/>
                        <a:pt x="0" y="0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4" name="íṣḷíḓé">
                  <a:extLst>
                    <a:ext uri="{FF2B5EF4-FFF2-40B4-BE49-F238E27FC236}">
                      <a16:creationId xmlns:a16="http://schemas.microsoft.com/office/drawing/2014/main" id="{3E09DF61-B982-4D32-AB62-4CAAC3081ADA}"/>
                    </a:ext>
                  </a:extLst>
                </p:cNvPr>
                <p:cNvSpPr/>
                <p:nvPr/>
              </p:nvSpPr>
              <p:spPr bwMode="auto">
                <a:xfrm>
                  <a:off x="7827187" y="682435"/>
                  <a:ext cx="85448" cy="67238"/>
                </a:xfrm>
                <a:custGeom>
                  <a:avLst/>
                  <a:gdLst>
                    <a:gd name="T0" fmla="*/ 11 w 41"/>
                    <a:gd name="T1" fmla="*/ 1 h 32"/>
                    <a:gd name="T2" fmla="*/ 13 w 41"/>
                    <a:gd name="T3" fmla="*/ 3 h 32"/>
                    <a:gd name="T4" fmla="*/ 24 w 41"/>
                    <a:gd name="T5" fmla="*/ 8 h 32"/>
                    <a:gd name="T6" fmla="*/ 30 w 41"/>
                    <a:gd name="T7" fmla="*/ 5 h 32"/>
                    <a:gd name="T8" fmla="*/ 41 w 41"/>
                    <a:gd name="T9" fmla="*/ 6 h 32"/>
                    <a:gd name="T10" fmla="*/ 37 w 41"/>
                    <a:gd name="T11" fmla="*/ 16 h 32"/>
                    <a:gd name="T12" fmla="*/ 23 w 41"/>
                    <a:gd name="T13" fmla="*/ 19 h 32"/>
                    <a:gd name="T14" fmla="*/ 23 w 41"/>
                    <a:gd name="T15" fmla="*/ 21 h 32"/>
                    <a:gd name="T16" fmla="*/ 19 w 41"/>
                    <a:gd name="T17" fmla="*/ 25 h 32"/>
                    <a:gd name="T18" fmla="*/ 13 w 41"/>
                    <a:gd name="T19" fmla="*/ 27 h 32"/>
                    <a:gd name="T20" fmla="*/ 6 w 41"/>
                    <a:gd name="T21" fmla="*/ 23 h 32"/>
                    <a:gd name="T22" fmla="*/ 0 w 41"/>
                    <a:gd name="T23" fmla="*/ 8 h 32"/>
                    <a:gd name="T24" fmla="*/ 11 w 41"/>
                    <a:gd name="T25" fmla="*/ 1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1" h="32">
                      <a:moveTo>
                        <a:pt x="11" y="1"/>
                      </a:moveTo>
                      <a:cubicBezTo>
                        <a:pt x="13" y="0"/>
                        <a:pt x="13" y="2"/>
                        <a:pt x="13" y="3"/>
                      </a:cubicBezTo>
                      <a:cubicBezTo>
                        <a:pt x="15" y="7"/>
                        <a:pt x="21" y="6"/>
                        <a:pt x="24" y="8"/>
                      </a:cubicBezTo>
                      <a:cubicBezTo>
                        <a:pt x="28" y="10"/>
                        <a:pt x="29" y="5"/>
                        <a:pt x="30" y="5"/>
                      </a:cubicBezTo>
                      <a:cubicBezTo>
                        <a:pt x="32" y="4"/>
                        <a:pt x="35" y="8"/>
                        <a:pt x="41" y="6"/>
                      </a:cubicBezTo>
                      <a:cubicBezTo>
                        <a:pt x="40" y="8"/>
                        <a:pt x="31" y="12"/>
                        <a:pt x="37" y="16"/>
                      </a:cubicBezTo>
                      <a:cubicBezTo>
                        <a:pt x="36" y="20"/>
                        <a:pt x="29" y="20"/>
                        <a:pt x="23" y="19"/>
                      </a:cubicBezTo>
                      <a:cubicBezTo>
                        <a:pt x="20" y="20"/>
                        <a:pt x="21" y="21"/>
                        <a:pt x="23" y="21"/>
                      </a:cubicBezTo>
                      <a:cubicBezTo>
                        <a:pt x="24" y="25"/>
                        <a:pt x="12" y="22"/>
                        <a:pt x="19" y="25"/>
                      </a:cubicBezTo>
                      <a:cubicBezTo>
                        <a:pt x="19" y="32"/>
                        <a:pt x="13" y="21"/>
                        <a:pt x="13" y="27"/>
                      </a:cubicBezTo>
                      <a:cubicBezTo>
                        <a:pt x="10" y="26"/>
                        <a:pt x="12" y="21"/>
                        <a:pt x="6" y="23"/>
                      </a:cubicBezTo>
                      <a:cubicBezTo>
                        <a:pt x="4" y="18"/>
                        <a:pt x="5" y="10"/>
                        <a:pt x="0" y="8"/>
                      </a:cubicBezTo>
                      <a:cubicBezTo>
                        <a:pt x="2" y="4"/>
                        <a:pt x="13" y="8"/>
                        <a:pt x="11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5" name="iṩlíḋè">
                  <a:extLst>
                    <a:ext uri="{FF2B5EF4-FFF2-40B4-BE49-F238E27FC236}">
                      <a16:creationId xmlns:a16="http://schemas.microsoft.com/office/drawing/2014/main" id="{20CBA4EA-DB7A-4BFE-BB17-043A992DE9B3}"/>
                    </a:ext>
                  </a:extLst>
                </p:cNvPr>
                <p:cNvSpPr/>
                <p:nvPr/>
              </p:nvSpPr>
              <p:spPr bwMode="auto">
                <a:xfrm>
                  <a:off x="3770522" y="692241"/>
                  <a:ext cx="23814" cy="15409"/>
                </a:xfrm>
                <a:custGeom>
                  <a:avLst/>
                  <a:gdLst>
                    <a:gd name="T0" fmla="*/ 6 w 11"/>
                    <a:gd name="T1" fmla="*/ 0 h 7"/>
                    <a:gd name="T2" fmla="*/ 8 w 11"/>
                    <a:gd name="T3" fmla="*/ 7 h 7"/>
                    <a:gd name="T4" fmla="*/ 0 w 11"/>
                    <a:gd name="T5" fmla="*/ 5 h 7"/>
                    <a:gd name="T6" fmla="*/ 6 w 11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7">
                      <a:moveTo>
                        <a:pt x="6" y="0"/>
                      </a:moveTo>
                      <a:cubicBezTo>
                        <a:pt x="11" y="1"/>
                        <a:pt x="8" y="2"/>
                        <a:pt x="8" y="7"/>
                      </a:cubicBezTo>
                      <a:cubicBezTo>
                        <a:pt x="6" y="6"/>
                        <a:pt x="4" y="5"/>
                        <a:pt x="0" y="5"/>
                      </a:cubicBezTo>
                      <a:cubicBezTo>
                        <a:pt x="1" y="2"/>
                        <a:pt x="7" y="4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6" name="îSliḑé">
                  <a:extLst>
                    <a:ext uri="{FF2B5EF4-FFF2-40B4-BE49-F238E27FC236}">
                      <a16:creationId xmlns:a16="http://schemas.microsoft.com/office/drawing/2014/main" id="{8A663F19-A45C-4348-9E05-9CB6C5F57824}"/>
                    </a:ext>
                  </a:extLst>
                </p:cNvPr>
                <p:cNvSpPr/>
                <p:nvPr/>
              </p:nvSpPr>
              <p:spPr bwMode="auto">
                <a:xfrm>
                  <a:off x="7921039" y="692241"/>
                  <a:ext cx="39222" cy="36420"/>
                </a:xfrm>
                <a:custGeom>
                  <a:avLst/>
                  <a:gdLst>
                    <a:gd name="T0" fmla="*/ 0 w 19"/>
                    <a:gd name="T1" fmla="*/ 5 h 17"/>
                    <a:gd name="T2" fmla="*/ 19 w 19"/>
                    <a:gd name="T3" fmla="*/ 9 h 17"/>
                    <a:gd name="T4" fmla="*/ 11 w 19"/>
                    <a:gd name="T5" fmla="*/ 16 h 17"/>
                    <a:gd name="T6" fmla="*/ 7 w 19"/>
                    <a:gd name="T7" fmla="*/ 13 h 17"/>
                    <a:gd name="T8" fmla="*/ 4 w 19"/>
                    <a:gd name="T9" fmla="*/ 13 h 17"/>
                    <a:gd name="T10" fmla="*/ 0 w 19"/>
                    <a:gd name="T11" fmla="*/ 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17">
                      <a:moveTo>
                        <a:pt x="0" y="5"/>
                      </a:moveTo>
                      <a:cubicBezTo>
                        <a:pt x="6" y="0"/>
                        <a:pt x="16" y="5"/>
                        <a:pt x="19" y="9"/>
                      </a:cubicBezTo>
                      <a:cubicBezTo>
                        <a:pt x="18" y="13"/>
                        <a:pt x="10" y="10"/>
                        <a:pt x="11" y="16"/>
                      </a:cubicBezTo>
                      <a:cubicBezTo>
                        <a:pt x="9" y="17"/>
                        <a:pt x="8" y="13"/>
                        <a:pt x="7" y="13"/>
                      </a:cubicBezTo>
                      <a:cubicBezTo>
                        <a:pt x="7" y="12"/>
                        <a:pt x="4" y="13"/>
                        <a:pt x="4" y="13"/>
                      </a:cubicBezTo>
                      <a:cubicBezTo>
                        <a:pt x="2" y="10"/>
                        <a:pt x="4" y="6"/>
                        <a:pt x="0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7" name="iṣlîḑé">
                  <a:extLst>
                    <a:ext uri="{FF2B5EF4-FFF2-40B4-BE49-F238E27FC236}">
                      <a16:creationId xmlns:a16="http://schemas.microsoft.com/office/drawing/2014/main" id="{3E217C4F-CADD-4AC1-B8A5-1F32FC479370}"/>
                    </a:ext>
                  </a:extLst>
                </p:cNvPr>
                <p:cNvSpPr/>
                <p:nvPr/>
              </p:nvSpPr>
              <p:spPr bwMode="auto">
                <a:xfrm>
                  <a:off x="7971467" y="703447"/>
                  <a:ext cx="60234" cy="30817"/>
                </a:xfrm>
                <a:custGeom>
                  <a:avLst/>
                  <a:gdLst>
                    <a:gd name="T0" fmla="*/ 2 w 29"/>
                    <a:gd name="T1" fmla="*/ 2 h 15"/>
                    <a:gd name="T2" fmla="*/ 6 w 29"/>
                    <a:gd name="T3" fmla="*/ 2 h 15"/>
                    <a:gd name="T4" fmla="*/ 15 w 29"/>
                    <a:gd name="T5" fmla="*/ 6 h 15"/>
                    <a:gd name="T6" fmla="*/ 24 w 29"/>
                    <a:gd name="T7" fmla="*/ 9 h 15"/>
                    <a:gd name="T8" fmla="*/ 28 w 29"/>
                    <a:gd name="T9" fmla="*/ 13 h 15"/>
                    <a:gd name="T10" fmla="*/ 6 w 29"/>
                    <a:gd name="T11" fmla="*/ 9 h 15"/>
                    <a:gd name="T12" fmla="*/ 2 w 29"/>
                    <a:gd name="T13" fmla="*/ 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15">
                      <a:moveTo>
                        <a:pt x="2" y="2"/>
                      </a:moveTo>
                      <a:cubicBezTo>
                        <a:pt x="3" y="2"/>
                        <a:pt x="4" y="2"/>
                        <a:pt x="6" y="2"/>
                      </a:cubicBezTo>
                      <a:cubicBezTo>
                        <a:pt x="11" y="0"/>
                        <a:pt x="11" y="5"/>
                        <a:pt x="15" y="6"/>
                      </a:cubicBezTo>
                      <a:cubicBezTo>
                        <a:pt x="19" y="7"/>
                        <a:pt x="21" y="8"/>
                        <a:pt x="24" y="9"/>
                      </a:cubicBezTo>
                      <a:cubicBezTo>
                        <a:pt x="26" y="11"/>
                        <a:pt x="29" y="9"/>
                        <a:pt x="28" y="13"/>
                      </a:cubicBezTo>
                      <a:cubicBezTo>
                        <a:pt x="17" y="15"/>
                        <a:pt x="14" y="10"/>
                        <a:pt x="6" y="9"/>
                      </a:cubicBezTo>
                      <a:cubicBezTo>
                        <a:pt x="8" y="3"/>
                        <a:pt x="0" y="8"/>
                        <a:pt x="2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8" name="ïśļîḍê">
                  <a:extLst>
                    <a:ext uri="{FF2B5EF4-FFF2-40B4-BE49-F238E27FC236}">
                      <a16:creationId xmlns:a16="http://schemas.microsoft.com/office/drawing/2014/main" id="{2DDC1F7F-F1F4-4293-B59A-27A566AD9378}"/>
                    </a:ext>
                  </a:extLst>
                </p:cNvPr>
                <p:cNvSpPr/>
                <p:nvPr/>
              </p:nvSpPr>
              <p:spPr bwMode="auto">
                <a:xfrm>
                  <a:off x="4035269" y="752474"/>
                  <a:ext cx="98055" cy="81245"/>
                </a:xfrm>
                <a:custGeom>
                  <a:avLst/>
                  <a:gdLst>
                    <a:gd name="T0" fmla="*/ 15 w 47"/>
                    <a:gd name="T1" fmla="*/ 8 h 39"/>
                    <a:gd name="T2" fmla="*/ 15 w 47"/>
                    <a:gd name="T3" fmla="*/ 6 h 39"/>
                    <a:gd name="T4" fmla="*/ 36 w 47"/>
                    <a:gd name="T5" fmla="*/ 0 h 39"/>
                    <a:gd name="T6" fmla="*/ 39 w 47"/>
                    <a:gd name="T7" fmla="*/ 8 h 39"/>
                    <a:gd name="T8" fmla="*/ 36 w 47"/>
                    <a:gd name="T9" fmla="*/ 13 h 39"/>
                    <a:gd name="T10" fmla="*/ 45 w 47"/>
                    <a:gd name="T11" fmla="*/ 15 h 39"/>
                    <a:gd name="T12" fmla="*/ 47 w 47"/>
                    <a:gd name="T13" fmla="*/ 30 h 39"/>
                    <a:gd name="T14" fmla="*/ 41 w 47"/>
                    <a:gd name="T15" fmla="*/ 30 h 39"/>
                    <a:gd name="T16" fmla="*/ 41 w 47"/>
                    <a:gd name="T17" fmla="*/ 34 h 39"/>
                    <a:gd name="T18" fmla="*/ 36 w 47"/>
                    <a:gd name="T19" fmla="*/ 34 h 39"/>
                    <a:gd name="T20" fmla="*/ 30 w 47"/>
                    <a:gd name="T21" fmla="*/ 38 h 39"/>
                    <a:gd name="T22" fmla="*/ 24 w 47"/>
                    <a:gd name="T23" fmla="*/ 32 h 39"/>
                    <a:gd name="T24" fmla="*/ 19 w 47"/>
                    <a:gd name="T25" fmla="*/ 26 h 39"/>
                    <a:gd name="T26" fmla="*/ 15 w 47"/>
                    <a:gd name="T27" fmla="*/ 23 h 39"/>
                    <a:gd name="T28" fmla="*/ 6 w 47"/>
                    <a:gd name="T29" fmla="*/ 21 h 39"/>
                    <a:gd name="T30" fmla="*/ 0 w 47"/>
                    <a:gd name="T31" fmla="*/ 17 h 39"/>
                    <a:gd name="T32" fmla="*/ 19 w 47"/>
                    <a:gd name="T33" fmla="*/ 19 h 39"/>
                    <a:gd name="T34" fmla="*/ 21 w 47"/>
                    <a:gd name="T35" fmla="*/ 12 h 39"/>
                    <a:gd name="T36" fmla="*/ 13 w 47"/>
                    <a:gd name="T37" fmla="*/ 6 h 39"/>
                    <a:gd name="T38" fmla="*/ 15 w 47"/>
                    <a:gd name="T39" fmla="*/ 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7" h="39">
                      <a:moveTo>
                        <a:pt x="15" y="8"/>
                      </a:moveTo>
                      <a:cubicBezTo>
                        <a:pt x="17" y="7"/>
                        <a:pt x="16" y="6"/>
                        <a:pt x="15" y="6"/>
                      </a:cubicBezTo>
                      <a:cubicBezTo>
                        <a:pt x="19" y="2"/>
                        <a:pt x="33" y="6"/>
                        <a:pt x="36" y="0"/>
                      </a:cubicBezTo>
                      <a:cubicBezTo>
                        <a:pt x="38" y="2"/>
                        <a:pt x="39" y="4"/>
                        <a:pt x="39" y="8"/>
                      </a:cubicBezTo>
                      <a:cubicBezTo>
                        <a:pt x="40" y="12"/>
                        <a:pt x="36" y="11"/>
                        <a:pt x="36" y="13"/>
                      </a:cubicBezTo>
                      <a:cubicBezTo>
                        <a:pt x="37" y="19"/>
                        <a:pt x="41" y="16"/>
                        <a:pt x="45" y="15"/>
                      </a:cubicBezTo>
                      <a:cubicBezTo>
                        <a:pt x="47" y="23"/>
                        <a:pt x="45" y="22"/>
                        <a:pt x="47" y="30"/>
                      </a:cubicBezTo>
                      <a:cubicBezTo>
                        <a:pt x="46" y="31"/>
                        <a:pt x="42" y="29"/>
                        <a:pt x="41" y="30"/>
                      </a:cubicBezTo>
                      <a:cubicBezTo>
                        <a:pt x="41" y="31"/>
                        <a:pt x="42" y="34"/>
                        <a:pt x="41" y="34"/>
                      </a:cubicBezTo>
                      <a:cubicBezTo>
                        <a:pt x="40" y="35"/>
                        <a:pt x="37" y="34"/>
                        <a:pt x="36" y="34"/>
                      </a:cubicBezTo>
                      <a:cubicBezTo>
                        <a:pt x="33" y="34"/>
                        <a:pt x="33" y="37"/>
                        <a:pt x="30" y="38"/>
                      </a:cubicBezTo>
                      <a:cubicBezTo>
                        <a:pt x="26" y="39"/>
                        <a:pt x="26" y="34"/>
                        <a:pt x="24" y="32"/>
                      </a:cubicBezTo>
                      <a:cubicBezTo>
                        <a:pt x="23" y="31"/>
                        <a:pt x="17" y="31"/>
                        <a:pt x="19" y="26"/>
                      </a:cubicBezTo>
                      <a:cubicBezTo>
                        <a:pt x="16" y="27"/>
                        <a:pt x="15" y="25"/>
                        <a:pt x="15" y="23"/>
                      </a:cubicBezTo>
                      <a:cubicBezTo>
                        <a:pt x="12" y="24"/>
                        <a:pt x="9" y="22"/>
                        <a:pt x="6" y="21"/>
                      </a:cubicBezTo>
                      <a:cubicBezTo>
                        <a:pt x="3" y="20"/>
                        <a:pt x="0" y="22"/>
                        <a:pt x="0" y="17"/>
                      </a:cubicBezTo>
                      <a:cubicBezTo>
                        <a:pt x="8" y="16"/>
                        <a:pt x="11" y="20"/>
                        <a:pt x="19" y="19"/>
                      </a:cubicBezTo>
                      <a:cubicBezTo>
                        <a:pt x="21" y="18"/>
                        <a:pt x="20" y="14"/>
                        <a:pt x="21" y="12"/>
                      </a:cubicBezTo>
                      <a:cubicBezTo>
                        <a:pt x="21" y="7"/>
                        <a:pt x="10" y="13"/>
                        <a:pt x="13" y="6"/>
                      </a:cubicBezTo>
                      <a:cubicBezTo>
                        <a:pt x="15" y="6"/>
                        <a:pt x="15" y="7"/>
                        <a:pt x="15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09" name="iṧlîḋê">
                  <a:extLst>
                    <a:ext uri="{FF2B5EF4-FFF2-40B4-BE49-F238E27FC236}">
                      <a16:creationId xmlns:a16="http://schemas.microsoft.com/office/drawing/2014/main" id="{0DB4BA5E-3498-4521-B5F4-031501A6F597}"/>
                    </a:ext>
                  </a:extLst>
                </p:cNvPr>
                <p:cNvSpPr/>
                <p:nvPr/>
              </p:nvSpPr>
              <p:spPr bwMode="auto">
                <a:xfrm>
                  <a:off x="4384064" y="760879"/>
                  <a:ext cx="58833" cy="28016"/>
                </a:xfrm>
                <a:custGeom>
                  <a:avLst/>
                  <a:gdLst>
                    <a:gd name="T0" fmla="*/ 0 w 28"/>
                    <a:gd name="T1" fmla="*/ 2 h 13"/>
                    <a:gd name="T2" fmla="*/ 7 w 28"/>
                    <a:gd name="T3" fmla="*/ 0 h 13"/>
                    <a:gd name="T4" fmla="*/ 28 w 28"/>
                    <a:gd name="T5" fmla="*/ 6 h 13"/>
                    <a:gd name="T6" fmla="*/ 26 w 28"/>
                    <a:gd name="T7" fmla="*/ 13 h 13"/>
                    <a:gd name="T8" fmla="*/ 6 w 28"/>
                    <a:gd name="T9" fmla="*/ 6 h 13"/>
                    <a:gd name="T10" fmla="*/ 0 w 28"/>
                    <a:gd name="T11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13">
                      <a:moveTo>
                        <a:pt x="0" y="2"/>
                      </a:moveTo>
                      <a:cubicBezTo>
                        <a:pt x="0" y="0"/>
                        <a:pt x="5" y="0"/>
                        <a:pt x="7" y="0"/>
                      </a:cubicBezTo>
                      <a:cubicBezTo>
                        <a:pt x="14" y="1"/>
                        <a:pt x="22" y="5"/>
                        <a:pt x="28" y="6"/>
                      </a:cubicBezTo>
                      <a:cubicBezTo>
                        <a:pt x="28" y="9"/>
                        <a:pt x="26" y="10"/>
                        <a:pt x="26" y="13"/>
                      </a:cubicBezTo>
                      <a:cubicBezTo>
                        <a:pt x="16" y="13"/>
                        <a:pt x="12" y="11"/>
                        <a:pt x="6" y="6"/>
                      </a:cubicBezTo>
                      <a:cubicBezTo>
                        <a:pt x="4" y="4"/>
                        <a:pt x="4" y="1"/>
                        <a:pt x="0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0" name="í$ľíḍè">
                  <a:extLst>
                    <a:ext uri="{FF2B5EF4-FFF2-40B4-BE49-F238E27FC236}">
                      <a16:creationId xmlns:a16="http://schemas.microsoft.com/office/drawing/2014/main" id="{85CD65A4-05DC-4D6C-9C04-4EFB74A1F2CB}"/>
                    </a:ext>
                  </a:extLst>
                </p:cNvPr>
                <p:cNvSpPr/>
                <p:nvPr/>
              </p:nvSpPr>
              <p:spPr bwMode="auto">
                <a:xfrm>
                  <a:off x="7881817" y="760879"/>
                  <a:ext cx="39222" cy="15409"/>
                </a:xfrm>
                <a:custGeom>
                  <a:avLst/>
                  <a:gdLst>
                    <a:gd name="T0" fmla="*/ 19 w 19"/>
                    <a:gd name="T1" fmla="*/ 6 h 7"/>
                    <a:gd name="T2" fmla="*/ 0 w 19"/>
                    <a:gd name="T3" fmla="*/ 4 h 7"/>
                    <a:gd name="T4" fmla="*/ 6 w 19"/>
                    <a:gd name="T5" fmla="*/ 0 h 7"/>
                    <a:gd name="T6" fmla="*/ 19 w 19"/>
                    <a:gd name="T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7">
                      <a:moveTo>
                        <a:pt x="19" y="6"/>
                      </a:moveTo>
                      <a:cubicBezTo>
                        <a:pt x="16" y="7"/>
                        <a:pt x="5" y="6"/>
                        <a:pt x="0" y="4"/>
                      </a:cubicBezTo>
                      <a:cubicBezTo>
                        <a:pt x="1" y="1"/>
                        <a:pt x="6" y="3"/>
                        <a:pt x="6" y="0"/>
                      </a:cubicBezTo>
                      <a:cubicBezTo>
                        <a:pt x="10" y="2"/>
                        <a:pt x="19" y="0"/>
                        <a:pt x="19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1" name="iš1îḍe">
                  <a:extLst>
                    <a:ext uri="{FF2B5EF4-FFF2-40B4-BE49-F238E27FC236}">
                      <a16:creationId xmlns:a16="http://schemas.microsoft.com/office/drawing/2014/main" id="{89ED0F57-4B96-47B3-9F04-A9440A659198}"/>
                    </a:ext>
                  </a:extLst>
                </p:cNvPr>
                <p:cNvSpPr/>
                <p:nvPr/>
              </p:nvSpPr>
              <p:spPr bwMode="auto">
                <a:xfrm>
                  <a:off x="4811303" y="846327"/>
                  <a:ext cx="30817" cy="21012"/>
                </a:xfrm>
                <a:custGeom>
                  <a:avLst/>
                  <a:gdLst>
                    <a:gd name="T0" fmla="*/ 15 w 15"/>
                    <a:gd name="T1" fmla="*/ 8 h 10"/>
                    <a:gd name="T2" fmla="*/ 0 w 15"/>
                    <a:gd name="T3" fmla="*/ 4 h 10"/>
                    <a:gd name="T4" fmla="*/ 15 w 15"/>
                    <a:gd name="T5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0">
                      <a:moveTo>
                        <a:pt x="15" y="8"/>
                      </a:moveTo>
                      <a:cubicBezTo>
                        <a:pt x="6" y="10"/>
                        <a:pt x="8" y="2"/>
                        <a:pt x="0" y="4"/>
                      </a:cubicBezTo>
                      <a:cubicBezTo>
                        <a:pt x="3" y="0"/>
                        <a:pt x="15" y="2"/>
                        <a:pt x="15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2" name="ïṣḻiḓè">
                  <a:extLst>
                    <a:ext uri="{FF2B5EF4-FFF2-40B4-BE49-F238E27FC236}">
                      <a16:creationId xmlns:a16="http://schemas.microsoft.com/office/drawing/2014/main" id="{0BEC7F20-1CBE-4A26-9F4C-8BEA3D1ECB8D}"/>
                    </a:ext>
                  </a:extLst>
                </p:cNvPr>
                <p:cNvSpPr/>
                <p:nvPr/>
              </p:nvSpPr>
              <p:spPr bwMode="auto">
                <a:xfrm>
                  <a:off x="4790291" y="867338"/>
                  <a:ext cx="43425" cy="25214"/>
                </a:xfrm>
                <a:custGeom>
                  <a:avLst/>
                  <a:gdLst>
                    <a:gd name="T0" fmla="*/ 21 w 21"/>
                    <a:gd name="T1" fmla="*/ 7 h 12"/>
                    <a:gd name="T2" fmla="*/ 3 w 21"/>
                    <a:gd name="T3" fmla="*/ 7 h 12"/>
                    <a:gd name="T4" fmla="*/ 8 w 21"/>
                    <a:gd name="T5" fmla="*/ 1 h 12"/>
                    <a:gd name="T6" fmla="*/ 21 w 21"/>
                    <a:gd name="T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" h="12">
                      <a:moveTo>
                        <a:pt x="21" y="7"/>
                      </a:moveTo>
                      <a:cubicBezTo>
                        <a:pt x="19" y="12"/>
                        <a:pt x="5" y="12"/>
                        <a:pt x="3" y="7"/>
                      </a:cubicBezTo>
                      <a:cubicBezTo>
                        <a:pt x="0" y="0"/>
                        <a:pt x="9" y="6"/>
                        <a:pt x="8" y="1"/>
                      </a:cubicBezTo>
                      <a:cubicBezTo>
                        <a:pt x="12" y="4"/>
                        <a:pt x="16" y="6"/>
                        <a:pt x="21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3" name="ïṧ1iḍè">
                  <a:extLst>
                    <a:ext uri="{FF2B5EF4-FFF2-40B4-BE49-F238E27FC236}">
                      <a16:creationId xmlns:a16="http://schemas.microsoft.com/office/drawing/2014/main" id="{CE8F9377-C131-4D69-B9A6-09ABEC7CF2DE}"/>
                    </a:ext>
                  </a:extLst>
                </p:cNvPr>
                <p:cNvSpPr/>
                <p:nvPr/>
              </p:nvSpPr>
              <p:spPr bwMode="auto">
                <a:xfrm>
                  <a:off x="6419400" y="885549"/>
                  <a:ext cx="29417" cy="23814"/>
                </a:xfrm>
                <a:custGeom>
                  <a:avLst/>
                  <a:gdLst>
                    <a:gd name="T0" fmla="*/ 6 w 14"/>
                    <a:gd name="T1" fmla="*/ 0 h 11"/>
                    <a:gd name="T2" fmla="*/ 14 w 14"/>
                    <a:gd name="T3" fmla="*/ 7 h 11"/>
                    <a:gd name="T4" fmla="*/ 4 w 14"/>
                    <a:gd name="T5" fmla="*/ 11 h 11"/>
                    <a:gd name="T6" fmla="*/ 2 w 14"/>
                    <a:gd name="T7" fmla="*/ 2 h 11"/>
                    <a:gd name="T8" fmla="*/ 6 w 14"/>
                    <a:gd name="T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11">
                      <a:moveTo>
                        <a:pt x="6" y="0"/>
                      </a:moveTo>
                      <a:cubicBezTo>
                        <a:pt x="11" y="0"/>
                        <a:pt x="13" y="2"/>
                        <a:pt x="14" y="7"/>
                      </a:cubicBezTo>
                      <a:cubicBezTo>
                        <a:pt x="9" y="7"/>
                        <a:pt x="5" y="7"/>
                        <a:pt x="4" y="11"/>
                      </a:cubicBezTo>
                      <a:cubicBezTo>
                        <a:pt x="0" y="11"/>
                        <a:pt x="3" y="4"/>
                        <a:pt x="2" y="2"/>
                      </a:cubicBezTo>
                      <a:cubicBezTo>
                        <a:pt x="5" y="2"/>
                        <a:pt x="6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4" name="iṥ1íḋè">
                  <a:extLst>
                    <a:ext uri="{FF2B5EF4-FFF2-40B4-BE49-F238E27FC236}">
                      <a16:creationId xmlns:a16="http://schemas.microsoft.com/office/drawing/2014/main" id="{0484280E-A2C4-4D10-BCC1-FFD064C69778}"/>
                    </a:ext>
                  </a:extLst>
                </p:cNvPr>
                <p:cNvSpPr/>
                <p:nvPr/>
              </p:nvSpPr>
              <p:spPr bwMode="auto">
                <a:xfrm>
                  <a:off x="3945619" y="900957"/>
                  <a:ext cx="29417" cy="21012"/>
                </a:xfrm>
                <a:custGeom>
                  <a:avLst/>
                  <a:gdLst>
                    <a:gd name="T0" fmla="*/ 13 w 14"/>
                    <a:gd name="T1" fmla="*/ 8 h 10"/>
                    <a:gd name="T2" fmla="*/ 0 w 14"/>
                    <a:gd name="T3" fmla="*/ 10 h 10"/>
                    <a:gd name="T4" fmla="*/ 13 w 14"/>
                    <a:gd name="T5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0">
                      <a:moveTo>
                        <a:pt x="13" y="8"/>
                      </a:moveTo>
                      <a:cubicBezTo>
                        <a:pt x="7" y="7"/>
                        <a:pt x="5" y="9"/>
                        <a:pt x="0" y="10"/>
                      </a:cubicBezTo>
                      <a:cubicBezTo>
                        <a:pt x="1" y="6"/>
                        <a:pt x="14" y="0"/>
                        <a:pt x="1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5" name="isḻíḓè">
                  <a:extLst>
                    <a:ext uri="{FF2B5EF4-FFF2-40B4-BE49-F238E27FC236}">
                      <a16:creationId xmlns:a16="http://schemas.microsoft.com/office/drawing/2014/main" id="{044C48D5-1CC4-4111-BCF7-5C14CEE14065}"/>
                    </a:ext>
                  </a:extLst>
                </p:cNvPr>
                <p:cNvSpPr/>
                <p:nvPr/>
              </p:nvSpPr>
              <p:spPr bwMode="auto">
                <a:xfrm>
                  <a:off x="4434493" y="917766"/>
                  <a:ext cx="47627" cy="29417"/>
                </a:xfrm>
                <a:custGeom>
                  <a:avLst/>
                  <a:gdLst>
                    <a:gd name="T0" fmla="*/ 19 w 23"/>
                    <a:gd name="T1" fmla="*/ 2 h 14"/>
                    <a:gd name="T2" fmla="*/ 21 w 23"/>
                    <a:gd name="T3" fmla="*/ 13 h 14"/>
                    <a:gd name="T4" fmla="*/ 2 w 23"/>
                    <a:gd name="T5" fmla="*/ 9 h 14"/>
                    <a:gd name="T6" fmla="*/ 6 w 23"/>
                    <a:gd name="T7" fmla="*/ 2 h 14"/>
                    <a:gd name="T8" fmla="*/ 19 w 23"/>
                    <a:gd name="T9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4">
                      <a:moveTo>
                        <a:pt x="19" y="2"/>
                      </a:moveTo>
                      <a:cubicBezTo>
                        <a:pt x="21" y="4"/>
                        <a:pt x="23" y="11"/>
                        <a:pt x="21" y="13"/>
                      </a:cubicBezTo>
                      <a:cubicBezTo>
                        <a:pt x="13" y="12"/>
                        <a:pt x="4" y="14"/>
                        <a:pt x="2" y="9"/>
                      </a:cubicBezTo>
                      <a:cubicBezTo>
                        <a:pt x="0" y="3"/>
                        <a:pt x="8" y="8"/>
                        <a:pt x="6" y="2"/>
                      </a:cubicBezTo>
                      <a:cubicBezTo>
                        <a:pt x="11" y="0"/>
                        <a:pt x="19" y="5"/>
                        <a:pt x="1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6" name="íṣ1ïḑé">
                  <a:extLst>
                    <a:ext uri="{FF2B5EF4-FFF2-40B4-BE49-F238E27FC236}">
                      <a16:creationId xmlns:a16="http://schemas.microsoft.com/office/drawing/2014/main" id="{2943953B-C530-4F6B-8EFE-303B6C089579}"/>
                    </a:ext>
                  </a:extLst>
                </p:cNvPr>
                <p:cNvSpPr/>
                <p:nvPr/>
              </p:nvSpPr>
              <p:spPr bwMode="auto">
                <a:xfrm>
                  <a:off x="4416282" y="999012"/>
                  <a:ext cx="57433" cy="26615"/>
                </a:xfrm>
                <a:custGeom>
                  <a:avLst/>
                  <a:gdLst>
                    <a:gd name="T0" fmla="*/ 26 w 28"/>
                    <a:gd name="T1" fmla="*/ 5 h 13"/>
                    <a:gd name="T2" fmla="*/ 19 w 28"/>
                    <a:gd name="T3" fmla="*/ 9 h 13"/>
                    <a:gd name="T4" fmla="*/ 11 w 28"/>
                    <a:gd name="T5" fmla="*/ 11 h 13"/>
                    <a:gd name="T6" fmla="*/ 4 w 28"/>
                    <a:gd name="T7" fmla="*/ 9 h 13"/>
                    <a:gd name="T8" fmla="*/ 5 w 28"/>
                    <a:gd name="T9" fmla="*/ 4 h 13"/>
                    <a:gd name="T10" fmla="*/ 11 w 28"/>
                    <a:gd name="T11" fmla="*/ 0 h 13"/>
                    <a:gd name="T12" fmla="*/ 26 w 28"/>
                    <a:gd name="T13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13">
                      <a:moveTo>
                        <a:pt x="26" y="5"/>
                      </a:moveTo>
                      <a:cubicBezTo>
                        <a:pt x="28" y="11"/>
                        <a:pt x="21" y="9"/>
                        <a:pt x="19" y="9"/>
                      </a:cubicBezTo>
                      <a:cubicBezTo>
                        <a:pt x="18" y="9"/>
                        <a:pt x="13" y="13"/>
                        <a:pt x="11" y="11"/>
                      </a:cubicBezTo>
                      <a:cubicBezTo>
                        <a:pt x="10" y="9"/>
                        <a:pt x="6" y="10"/>
                        <a:pt x="4" y="9"/>
                      </a:cubicBezTo>
                      <a:cubicBezTo>
                        <a:pt x="0" y="4"/>
                        <a:pt x="12" y="6"/>
                        <a:pt x="5" y="4"/>
                      </a:cubicBezTo>
                      <a:cubicBezTo>
                        <a:pt x="6" y="1"/>
                        <a:pt x="11" y="3"/>
                        <a:pt x="11" y="0"/>
                      </a:cubicBezTo>
                      <a:cubicBezTo>
                        <a:pt x="16" y="1"/>
                        <a:pt x="22" y="2"/>
                        <a:pt x="26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7" name="íṡḻîḑê">
                  <a:extLst>
                    <a:ext uri="{FF2B5EF4-FFF2-40B4-BE49-F238E27FC236}">
                      <a16:creationId xmlns:a16="http://schemas.microsoft.com/office/drawing/2014/main" id="{CBBA312D-FC45-4ED9-97EA-84DEA1E3D398}"/>
                    </a:ext>
                  </a:extLst>
                </p:cNvPr>
                <p:cNvSpPr/>
                <p:nvPr/>
              </p:nvSpPr>
              <p:spPr bwMode="auto">
                <a:xfrm>
                  <a:off x="4417683" y="1039635"/>
                  <a:ext cx="26615" cy="12607"/>
                </a:xfrm>
                <a:custGeom>
                  <a:avLst/>
                  <a:gdLst>
                    <a:gd name="T0" fmla="*/ 10 w 13"/>
                    <a:gd name="T1" fmla="*/ 6 h 6"/>
                    <a:gd name="T2" fmla="*/ 3 w 13"/>
                    <a:gd name="T3" fmla="*/ 6 h 6"/>
                    <a:gd name="T4" fmla="*/ 10 w 13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6">
                      <a:moveTo>
                        <a:pt x="10" y="6"/>
                      </a:moveTo>
                      <a:cubicBezTo>
                        <a:pt x="6" y="3"/>
                        <a:pt x="8" y="6"/>
                        <a:pt x="3" y="6"/>
                      </a:cubicBezTo>
                      <a:cubicBezTo>
                        <a:pt x="0" y="0"/>
                        <a:pt x="13" y="0"/>
                        <a:pt x="1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8" name="ïš1ïḑè">
                  <a:extLst>
                    <a:ext uri="{FF2B5EF4-FFF2-40B4-BE49-F238E27FC236}">
                      <a16:creationId xmlns:a16="http://schemas.microsoft.com/office/drawing/2014/main" id="{60A98729-F7B8-4DBA-89B9-88CC5651F9D0}"/>
                    </a:ext>
                  </a:extLst>
                </p:cNvPr>
                <p:cNvSpPr/>
                <p:nvPr/>
              </p:nvSpPr>
              <p:spPr bwMode="auto">
                <a:xfrm>
                  <a:off x="4330835" y="1059246"/>
                  <a:ext cx="30817" cy="18211"/>
                </a:xfrm>
                <a:custGeom>
                  <a:avLst/>
                  <a:gdLst>
                    <a:gd name="T0" fmla="*/ 13 w 15"/>
                    <a:gd name="T1" fmla="*/ 1 h 9"/>
                    <a:gd name="T2" fmla="*/ 15 w 15"/>
                    <a:gd name="T3" fmla="*/ 4 h 9"/>
                    <a:gd name="T4" fmla="*/ 7 w 15"/>
                    <a:gd name="T5" fmla="*/ 6 h 9"/>
                    <a:gd name="T6" fmla="*/ 0 w 15"/>
                    <a:gd name="T7" fmla="*/ 6 h 9"/>
                    <a:gd name="T8" fmla="*/ 13 w 15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9">
                      <a:moveTo>
                        <a:pt x="13" y="1"/>
                      </a:moveTo>
                      <a:cubicBezTo>
                        <a:pt x="13" y="3"/>
                        <a:pt x="13" y="4"/>
                        <a:pt x="15" y="4"/>
                      </a:cubicBezTo>
                      <a:cubicBezTo>
                        <a:pt x="15" y="8"/>
                        <a:pt x="9" y="5"/>
                        <a:pt x="7" y="6"/>
                      </a:cubicBezTo>
                      <a:cubicBezTo>
                        <a:pt x="5" y="9"/>
                        <a:pt x="7" y="6"/>
                        <a:pt x="0" y="6"/>
                      </a:cubicBezTo>
                      <a:cubicBezTo>
                        <a:pt x="3" y="3"/>
                        <a:pt x="6" y="0"/>
                        <a:pt x="1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19" name="ïśḷïḍê">
                  <a:extLst>
                    <a:ext uri="{FF2B5EF4-FFF2-40B4-BE49-F238E27FC236}">
                      <a16:creationId xmlns:a16="http://schemas.microsoft.com/office/drawing/2014/main" id="{B3EF1034-D553-4DE2-A11E-E1B55013EAA3}"/>
                    </a:ext>
                  </a:extLst>
                </p:cNvPr>
                <p:cNvSpPr/>
                <p:nvPr/>
              </p:nvSpPr>
              <p:spPr bwMode="auto">
                <a:xfrm>
                  <a:off x="4388266" y="1076055"/>
                  <a:ext cx="12607" cy="18211"/>
                </a:xfrm>
                <a:custGeom>
                  <a:avLst/>
                  <a:gdLst>
                    <a:gd name="T0" fmla="*/ 2 w 6"/>
                    <a:gd name="T1" fmla="*/ 0 h 9"/>
                    <a:gd name="T2" fmla="*/ 5 w 6"/>
                    <a:gd name="T3" fmla="*/ 8 h 9"/>
                    <a:gd name="T4" fmla="*/ 2 w 6"/>
                    <a:gd name="T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9">
                      <a:moveTo>
                        <a:pt x="2" y="0"/>
                      </a:moveTo>
                      <a:cubicBezTo>
                        <a:pt x="5" y="1"/>
                        <a:pt x="6" y="3"/>
                        <a:pt x="5" y="8"/>
                      </a:cubicBezTo>
                      <a:cubicBezTo>
                        <a:pt x="0" y="9"/>
                        <a:pt x="2" y="3"/>
                        <a:pt x="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0" name="íṣḷîḍè">
                  <a:extLst>
                    <a:ext uri="{FF2B5EF4-FFF2-40B4-BE49-F238E27FC236}">
                      <a16:creationId xmlns:a16="http://schemas.microsoft.com/office/drawing/2014/main" id="{8477A241-D35D-4A44-880B-F4AFCBBDD49C}"/>
                    </a:ext>
                  </a:extLst>
                </p:cNvPr>
                <p:cNvSpPr/>
                <p:nvPr/>
              </p:nvSpPr>
              <p:spPr bwMode="auto">
                <a:xfrm>
                  <a:off x="5499087" y="1237145"/>
                  <a:ext cx="68639" cy="84047"/>
                </a:xfrm>
                <a:custGeom>
                  <a:avLst/>
                  <a:gdLst>
                    <a:gd name="T0" fmla="*/ 12 w 33"/>
                    <a:gd name="T1" fmla="*/ 0 h 40"/>
                    <a:gd name="T2" fmla="*/ 14 w 33"/>
                    <a:gd name="T3" fmla="*/ 2 h 40"/>
                    <a:gd name="T4" fmla="*/ 27 w 33"/>
                    <a:gd name="T5" fmla="*/ 2 h 40"/>
                    <a:gd name="T6" fmla="*/ 32 w 33"/>
                    <a:gd name="T7" fmla="*/ 6 h 40"/>
                    <a:gd name="T8" fmla="*/ 31 w 33"/>
                    <a:gd name="T9" fmla="*/ 10 h 40"/>
                    <a:gd name="T10" fmla="*/ 27 w 33"/>
                    <a:gd name="T11" fmla="*/ 12 h 40"/>
                    <a:gd name="T12" fmla="*/ 31 w 33"/>
                    <a:gd name="T13" fmla="*/ 21 h 40"/>
                    <a:gd name="T14" fmla="*/ 29 w 33"/>
                    <a:gd name="T15" fmla="*/ 30 h 40"/>
                    <a:gd name="T16" fmla="*/ 19 w 33"/>
                    <a:gd name="T17" fmla="*/ 30 h 40"/>
                    <a:gd name="T18" fmla="*/ 18 w 33"/>
                    <a:gd name="T19" fmla="*/ 36 h 40"/>
                    <a:gd name="T20" fmla="*/ 14 w 33"/>
                    <a:gd name="T21" fmla="*/ 40 h 40"/>
                    <a:gd name="T22" fmla="*/ 3 w 33"/>
                    <a:gd name="T23" fmla="*/ 40 h 40"/>
                    <a:gd name="T24" fmla="*/ 6 w 33"/>
                    <a:gd name="T25" fmla="*/ 28 h 40"/>
                    <a:gd name="T26" fmla="*/ 6 w 33"/>
                    <a:gd name="T27" fmla="*/ 21 h 40"/>
                    <a:gd name="T28" fmla="*/ 3 w 33"/>
                    <a:gd name="T29" fmla="*/ 12 h 40"/>
                    <a:gd name="T30" fmla="*/ 10 w 33"/>
                    <a:gd name="T31" fmla="*/ 13 h 40"/>
                    <a:gd name="T32" fmla="*/ 12 w 33"/>
                    <a:gd name="T33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3" h="40">
                      <a:moveTo>
                        <a:pt x="12" y="0"/>
                      </a:moveTo>
                      <a:cubicBezTo>
                        <a:pt x="14" y="0"/>
                        <a:pt x="14" y="1"/>
                        <a:pt x="14" y="2"/>
                      </a:cubicBezTo>
                      <a:cubicBezTo>
                        <a:pt x="14" y="5"/>
                        <a:pt x="22" y="0"/>
                        <a:pt x="27" y="2"/>
                      </a:cubicBezTo>
                      <a:cubicBezTo>
                        <a:pt x="28" y="5"/>
                        <a:pt x="29" y="6"/>
                        <a:pt x="32" y="6"/>
                      </a:cubicBezTo>
                      <a:cubicBezTo>
                        <a:pt x="33" y="8"/>
                        <a:pt x="32" y="9"/>
                        <a:pt x="31" y="10"/>
                      </a:cubicBezTo>
                      <a:cubicBezTo>
                        <a:pt x="31" y="11"/>
                        <a:pt x="28" y="11"/>
                        <a:pt x="27" y="12"/>
                      </a:cubicBezTo>
                      <a:cubicBezTo>
                        <a:pt x="27" y="16"/>
                        <a:pt x="30" y="17"/>
                        <a:pt x="31" y="21"/>
                      </a:cubicBezTo>
                      <a:cubicBezTo>
                        <a:pt x="31" y="24"/>
                        <a:pt x="28" y="26"/>
                        <a:pt x="29" y="30"/>
                      </a:cubicBezTo>
                      <a:cubicBezTo>
                        <a:pt x="26" y="30"/>
                        <a:pt x="23" y="30"/>
                        <a:pt x="19" y="30"/>
                      </a:cubicBezTo>
                      <a:cubicBezTo>
                        <a:pt x="17" y="30"/>
                        <a:pt x="19" y="34"/>
                        <a:pt x="18" y="36"/>
                      </a:cubicBezTo>
                      <a:cubicBezTo>
                        <a:pt x="17" y="37"/>
                        <a:pt x="12" y="36"/>
                        <a:pt x="14" y="40"/>
                      </a:cubicBezTo>
                      <a:cubicBezTo>
                        <a:pt x="10" y="40"/>
                        <a:pt x="6" y="40"/>
                        <a:pt x="3" y="40"/>
                      </a:cubicBezTo>
                      <a:cubicBezTo>
                        <a:pt x="4" y="36"/>
                        <a:pt x="0" y="27"/>
                        <a:pt x="6" y="28"/>
                      </a:cubicBezTo>
                      <a:cubicBezTo>
                        <a:pt x="7" y="23"/>
                        <a:pt x="3" y="25"/>
                        <a:pt x="6" y="21"/>
                      </a:cubicBezTo>
                      <a:cubicBezTo>
                        <a:pt x="8" y="15"/>
                        <a:pt x="1" y="17"/>
                        <a:pt x="3" y="12"/>
                      </a:cubicBezTo>
                      <a:cubicBezTo>
                        <a:pt x="7" y="11"/>
                        <a:pt x="8" y="13"/>
                        <a:pt x="10" y="13"/>
                      </a:cubicBezTo>
                      <a:cubicBezTo>
                        <a:pt x="14" y="13"/>
                        <a:pt x="11" y="4"/>
                        <a:pt x="1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1" name="iṣḷíďe">
                  <a:extLst>
                    <a:ext uri="{FF2B5EF4-FFF2-40B4-BE49-F238E27FC236}">
                      <a16:creationId xmlns:a16="http://schemas.microsoft.com/office/drawing/2014/main" id="{56859FFF-2AB7-41B1-ACCA-EFC1926D325A}"/>
                    </a:ext>
                  </a:extLst>
                </p:cNvPr>
                <p:cNvSpPr/>
                <p:nvPr/>
              </p:nvSpPr>
              <p:spPr bwMode="auto">
                <a:xfrm>
                  <a:off x="3054722" y="1241347"/>
                  <a:ext cx="21012" cy="19611"/>
                </a:xfrm>
                <a:custGeom>
                  <a:avLst/>
                  <a:gdLst>
                    <a:gd name="T0" fmla="*/ 9 w 10"/>
                    <a:gd name="T1" fmla="*/ 0 h 9"/>
                    <a:gd name="T2" fmla="*/ 7 w 10"/>
                    <a:gd name="T3" fmla="*/ 4 h 9"/>
                    <a:gd name="T4" fmla="*/ 0 w 10"/>
                    <a:gd name="T5" fmla="*/ 6 h 9"/>
                    <a:gd name="T6" fmla="*/ 9 w 10"/>
                    <a:gd name="T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9">
                      <a:moveTo>
                        <a:pt x="9" y="0"/>
                      </a:moveTo>
                      <a:cubicBezTo>
                        <a:pt x="10" y="3"/>
                        <a:pt x="8" y="3"/>
                        <a:pt x="7" y="4"/>
                      </a:cubicBezTo>
                      <a:cubicBezTo>
                        <a:pt x="5" y="7"/>
                        <a:pt x="4" y="9"/>
                        <a:pt x="0" y="6"/>
                      </a:cubicBezTo>
                      <a:cubicBezTo>
                        <a:pt x="1" y="2"/>
                        <a:pt x="5" y="1"/>
                        <a:pt x="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2" name="işlíḑê">
                  <a:extLst>
                    <a:ext uri="{FF2B5EF4-FFF2-40B4-BE49-F238E27FC236}">
                      <a16:creationId xmlns:a16="http://schemas.microsoft.com/office/drawing/2014/main" id="{C0358108-623B-4C09-9B31-FC5E418FE0E3}"/>
                    </a:ext>
                  </a:extLst>
                </p:cNvPr>
                <p:cNvSpPr/>
                <p:nvPr/>
              </p:nvSpPr>
              <p:spPr bwMode="auto">
                <a:xfrm>
                  <a:off x="3560405" y="1258157"/>
                  <a:ext cx="25214" cy="37822"/>
                </a:xfrm>
                <a:custGeom>
                  <a:avLst/>
                  <a:gdLst>
                    <a:gd name="T0" fmla="*/ 3 w 12"/>
                    <a:gd name="T1" fmla="*/ 0 h 18"/>
                    <a:gd name="T2" fmla="*/ 12 w 12"/>
                    <a:gd name="T3" fmla="*/ 13 h 18"/>
                    <a:gd name="T4" fmla="*/ 5 w 12"/>
                    <a:gd name="T5" fmla="*/ 9 h 18"/>
                    <a:gd name="T6" fmla="*/ 3 w 12"/>
                    <a:gd name="T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18">
                      <a:moveTo>
                        <a:pt x="3" y="0"/>
                      </a:moveTo>
                      <a:cubicBezTo>
                        <a:pt x="6" y="4"/>
                        <a:pt x="7" y="11"/>
                        <a:pt x="12" y="13"/>
                      </a:cubicBezTo>
                      <a:cubicBezTo>
                        <a:pt x="10" y="18"/>
                        <a:pt x="5" y="12"/>
                        <a:pt x="5" y="9"/>
                      </a:cubicBezTo>
                      <a:cubicBezTo>
                        <a:pt x="0" y="9"/>
                        <a:pt x="0" y="2"/>
                        <a:pt x="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3" name="îṩ1iḑè">
                  <a:extLst>
                    <a:ext uri="{FF2B5EF4-FFF2-40B4-BE49-F238E27FC236}">
                      <a16:creationId xmlns:a16="http://schemas.microsoft.com/office/drawing/2014/main" id="{40DE5AF3-D88E-441B-A2FD-67571C8F4A8B}"/>
                    </a:ext>
                  </a:extLst>
                </p:cNvPr>
                <p:cNvSpPr/>
                <p:nvPr/>
              </p:nvSpPr>
              <p:spPr bwMode="auto">
                <a:xfrm>
                  <a:off x="7900028" y="1241347"/>
                  <a:ext cx="40623" cy="180701"/>
                </a:xfrm>
                <a:custGeom>
                  <a:avLst/>
                  <a:gdLst>
                    <a:gd name="T0" fmla="*/ 6 w 19"/>
                    <a:gd name="T1" fmla="*/ 10 h 87"/>
                    <a:gd name="T2" fmla="*/ 10 w 19"/>
                    <a:gd name="T3" fmla="*/ 23 h 87"/>
                    <a:gd name="T4" fmla="*/ 12 w 19"/>
                    <a:gd name="T5" fmla="*/ 30 h 87"/>
                    <a:gd name="T6" fmla="*/ 12 w 19"/>
                    <a:gd name="T7" fmla="*/ 36 h 87"/>
                    <a:gd name="T8" fmla="*/ 14 w 19"/>
                    <a:gd name="T9" fmla="*/ 51 h 87"/>
                    <a:gd name="T10" fmla="*/ 19 w 19"/>
                    <a:gd name="T11" fmla="*/ 58 h 87"/>
                    <a:gd name="T12" fmla="*/ 12 w 19"/>
                    <a:gd name="T13" fmla="*/ 60 h 87"/>
                    <a:gd name="T14" fmla="*/ 12 w 19"/>
                    <a:gd name="T15" fmla="*/ 73 h 87"/>
                    <a:gd name="T16" fmla="*/ 8 w 19"/>
                    <a:gd name="T17" fmla="*/ 73 h 87"/>
                    <a:gd name="T18" fmla="*/ 12 w 19"/>
                    <a:gd name="T19" fmla="*/ 86 h 87"/>
                    <a:gd name="T20" fmla="*/ 2 w 19"/>
                    <a:gd name="T21" fmla="*/ 84 h 87"/>
                    <a:gd name="T22" fmla="*/ 4 w 19"/>
                    <a:gd name="T23" fmla="*/ 73 h 87"/>
                    <a:gd name="T24" fmla="*/ 1 w 19"/>
                    <a:gd name="T25" fmla="*/ 67 h 87"/>
                    <a:gd name="T26" fmla="*/ 4 w 19"/>
                    <a:gd name="T27" fmla="*/ 45 h 87"/>
                    <a:gd name="T28" fmla="*/ 1 w 19"/>
                    <a:gd name="T29" fmla="*/ 36 h 87"/>
                    <a:gd name="T30" fmla="*/ 1 w 19"/>
                    <a:gd name="T31" fmla="*/ 23 h 87"/>
                    <a:gd name="T32" fmla="*/ 6 w 19"/>
                    <a:gd name="T33" fmla="*/ 17 h 87"/>
                    <a:gd name="T34" fmla="*/ 8 w 19"/>
                    <a:gd name="T35" fmla="*/ 11 h 87"/>
                    <a:gd name="T36" fmla="*/ 6 w 19"/>
                    <a:gd name="T37" fmla="*/ 1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9" h="87">
                      <a:moveTo>
                        <a:pt x="6" y="10"/>
                      </a:moveTo>
                      <a:cubicBezTo>
                        <a:pt x="14" y="0"/>
                        <a:pt x="7" y="20"/>
                        <a:pt x="10" y="23"/>
                      </a:cubicBezTo>
                      <a:cubicBezTo>
                        <a:pt x="13" y="25"/>
                        <a:pt x="8" y="26"/>
                        <a:pt x="12" y="30"/>
                      </a:cubicBezTo>
                      <a:cubicBezTo>
                        <a:pt x="14" y="33"/>
                        <a:pt x="12" y="33"/>
                        <a:pt x="12" y="36"/>
                      </a:cubicBezTo>
                      <a:cubicBezTo>
                        <a:pt x="12" y="38"/>
                        <a:pt x="15" y="43"/>
                        <a:pt x="14" y="51"/>
                      </a:cubicBezTo>
                      <a:cubicBezTo>
                        <a:pt x="13" y="55"/>
                        <a:pt x="16" y="56"/>
                        <a:pt x="19" y="58"/>
                      </a:cubicBezTo>
                      <a:cubicBezTo>
                        <a:pt x="19" y="62"/>
                        <a:pt x="14" y="62"/>
                        <a:pt x="12" y="60"/>
                      </a:cubicBezTo>
                      <a:cubicBezTo>
                        <a:pt x="11" y="65"/>
                        <a:pt x="11" y="73"/>
                        <a:pt x="12" y="73"/>
                      </a:cubicBezTo>
                      <a:cubicBezTo>
                        <a:pt x="12" y="73"/>
                        <a:pt x="8" y="73"/>
                        <a:pt x="8" y="73"/>
                      </a:cubicBezTo>
                      <a:cubicBezTo>
                        <a:pt x="8" y="77"/>
                        <a:pt x="13" y="78"/>
                        <a:pt x="12" y="86"/>
                      </a:cubicBezTo>
                      <a:cubicBezTo>
                        <a:pt x="6" y="84"/>
                        <a:pt x="7" y="87"/>
                        <a:pt x="2" y="84"/>
                      </a:cubicBezTo>
                      <a:cubicBezTo>
                        <a:pt x="6" y="79"/>
                        <a:pt x="2" y="78"/>
                        <a:pt x="4" y="73"/>
                      </a:cubicBezTo>
                      <a:cubicBezTo>
                        <a:pt x="4" y="70"/>
                        <a:pt x="3" y="68"/>
                        <a:pt x="1" y="67"/>
                      </a:cubicBezTo>
                      <a:cubicBezTo>
                        <a:pt x="2" y="63"/>
                        <a:pt x="6" y="55"/>
                        <a:pt x="4" y="45"/>
                      </a:cubicBezTo>
                      <a:cubicBezTo>
                        <a:pt x="4" y="41"/>
                        <a:pt x="1" y="39"/>
                        <a:pt x="1" y="36"/>
                      </a:cubicBezTo>
                      <a:cubicBezTo>
                        <a:pt x="0" y="30"/>
                        <a:pt x="5" y="26"/>
                        <a:pt x="1" y="23"/>
                      </a:cubicBezTo>
                      <a:cubicBezTo>
                        <a:pt x="2" y="20"/>
                        <a:pt x="3" y="18"/>
                        <a:pt x="6" y="17"/>
                      </a:cubicBezTo>
                      <a:cubicBezTo>
                        <a:pt x="6" y="14"/>
                        <a:pt x="6" y="12"/>
                        <a:pt x="8" y="11"/>
                      </a:cubicBezTo>
                      <a:cubicBezTo>
                        <a:pt x="8" y="10"/>
                        <a:pt x="7" y="10"/>
                        <a:pt x="6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4" name="í$ľíḑè">
                  <a:extLst>
                    <a:ext uri="{FF2B5EF4-FFF2-40B4-BE49-F238E27FC236}">
                      <a16:creationId xmlns:a16="http://schemas.microsoft.com/office/drawing/2014/main" id="{17433FF6-5875-4CD3-898B-C1E4443516D7}"/>
                    </a:ext>
                  </a:extLst>
                </p:cNvPr>
                <p:cNvSpPr/>
                <p:nvPr/>
              </p:nvSpPr>
              <p:spPr bwMode="auto">
                <a:xfrm>
                  <a:off x="3023905" y="1260958"/>
                  <a:ext cx="9806" cy="18211"/>
                </a:xfrm>
                <a:custGeom>
                  <a:avLst/>
                  <a:gdLst>
                    <a:gd name="T0" fmla="*/ 2 w 5"/>
                    <a:gd name="T1" fmla="*/ 1 h 9"/>
                    <a:gd name="T2" fmla="*/ 0 w 5"/>
                    <a:gd name="T3" fmla="*/ 6 h 9"/>
                    <a:gd name="T4" fmla="*/ 0 w 5"/>
                    <a:gd name="T5" fmla="*/ 2 h 9"/>
                    <a:gd name="T6" fmla="*/ 2 w 5"/>
                    <a:gd name="T7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9">
                      <a:moveTo>
                        <a:pt x="2" y="1"/>
                      </a:moveTo>
                      <a:cubicBezTo>
                        <a:pt x="5" y="0"/>
                        <a:pt x="4" y="9"/>
                        <a:pt x="0" y="6"/>
                      </a:cubicBezTo>
                      <a:cubicBezTo>
                        <a:pt x="0" y="5"/>
                        <a:pt x="0" y="4"/>
                        <a:pt x="0" y="2"/>
                      </a:cubicBezTo>
                      <a:cubicBezTo>
                        <a:pt x="1" y="3"/>
                        <a:pt x="1" y="2"/>
                        <a:pt x="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5" name="îṩliḑê">
                  <a:extLst>
                    <a:ext uri="{FF2B5EF4-FFF2-40B4-BE49-F238E27FC236}">
                      <a16:creationId xmlns:a16="http://schemas.microsoft.com/office/drawing/2014/main" id="{C166D566-71B0-4224-9E4B-1EB2B732D204}"/>
                    </a:ext>
                  </a:extLst>
                </p:cNvPr>
                <p:cNvSpPr/>
                <p:nvPr/>
              </p:nvSpPr>
              <p:spPr bwMode="auto">
                <a:xfrm>
                  <a:off x="4717451" y="1322593"/>
                  <a:ext cx="116265" cy="98055"/>
                </a:xfrm>
                <a:custGeom>
                  <a:avLst/>
                  <a:gdLst>
                    <a:gd name="T0" fmla="*/ 25 w 56"/>
                    <a:gd name="T1" fmla="*/ 0 h 47"/>
                    <a:gd name="T2" fmla="*/ 30 w 56"/>
                    <a:gd name="T3" fmla="*/ 4 h 47"/>
                    <a:gd name="T4" fmla="*/ 28 w 56"/>
                    <a:gd name="T5" fmla="*/ 12 h 47"/>
                    <a:gd name="T6" fmla="*/ 36 w 56"/>
                    <a:gd name="T7" fmla="*/ 15 h 47"/>
                    <a:gd name="T8" fmla="*/ 47 w 56"/>
                    <a:gd name="T9" fmla="*/ 19 h 47"/>
                    <a:gd name="T10" fmla="*/ 45 w 56"/>
                    <a:gd name="T11" fmla="*/ 26 h 47"/>
                    <a:gd name="T12" fmla="*/ 51 w 56"/>
                    <a:gd name="T13" fmla="*/ 28 h 47"/>
                    <a:gd name="T14" fmla="*/ 54 w 56"/>
                    <a:gd name="T15" fmla="*/ 34 h 47"/>
                    <a:gd name="T16" fmla="*/ 51 w 56"/>
                    <a:gd name="T17" fmla="*/ 43 h 47"/>
                    <a:gd name="T18" fmla="*/ 49 w 56"/>
                    <a:gd name="T19" fmla="*/ 40 h 47"/>
                    <a:gd name="T20" fmla="*/ 38 w 56"/>
                    <a:gd name="T21" fmla="*/ 40 h 47"/>
                    <a:gd name="T22" fmla="*/ 30 w 56"/>
                    <a:gd name="T23" fmla="*/ 47 h 47"/>
                    <a:gd name="T24" fmla="*/ 26 w 56"/>
                    <a:gd name="T25" fmla="*/ 41 h 47"/>
                    <a:gd name="T26" fmla="*/ 21 w 56"/>
                    <a:gd name="T27" fmla="*/ 40 h 47"/>
                    <a:gd name="T28" fmla="*/ 13 w 56"/>
                    <a:gd name="T29" fmla="*/ 34 h 47"/>
                    <a:gd name="T30" fmla="*/ 0 w 56"/>
                    <a:gd name="T31" fmla="*/ 36 h 47"/>
                    <a:gd name="T32" fmla="*/ 2 w 56"/>
                    <a:gd name="T33" fmla="*/ 28 h 47"/>
                    <a:gd name="T34" fmla="*/ 10 w 56"/>
                    <a:gd name="T35" fmla="*/ 25 h 47"/>
                    <a:gd name="T36" fmla="*/ 13 w 56"/>
                    <a:gd name="T37" fmla="*/ 17 h 47"/>
                    <a:gd name="T38" fmla="*/ 15 w 56"/>
                    <a:gd name="T39" fmla="*/ 8 h 47"/>
                    <a:gd name="T40" fmla="*/ 19 w 56"/>
                    <a:gd name="T41" fmla="*/ 8 h 47"/>
                    <a:gd name="T42" fmla="*/ 19 w 56"/>
                    <a:gd name="T43" fmla="*/ 4 h 47"/>
                    <a:gd name="T44" fmla="*/ 25 w 56"/>
                    <a:gd name="T45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6" h="47">
                      <a:moveTo>
                        <a:pt x="25" y="0"/>
                      </a:moveTo>
                      <a:cubicBezTo>
                        <a:pt x="27" y="1"/>
                        <a:pt x="27" y="4"/>
                        <a:pt x="30" y="4"/>
                      </a:cubicBezTo>
                      <a:cubicBezTo>
                        <a:pt x="29" y="8"/>
                        <a:pt x="24" y="8"/>
                        <a:pt x="28" y="12"/>
                      </a:cubicBezTo>
                      <a:cubicBezTo>
                        <a:pt x="27" y="16"/>
                        <a:pt x="33" y="14"/>
                        <a:pt x="36" y="15"/>
                      </a:cubicBezTo>
                      <a:cubicBezTo>
                        <a:pt x="37" y="16"/>
                        <a:pt x="40" y="22"/>
                        <a:pt x="47" y="19"/>
                      </a:cubicBezTo>
                      <a:cubicBezTo>
                        <a:pt x="47" y="24"/>
                        <a:pt x="50" y="25"/>
                        <a:pt x="45" y="26"/>
                      </a:cubicBezTo>
                      <a:cubicBezTo>
                        <a:pt x="45" y="29"/>
                        <a:pt x="49" y="27"/>
                        <a:pt x="51" y="28"/>
                      </a:cubicBezTo>
                      <a:cubicBezTo>
                        <a:pt x="52" y="30"/>
                        <a:pt x="49" y="36"/>
                        <a:pt x="54" y="34"/>
                      </a:cubicBezTo>
                      <a:cubicBezTo>
                        <a:pt x="56" y="40"/>
                        <a:pt x="49" y="38"/>
                        <a:pt x="51" y="43"/>
                      </a:cubicBezTo>
                      <a:cubicBezTo>
                        <a:pt x="49" y="43"/>
                        <a:pt x="49" y="41"/>
                        <a:pt x="49" y="40"/>
                      </a:cubicBezTo>
                      <a:cubicBezTo>
                        <a:pt x="42" y="40"/>
                        <a:pt x="43" y="42"/>
                        <a:pt x="38" y="40"/>
                      </a:cubicBezTo>
                      <a:cubicBezTo>
                        <a:pt x="35" y="42"/>
                        <a:pt x="30" y="42"/>
                        <a:pt x="30" y="47"/>
                      </a:cubicBezTo>
                      <a:cubicBezTo>
                        <a:pt x="27" y="47"/>
                        <a:pt x="28" y="43"/>
                        <a:pt x="26" y="41"/>
                      </a:cubicBezTo>
                      <a:cubicBezTo>
                        <a:pt x="25" y="40"/>
                        <a:pt x="22" y="41"/>
                        <a:pt x="21" y="40"/>
                      </a:cubicBezTo>
                      <a:cubicBezTo>
                        <a:pt x="19" y="38"/>
                        <a:pt x="18" y="35"/>
                        <a:pt x="13" y="34"/>
                      </a:cubicBezTo>
                      <a:cubicBezTo>
                        <a:pt x="7" y="33"/>
                        <a:pt x="7" y="37"/>
                        <a:pt x="0" y="36"/>
                      </a:cubicBezTo>
                      <a:cubicBezTo>
                        <a:pt x="2" y="34"/>
                        <a:pt x="2" y="32"/>
                        <a:pt x="2" y="28"/>
                      </a:cubicBezTo>
                      <a:cubicBezTo>
                        <a:pt x="8" y="31"/>
                        <a:pt x="4" y="22"/>
                        <a:pt x="10" y="25"/>
                      </a:cubicBezTo>
                      <a:cubicBezTo>
                        <a:pt x="7" y="20"/>
                        <a:pt x="12" y="19"/>
                        <a:pt x="13" y="17"/>
                      </a:cubicBezTo>
                      <a:cubicBezTo>
                        <a:pt x="14" y="15"/>
                        <a:pt x="13" y="11"/>
                        <a:pt x="15" y="8"/>
                      </a:cubicBezTo>
                      <a:cubicBezTo>
                        <a:pt x="16" y="7"/>
                        <a:pt x="18" y="8"/>
                        <a:pt x="19" y="8"/>
                      </a:cubicBezTo>
                      <a:cubicBezTo>
                        <a:pt x="20" y="7"/>
                        <a:pt x="18" y="5"/>
                        <a:pt x="19" y="4"/>
                      </a:cubicBezTo>
                      <a:cubicBezTo>
                        <a:pt x="21" y="3"/>
                        <a:pt x="25" y="4"/>
                        <a:pt x="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6" name="ïṧ1îḍê">
                  <a:extLst>
                    <a:ext uri="{FF2B5EF4-FFF2-40B4-BE49-F238E27FC236}">
                      <a16:creationId xmlns:a16="http://schemas.microsoft.com/office/drawing/2014/main" id="{0FEFA6D2-B24C-4161-8C07-6A2CB26A4727}"/>
                    </a:ext>
                  </a:extLst>
                </p:cNvPr>
                <p:cNvSpPr/>
                <p:nvPr/>
              </p:nvSpPr>
              <p:spPr bwMode="auto">
                <a:xfrm>
                  <a:off x="4654415" y="1353410"/>
                  <a:ext cx="29417" cy="25214"/>
                </a:xfrm>
                <a:custGeom>
                  <a:avLst/>
                  <a:gdLst>
                    <a:gd name="T0" fmla="*/ 0 w 14"/>
                    <a:gd name="T1" fmla="*/ 0 h 12"/>
                    <a:gd name="T2" fmla="*/ 14 w 14"/>
                    <a:gd name="T3" fmla="*/ 6 h 12"/>
                    <a:gd name="T4" fmla="*/ 0 w 14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2">
                      <a:moveTo>
                        <a:pt x="0" y="0"/>
                      </a:moveTo>
                      <a:cubicBezTo>
                        <a:pt x="7" y="0"/>
                        <a:pt x="7" y="6"/>
                        <a:pt x="14" y="6"/>
                      </a:cubicBezTo>
                      <a:cubicBezTo>
                        <a:pt x="12" y="12"/>
                        <a:pt x="1" y="6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7" name="iṩḻiḓé">
                  <a:extLst>
                    <a:ext uri="{FF2B5EF4-FFF2-40B4-BE49-F238E27FC236}">
                      <a16:creationId xmlns:a16="http://schemas.microsoft.com/office/drawing/2014/main" id="{D2013417-7B2A-4E70-BA34-4F1D0E5639E1}"/>
                    </a:ext>
                  </a:extLst>
                </p:cNvPr>
                <p:cNvSpPr/>
                <p:nvPr/>
              </p:nvSpPr>
              <p:spPr bwMode="auto">
                <a:xfrm>
                  <a:off x="7886020" y="1451465"/>
                  <a:ext cx="81245" cy="58833"/>
                </a:xfrm>
                <a:custGeom>
                  <a:avLst/>
                  <a:gdLst>
                    <a:gd name="T0" fmla="*/ 11 w 39"/>
                    <a:gd name="T1" fmla="*/ 0 h 28"/>
                    <a:gd name="T2" fmla="*/ 13 w 39"/>
                    <a:gd name="T3" fmla="*/ 2 h 28"/>
                    <a:gd name="T4" fmla="*/ 21 w 39"/>
                    <a:gd name="T5" fmla="*/ 9 h 28"/>
                    <a:gd name="T6" fmla="*/ 39 w 39"/>
                    <a:gd name="T7" fmla="*/ 7 h 28"/>
                    <a:gd name="T8" fmla="*/ 32 w 39"/>
                    <a:gd name="T9" fmla="*/ 19 h 28"/>
                    <a:gd name="T10" fmla="*/ 26 w 39"/>
                    <a:gd name="T11" fmla="*/ 17 h 28"/>
                    <a:gd name="T12" fmla="*/ 19 w 39"/>
                    <a:gd name="T13" fmla="*/ 20 h 28"/>
                    <a:gd name="T14" fmla="*/ 17 w 39"/>
                    <a:gd name="T15" fmla="*/ 26 h 28"/>
                    <a:gd name="T16" fmla="*/ 8 w 39"/>
                    <a:gd name="T17" fmla="*/ 22 h 28"/>
                    <a:gd name="T18" fmla="*/ 11 w 39"/>
                    <a:gd name="T1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" h="28">
                      <a:moveTo>
                        <a:pt x="11" y="0"/>
                      </a:moveTo>
                      <a:cubicBezTo>
                        <a:pt x="13" y="0"/>
                        <a:pt x="13" y="1"/>
                        <a:pt x="13" y="2"/>
                      </a:cubicBezTo>
                      <a:cubicBezTo>
                        <a:pt x="13" y="7"/>
                        <a:pt x="20" y="4"/>
                        <a:pt x="21" y="9"/>
                      </a:cubicBezTo>
                      <a:cubicBezTo>
                        <a:pt x="27" y="7"/>
                        <a:pt x="32" y="10"/>
                        <a:pt x="39" y="7"/>
                      </a:cubicBezTo>
                      <a:cubicBezTo>
                        <a:pt x="39" y="13"/>
                        <a:pt x="32" y="13"/>
                        <a:pt x="32" y="19"/>
                      </a:cubicBezTo>
                      <a:cubicBezTo>
                        <a:pt x="29" y="19"/>
                        <a:pt x="29" y="17"/>
                        <a:pt x="26" y="17"/>
                      </a:cubicBezTo>
                      <a:cubicBezTo>
                        <a:pt x="22" y="16"/>
                        <a:pt x="20" y="25"/>
                        <a:pt x="19" y="20"/>
                      </a:cubicBezTo>
                      <a:cubicBezTo>
                        <a:pt x="17" y="21"/>
                        <a:pt x="17" y="24"/>
                        <a:pt x="17" y="26"/>
                      </a:cubicBezTo>
                      <a:cubicBezTo>
                        <a:pt x="12" y="28"/>
                        <a:pt x="12" y="15"/>
                        <a:pt x="8" y="22"/>
                      </a:cubicBezTo>
                      <a:cubicBezTo>
                        <a:pt x="0" y="17"/>
                        <a:pt x="6" y="3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8" name="iṡḷïḍê">
                  <a:extLst>
                    <a:ext uri="{FF2B5EF4-FFF2-40B4-BE49-F238E27FC236}">
                      <a16:creationId xmlns:a16="http://schemas.microsoft.com/office/drawing/2014/main" id="{29A25296-87E3-40F4-AC6A-AC8D402EBEA8}"/>
                    </a:ext>
                  </a:extLst>
                </p:cNvPr>
                <p:cNvSpPr/>
                <p:nvPr/>
              </p:nvSpPr>
              <p:spPr bwMode="auto">
                <a:xfrm>
                  <a:off x="7743140" y="1520103"/>
                  <a:ext cx="156888" cy="137277"/>
                </a:xfrm>
                <a:custGeom>
                  <a:avLst/>
                  <a:gdLst>
                    <a:gd name="T0" fmla="*/ 67 w 76"/>
                    <a:gd name="T1" fmla="*/ 0 h 66"/>
                    <a:gd name="T2" fmla="*/ 73 w 76"/>
                    <a:gd name="T3" fmla="*/ 2 h 66"/>
                    <a:gd name="T4" fmla="*/ 73 w 76"/>
                    <a:gd name="T5" fmla="*/ 30 h 66"/>
                    <a:gd name="T6" fmla="*/ 71 w 76"/>
                    <a:gd name="T7" fmla="*/ 27 h 66"/>
                    <a:gd name="T8" fmla="*/ 71 w 76"/>
                    <a:gd name="T9" fmla="*/ 38 h 66"/>
                    <a:gd name="T10" fmla="*/ 67 w 76"/>
                    <a:gd name="T11" fmla="*/ 36 h 66"/>
                    <a:gd name="T12" fmla="*/ 67 w 76"/>
                    <a:gd name="T13" fmla="*/ 55 h 66"/>
                    <a:gd name="T14" fmla="*/ 64 w 76"/>
                    <a:gd name="T15" fmla="*/ 53 h 66"/>
                    <a:gd name="T16" fmla="*/ 58 w 76"/>
                    <a:gd name="T17" fmla="*/ 56 h 66"/>
                    <a:gd name="T18" fmla="*/ 54 w 76"/>
                    <a:gd name="T19" fmla="*/ 55 h 66"/>
                    <a:gd name="T20" fmla="*/ 47 w 76"/>
                    <a:gd name="T21" fmla="*/ 56 h 66"/>
                    <a:gd name="T22" fmla="*/ 37 w 76"/>
                    <a:gd name="T23" fmla="*/ 58 h 66"/>
                    <a:gd name="T24" fmla="*/ 34 w 76"/>
                    <a:gd name="T25" fmla="*/ 66 h 66"/>
                    <a:gd name="T26" fmla="*/ 26 w 76"/>
                    <a:gd name="T27" fmla="*/ 56 h 66"/>
                    <a:gd name="T28" fmla="*/ 23 w 76"/>
                    <a:gd name="T29" fmla="*/ 60 h 66"/>
                    <a:gd name="T30" fmla="*/ 19 w 76"/>
                    <a:gd name="T31" fmla="*/ 58 h 66"/>
                    <a:gd name="T32" fmla="*/ 0 w 76"/>
                    <a:gd name="T33" fmla="*/ 62 h 66"/>
                    <a:gd name="T34" fmla="*/ 2 w 76"/>
                    <a:gd name="T35" fmla="*/ 55 h 66"/>
                    <a:gd name="T36" fmla="*/ 6 w 76"/>
                    <a:gd name="T37" fmla="*/ 56 h 66"/>
                    <a:gd name="T38" fmla="*/ 8 w 76"/>
                    <a:gd name="T39" fmla="*/ 53 h 66"/>
                    <a:gd name="T40" fmla="*/ 34 w 76"/>
                    <a:gd name="T41" fmla="*/ 51 h 66"/>
                    <a:gd name="T42" fmla="*/ 37 w 76"/>
                    <a:gd name="T43" fmla="*/ 38 h 66"/>
                    <a:gd name="T44" fmla="*/ 41 w 76"/>
                    <a:gd name="T45" fmla="*/ 34 h 66"/>
                    <a:gd name="T46" fmla="*/ 52 w 76"/>
                    <a:gd name="T47" fmla="*/ 36 h 66"/>
                    <a:gd name="T48" fmla="*/ 52 w 76"/>
                    <a:gd name="T49" fmla="*/ 28 h 66"/>
                    <a:gd name="T50" fmla="*/ 54 w 76"/>
                    <a:gd name="T51" fmla="*/ 32 h 66"/>
                    <a:gd name="T52" fmla="*/ 56 w 76"/>
                    <a:gd name="T53" fmla="*/ 23 h 66"/>
                    <a:gd name="T54" fmla="*/ 62 w 76"/>
                    <a:gd name="T55" fmla="*/ 8 h 66"/>
                    <a:gd name="T56" fmla="*/ 67 w 76"/>
                    <a:gd name="T5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6" h="66">
                      <a:moveTo>
                        <a:pt x="67" y="0"/>
                      </a:moveTo>
                      <a:cubicBezTo>
                        <a:pt x="70" y="0"/>
                        <a:pt x="70" y="2"/>
                        <a:pt x="73" y="2"/>
                      </a:cubicBezTo>
                      <a:cubicBezTo>
                        <a:pt x="73" y="16"/>
                        <a:pt x="76" y="22"/>
                        <a:pt x="73" y="30"/>
                      </a:cubicBezTo>
                      <a:cubicBezTo>
                        <a:pt x="71" y="30"/>
                        <a:pt x="71" y="28"/>
                        <a:pt x="71" y="27"/>
                      </a:cubicBezTo>
                      <a:cubicBezTo>
                        <a:pt x="66" y="28"/>
                        <a:pt x="71" y="34"/>
                        <a:pt x="71" y="38"/>
                      </a:cubicBezTo>
                      <a:cubicBezTo>
                        <a:pt x="69" y="37"/>
                        <a:pt x="69" y="36"/>
                        <a:pt x="67" y="36"/>
                      </a:cubicBezTo>
                      <a:cubicBezTo>
                        <a:pt x="67" y="42"/>
                        <a:pt x="67" y="48"/>
                        <a:pt x="67" y="55"/>
                      </a:cubicBezTo>
                      <a:cubicBezTo>
                        <a:pt x="66" y="54"/>
                        <a:pt x="65" y="53"/>
                        <a:pt x="64" y="53"/>
                      </a:cubicBezTo>
                      <a:cubicBezTo>
                        <a:pt x="60" y="51"/>
                        <a:pt x="59" y="56"/>
                        <a:pt x="58" y="56"/>
                      </a:cubicBezTo>
                      <a:cubicBezTo>
                        <a:pt x="57" y="57"/>
                        <a:pt x="56" y="55"/>
                        <a:pt x="54" y="55"/>
                      </a:cubicBezTo>
                      <a:cubicBezTo>
                        <a:pt x="54" y="54"/>
                        <a:pt x="49" y="56"/>
                        <a:pt x="47" y="56"/>
                      </a:cubicBezTo>
                      <a:cubicBezTo>
                        <a:pt x="46" y="57"/>
                        <a:pt x="42" y="59"/>
                        <a:pt x="37" y="58"/>
                      </a:cubicBezTo>
                      <a:cubicBezTo>
                        <a:pt x="34" y="58"/>
                        <a:pt x="36" y="65"/>
                        <a:pt x="34" y="66"/>
                      </a:cubicBezTo>
                      <a:cubicBezTo>
                        <a:pt x="30" y="64"/>
                        <a:pt x="26" y="62"/>
                        <a:pt x="26" y="56"/>
                      </a:cubicBezTo>
                      <a:cubicBezTo>
                        <a:pt x="23" y="54"/>
                        <a:pt x="23" y="60"/>
                        <a:pt x="23" y="60"/>
                      </a:cubicBezTo>
                      <a:cubicBezTo>
                        <a:pt x="20" y="61"/>
                        <a:pt x="19" y="58"/>
                        <a:pt x="19" y="58"/>
                      </a:cubicBezTo>
                      <a:cubicBezTo>
                        <a:pt x="12" y="59"/>
                        <a:pt x="5" y="65"/>
                        <a:pt x="0" y="62"/>
                      </a:cubicBezTo>
                      <a:cubicBezTo>
                        <a:pt x="2" y="60"/>
                        <a:pt x="2" y="58"/>
                        <a:pt x="2" y="55"/>
                      </a:cubicBezTo>
                      <a:cubicBezTo>
                        <a:pt x="4" y="53"/>
                        <a:pt x="6" y="56"/>
                        <a:pt x="6" y="56"/>
                      </a:cubicBezTo>
                      <a:cubicBezTo>
                        <a:pt x="8" y="56"/>
                        <a:pt x="7" y="53"/>
                        <a:pt x="8" y="53"/>
                      </a:cubicBezTo>
                      <a:cubicBezTo>
                        <a:pt x="14" y="52"/>
                        <a:pt x="26" y="54"/>
                        <a:pt x="34" y="51"/>
                      </a:cubicBezTo>
                      <a:cubicBezTo>
                        <a:pt x="31" y="42"/>
                        <a:pt x="39" y="45"/>
                        <a:pt x="37" y="38"/>
                      </a:cubicBezTo>
                      <a:cubicBezTo>
                        <a:pt x="41" y="40"/>
                        <a:pt x="42" y="39"/>
                        <a:pt x="41" y="34"/>
                      </a:cubicBezTo>
                      <a:cubicBezTo>
                        <a:pt x="45" y="38"/>
                        <a:pt x="49" y="31"/>
                        <a:pt x="52" y="36"/>
                      </a:cubicBezTo>
                      <a:cubicBezTo>
                        <a:pt x="53" y="35"/>
                        <a:pt x="51" y="29"/>
                        <a:pt x="52" y="28"/>
                      </a:cubicBezTo>
                      <a:cubicBezTo>
                        <a:pt x="54" y="27"/>
                        <a:pt x="54" y="32"/>
                        <a:pt x="54" y="32"/>
                      </a:cubicBezTo>
                      <a:cubicBezTo>
                        <a:pt x="56" y="33"/>
                        <a:pt x="60" y="31"/>
                        <a:pt x="56" y="23"/>
                      </a:cubicBezTo>
                      <a:cubicBezTo>
                        <a:pt x="63" y="21"/>
                        <a:pt x="59" y="13"/>
                        <a:pt x="62" y="8"/>
                      </a:cubicBezTo>
                      <a:cubicBezTo>
                        <a:pt x="63" y="5"/>
                        <a:pt x="70" y="5"/>
                        <a:pt x="6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29" name="ïs1íḍe">
                  <a:extLst>
                    <a:ext uri="{FF2B5EF4-FFF2-40B4-BE49-F238E27FC236}">
                      <a16:creationId xmlns:a16="http://schemas.microsoft.com/office/drawing/2014/main" id="{43187828-B9B2-410A-8630-22F224917952}"/>
                    </a:ext>
                  </a:extLst>
                </p:cNvPr>
                <p:cNvSpPr/>
                <p:nvPr/>
              </p:nvSpPr>
              <p:spPr bwMode="auto">
                <a:xfrm>
                  <a:off x="5794652" y="1528507"/>
                  <a:ext cx="28016" cy="30817"/>
                </a:xfrm>
                <a:custGeom>
                  <a:avLst/>
                  <a:gdLst>
                    <a:gd name="T0" fmla="*/ 4 w 13"/>
                    <a:gd name="T1" fmla="*/ 0 h 15"/>
                    <a:gd name="T2" fmla="*/ 0 w 13"/>
                    <a:gd name="T3" fmla="*/ 13 h 15"/>
                    <a:gd name="T4" fmla="*/ 4 w 13"/>
                    <a:gd name="T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5">
                      <a:moveTo>
                        <a:pt x="4" y="0"/>
                      </a:moveTo>
                      <a:cubicBezTo>
                        <a:pt x="13" y="0"/>
                        <a:pt x="10" y="15"/>
                        <a:pt x="0" y="13"/>
                      </a:cubicBezTo>
                      <a:cubicBezTo>
                        <a:pt x="4" y="12"/>
                        <a:pt x="0" y="1"/>
                        <a:pt x="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0" name="ïŝ1íďè">
                  <a:extLst>
                    <a:ext uri="{FF2B5EF4-FFF2-40B4-BE49-F238E27FC236}">
                      <a16:creationId xmlns:a16="http://schemas.microsoft.com/office/drawing/2014/main" id="{D87F97B5-157B-4D37-A63E-D45BD682A579}"/>
                    </a:ext>
                  </a:extLst>
                </p:cNvPr>
                <p:cNvSpPr/>
                <p:nvPr/>
              </p:nvSpPr>
              <p:spPr bwMode="auto">
                <a:xfrm>
                  <a:off x="5861889" y="1571932"/>
                  <a:ext cx="39222" cy="29417"/>
                </a:xfrm>
                <a:custGeom>
                  <a:avLst/>
                  <a:gdLst>
                    <a:gd name="T0" fmla="*/ 15 w 19"/>
                    <a:gd name="T1" fmla="*/ 3 h 14"/>
                    <a:gd name="T2" fmla="*/ 19 w 19"/>
                    <a:gd name="T3" fmla="*/ 13 h 14"/>
                    <a:gd name="T4" fmla="*/ 9 w 19"/>
                    <a:gd name="T5" fmla="*/ 13 h 14"/>
                    <a:gd name="T6" fmla="*/ 9 w 19"/>
                    <a:gd name="T7" fmla="*/ 11 h 14"/>
                    <a:gd name="T8" fmla="*/ 2 w 19"/>
                    <a:gd name="T9" fmla="*/ 9 h 14"/>
                    <a:gd name="T10" fmla="*/ 15 w 19"/>
                    <a:gd name="T11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14">
                      <a:moveTo>
                        <a:pt x="15" y="3"/>
                      </a:moveTo>
                      <a:cubicBezTo>
                        <a:pt x="18" y="5"/>
                        <a:pt x="19" y="8"/>
                        <a:pt x="19" y="13"/>
                      </a:cubicBezTo>
                      <a:cubicBezTo>
                        <a:pt x="17" y="12"/>
                        <a:pt x="11" y="14"/>
                        <a:pt x="9" y="13"/>
                      </a:cubicBezTo>
                      <a:cubicBezTo>
                        <a:pt x="9" y="13"/>
                        <a:pt x="10" y="11"/>
                        <a:pt x="9" y="11"/>
                      </a:cubicBezTo>
                      <a:cubicBezTo>
                        <a:pt x="7" y="10"/>
                        <a:pt x="2" y="12"/>
                        <a:pt x="2" y="9"/>
                      </a:cubicBezTo>
                      <a:cubicBezTo>
                        <a:pt x="0" y="0"/>
                        <a:pt x="15" y="9"/>
                        <a:pt x="1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1" name="îSľíḍê">
                  <a:extLst>
                    <a:ext uri="{FF2B5EF4-FFF2-40B4-BE49-F238E27FC236}">
                      <a16:creationId xmlns:a16="http://schemas.microsoft.com/office/drawing/2014/main" id="{5B8EF9C3-D202-4C6F-9F76-5BDCDC9439D0}"/>
                    </a:ext>
                  </a:extLst>
                </p:cNvPr>
                <p:cNvSpPr/>
                <p:nvPr/>
              </p:nvSpPr>
              <p:spPr bwMode="auto">
                <a:xfrm>
                  <a:off x="6175664" y="1627963"/>
                  <a:ext cx="29417" cy="15409"/>
                </a:xfrm>
                <a:custGeom>
                  <a:avLst/>
                  <a:gdLst>
                    <a:gd name="T0" fmla="*/ 0 w 14"/>
                    <a:gd name="T1" fmla="*/ 6 h 7"/>
                    <a:gd name="T2" fmla="*/ 8 w 14"/>
                    <a:gd name="T3" fmla="*/ 1 h 7"/>
                    <a:gd name="T4" fmla="*/ 6 w 14"/>
                    <a:gd name="T5" fmla="*/ 3 h 7"/>
                    <a:gd name="T6" fmla="*/ 0 w 14"/>
                    <a:gd name="T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7">
                      <a:moveTo>
                        <a:pt x="0" y="6"/>
                      </a:moveTo>
                      <a:cubicBezTo>
                        <a:pt x="0" y="1"/>
                        <a:pt x="3" y="0"/>
                        <a:pt x="8" y="1"/>
                      </a:cubicBezTo>
                      <a:cubicBezTo>
                        <a:pt x="14" y="0"/>
                        <a:pt x="10" y="4"/>
                        <a:pt x="6" y="3"/>
                      </a:cubicBezTo>
                      <a:cubicBezTo>
                        <a:pt x="4" y="4"/>
                        <a:pt x="4" y="7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2" name="ïSḻide">
                  <a:extLst>
                    <a:ext uri="{FF2B5EF4-FFF2-40B4-BE49-F238E27FC236}">
                      <a16:creationId xmlns:a16="http://schemas.microsoft.com/office/drawing/2014/main" id="{91C54DC2-64DD-4E21-8738-7EFCD1C81B6B}"/>
                    </a:ext>
                  </a:extLst>
                </p:cNvPr>
                <p:cNvSpPr/>
                <p:nvPr/>
              </p:nvSpPr>
              <p:spPr bwMode="auto">
                <a:xfrm>
                  <a:off x="7757148" y="1651776"/>
                  <a:ext cx="29417" cy="18211"/>
                </a:xfrm>
                <a:custGeom>
                  <a:avLst/>
                  <a:gdLst>
                    <a:gd name="T0" fmla="*/ 12 w 14"/>
                    <a:gd name="T1" fmla="*/ 1 h 9"/>
                    <a:gd name="T2" fmla="*/ 8 w 14"/>
                    <a:gd name="T3" fmla="*/ 8 h 9"/>
                    <a:gd name="T4" fmla="*/ 1 w 14"/>
                    <a:gd name="T5" fmla="*/ 3 h 9"/>
                    <a:gd name="T6" fmla="*/ 12 w 14"/>
                    <a:gd name="T7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9">
                      <a:moveTo>
                        <a:pt x="12" y="1"/>
                      </a:moveTo>
                      <a:cubicBezTo>
                        <a:pt x="14" y="7"/>
                        <a:pt x="6" y="2"/>
                        <a:pt x="8" y="8"/>
                      </a:cubicBezTo>
                      <a:cubicBezTo>
                        <a:pt x="3" y="9"/>
                        <a:pt x="0" y="8"/>
                        <a:pt x="1" y="3"/>
                      </a:cubicBezTo>
                      <a:cubicBezTo>
                        <a:pt x="5" y="8"/>
                        <a:pt x="6" y="0"/>
                        <a:pt x="1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3" name="í$ľïḍe">
                  <a:extLst>
                    <a:ext uri="{FF2B5EF4-FFF2-40B4-BE49-F238E27FC236}">
                      <a16:creationId xmlns:a16="http://schemas.microsoft.com/office/drawing/2014/main" id="{6003D154-68DF-4A09-96EB-CC43AB4AB267}"/>
                    </a:ext>
                  </a:extLst>
                </p:cNvPr>
                <p:cNvSpPr/>
                <p:nvPr/>
              </p:nvSpPr>
              <p:spPr bwMode="auto">
                <a:xfrm>
                  <a:off x="7706720" y="1653177"/>
                  <a:ext cx="42023" cy="43425"/>
                </a:xfrm>
                <a:custGeom>
                  <a:avLst/>
                  <a:gdLst>
                    <a:gd name="T0" fmla="*/ 17 w 20"/>
                    <a:gd name="T1" fmla="*/ 4 h 21"/>
                    <a:gd name="T2" fmla="*/ 17 w 20"/>
                    <a:gd name="T3" fmla="*/ 17 h 21"/>
                    <a:gd name="T4" fmla="*/ 6 w 20"/>
                    <a:gd name="T5" fmla="*/ 18 h 21"/>
                    <a:gd name="T6" fmla="*/ 0 w 20"/>
                    <a:gd name="T7" fmla="*/ 11 h 21"/>
                    <a:gd name="T8" fmla="*/ 17 w 20"/>
                    <a:gd name="T9" fmla="*/ 4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21">
                      <a:moveTo>
                        <a:pt x="17" y="4"/>
                      </a:moveTo>
                      <a:cubicBezTo>
                        <a:pt x="20" y="9"/>
                        <a:pt x="12" y="14"/>
                        <a:pt x="17" y="17"/>
                      </a:cubicBezTo>
                      <a:cubicBezTo>
                        <a:pt x="17" y="21"/>
                        <a:pt x="9" y="17"/>
                        <a:pt x="6" y="18"/>
                      </a:cubicBezTo>
                      <a:cubicBezTo>
                        <a:pt x="6" y="11"/>
                        <a:pt x="7" y="8"/>
                        <a:pt x="0" y="11"/>
                      </a:cubicBezTo>
                      <a:cubicBezTo>
                        <a:pt x="0" y="2"/>
                        <a:pt x="10" y="0"/>
                        <a:pt x="17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4" name="îŝ1íḋé">
                  <a:extLst>
                    <a:ext uri="{FF2B5EF4-FFF2-40B4-BE49-F238E27FC236}">
                      <a16:creationId xmlns:a16="http://schemas.microsoft.com/office/drawing/2014/main" id="{E905574A-EA4F-4181-9D23-598F0FC0CE42}"/>
                    </a:ext>
                  </a:extLst>
                </p:cNvPr>
                <p:cNvSpPr/>
                <p:nvPr/>
              </p:nvSpPr>
              <p:spPr bwMode="auto">
                <a:xfrm>
                  <a:off x="7561038" y="1807263"/>
                  <a:ext cx="25214" cy="39222"/>
                </a:xfrm>
                <a:custGeom>
                  <a:avLst/>
                  <a:gdLst>
                    <a:gd name="T0" fmla="*/ 11 w 12"/>
                    <a:gd name="T1" fmla="*/ 8 h 19"/>
                    <a:gd name="T2" fmla="*/ 7 w 12"/>
                    <a:gd name="T3" fmla="*/ 19 h 19"/>
                    <a:gd name="T4" fmla="*/ 0 w 12"/>
                    <a:gd name="T5" fmla="*/ 19 h 19"/>
                    <a:gd name="T6" fmla="*/ 1 w 12"/>
                    <a:gd name="T7" fmla="*/ 6 h 19"/>
                    <a:gd name="T8" fmla="*/ 11 w 12"/>
                    <a:gd name="T9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9">
                      <a:moveTo>
                        <a:pt x="11" y="8"/>
                      </a:moveTo>
                      <a:cubicBezTo>
                        <a:pt x="11" y="13"/>
                        <a:pt x="4" y="11"/>
                        <a:pt x="7" y="19"/>
                      </a:cubicBezTo>
                      <a:cubicBezTo>
                        <a:pt x="5" y="19"/>
                        <a:pt x="2" y="19"/>
                        <a:pt x="0" y="19"/>
                      </a:cubicBezTo>
                      <a:cubicBezTo>
                        <a:pt x="0" y="16"/>
                        <a:pt x="6" y="9"/>
                        <a:pt x="1" y="6"/>
                      </a:cubicBezTo>
                      <a:cubicBezTo>
                        <a:pt x="3" y="2"/>
                        <a:pt x="12" y="0"/>
                        <a:pt x="11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5" name="ïṣlïḓê">
                  <a:extLst>
                    <a:ext uri="{FF2B5EF4-FFF2-40B4-BE49-F238E27FC236}">
                      <a16:creationId xmlns:a16="http://schemas.microsoft.com/office/drawing/2014/main" id="{F46D7C7B-85B7-48C0-B1EA-E15D32612428}"/>
                    </a:ext>
                  </a:extLst>
                </p:cNvPr>
                <p:cNvSpPr/>
                <p:nvPr/>
              </p:nvSpPr>
              <p:spPr bwMode="auto">
                <a:xfrm>
                  <a:off x="3912000" y="1825473"/>
                  <a:ext cx="16809" cy="12607"/>
                </a:xfrm>
                <a:custGeom>
                  <a:avLst/>
                  <a:gdLst>
                    <a:gd name="T0" fmla="*/ 0 w 8"/>
                    <a:gd name="T1" fmla="*/ 3 h 6"/>
                    <a:gd name="T2" fmla="*/ 7 w 8"/>
                    <a:gd name="T3" fmla="*/ 1 h 6"/>
                    <a:gd name="T4" fmla="*/ 5 w 8"/>
                    <a:gd name="T5" fmla="*/ 6 h 6"/>
                    <a:gd name="T6" fmla="*/ 1 w 8"/>
                    <a:gd name="T7" fmla="*/ 6 h 6"/>
                    <a:gd name="T8" fmla="*/ 0 w 8"/>
                    <a:gd name="T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0" y="3"/>
                      </a:moveTo>
                      <a:cubicBezTo>
                        <a:pt x="0" y="0"/>
                        <a:pt x="4" y="1"/>
                        <a:pt x="7" y="1"/>
                      </a:cubicBezTo>
                      <a:cubicBezTo>
                        <a:pt x="8" y="4"/>
                        <a:pt x="5" y="4"/>
                        <a:pt x="5" y="6"/>
                      </a:cubicBezTo>
                      <a:cubicBezTo>
                        <a:pt x="4" y="6"/>
                        <a:pt x="3" y="6"/>
                        <a:pt x="1" y="6"/>
                      </a:cubicBezTo>
                      <a:cubicBezTo>
                        <a:pt x="2" y="4"/>
                        <a:pt x="1" y="3"/>
                        <a:pt x="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6" name="ïŝļîḍê">
                  <a:extLst>
                    <a:ext uri="{FF2B5EF4-FFF2-40B4-BE49-F238E27FC236}">
                      <a16:creationId xmlns:a16="http://schemas.microsoft.com/office/drawing/2014/main" id="{C184048F-3F1B-4EA3-8522-C63FFC7D3FF1}"/>
                    </a:ext>
                  </a:extLst>
                </p:cNvPr>
                <p:cNvSpPr/>
                <p:nvPr/>
              </p:nvSpPr>
              <p:spPr bwMode="auto">
                <a:xfrm>
                  <a:off x="4322430" y="1838081"/>
                  <a:ext cx="158289" cy="63036"/>
                </a:xfrm>
                <a:custGeom>
                  <a:avLst/>
                  <a:gdLst>
                    <a:gd name="T0" fmla="*/ 75 w 76"/>
                    <a:gd name="T1" fmla="*/ 21 h 30"/>
                    <a:gd name="T2" fmla="*/ 58 w 76"/>
                    <a:gd name="T3" fmla="*/ 26 h 30"/>
                    <a:gd name="T4" fmla="*/ 54 w 76"/>
                    <a:gd name="T5" fmla="*/ 17 h 30"/>
                    <a:gd name="T6" fmla="*/ 34 w 76"/>
                    <a:gd name="T7" fmla="*/ 13 h 30"/>
                    <a:gd name="T8" fmla="*/ 32 w 76"/>
                    <a:gd name="T9" fmla="*/ 8 h 30"/>
                    <a:gd name="T10" fmla="*/ 13 w 76"/>
                    <a:gd name="T11" fmla="*/ 8 h 30"/>
                    <a:gd name="T12" fmla="*/ 0 w 76"/>
                    <a:gd name="T13" fmla="*/ 11 h 30"/>
                    <a:gd name="T14" fmla="*/ 8 w 76"/>
                    <a:gd name="T15" fmla="*/ 2 h 30"/>
                    <a:gd name="T16" fmla="*/ 24 w 76"/>
                    <a:gd name="T17" fmla="*/ 0 h 30"/>
                    <a:gd name="T18" fmla="*/ 30 w 76"/>
                    <a:gd name="T19" fmla="*/ 4 h 30"/>
                    <a:gd name="T20" fmla="*/ 36 w 76"/>
                    <a:gd name="T21" fmla="*/ 6 h 30"/>
                    <a:gd name="T22" fmla="*/ 50 w 76"/>
                    <a:gd name="T23" fmla="*/ 8 h 30"/>
                    <a:gd name="T24" fmla="*/ 56 w 76"/>
                    <a:gd name="T25" fmla="*/ 17 h 30"/>
                    <a:gd name="T26" fmla="*/ 62 w 76"/>
                    <a:gd name="T27" fmla="*/ 19 h 30"/>
                    <a:gd name="T28" fmla="*/ 75 w 76"/>
                    <a:gd name="T29" fmla="*/ 2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30">
                      <a:moveTo>
                        <a:pt x="75" y="21"/>
                      </a:moveTo>
                      <a:cubicBezTo>
                        <a:pt x="76" y="30"/>
                        <a:pt x="59" y="20"/>
                        <a:pt x="58" y="26"/>
                      </a:cubicBezTo>
                      <a:cubicBezTo>
                        <a:pt x="54" y="26"/>
                        <a:pt x="57" y="18"/>
                        <a:pt x="54" y="17"/>
                      </a:cubicBezTo>
                      <a:cubicBezTo>
                        <a:pt x="48" y="15"/>
                        <a:pt x="41" y="15"/>
                        <a:pt x="34" y="13"/>
                      </a:cubicBezTo>
                      <a:cubicBezTo>
                        <a:pt x="33" y="12"/>
                        <a:pt x="32" y="10"/>
                        <a:pt x="32" y="8"/>
                      </a:cubicBezTo>
                      <a:cubicBezTo>
                        <a:pt x="24" y="8"/>
                        <a:pt x="19" y="7"/>
                        <a:pt x="13" y="8"/>
                      </a:cubicBezTo>
                      <a:cubicBezTo>
                        <a:pt x="9" y="8"/>
                        <a:pt x="5" y="13"/>
                        <a:pt x="0" y="11"/>
                      </a:cubicBezTo>
                      <a:cubicBezTo>
                        <a:pt x="0" y="6"/>
                        <a:pt x="8" y="8"/>
                        <a:pt x="8" y="2"/>
                      </a:cubicBezTo>
                      <a:cubicBezTo>
                        <a:pt x="13" y="1"/>
                        <a:pt x="22" y="4"/>
                        <a:pt x="24" y="0"/>
                      </a:cubicBezTo>
                      <a:cubicBezTo>
                        <a:pt x="33" y="2"/>
                        <a:pt x="22" y="2"/>
                        <a:pt x="30" y="4"/>
                      </a:cubicBezTo>
                      <a:cubicBezTo>
                        <a:pt x="30" y="4"/>
                        <a:pt x="35" y="6"/>
                        <a:pt x="36" y="6"/>
                      </a:cubicBezTo>
                      <a:cubicBezTo>
                        <a:pt x="37" y="8"/>
                        <a:pt x="43" y="8"/>
                        <a:pt x="50" y="8"/>
                      </a:cubicBezTo>
                      <a:cubicBezTo>
                        <a:pt x="49" y="14"/>
                        <a:pt x="60" y="9"/>
                        <a:pt x="56" y="17"/>
                      </a:cubicBezTo>
                      <a:cubicBezTo>
                        <a:pt x="59" y="15"/>
                        <a:pt x="61" y="15"/>
                        <a:pt x="62" y="19"/>
                      </a:cubicBezTo>
                      <a:cubicBezTo>
                        <a:pt x="66" y="20"/>
                        <a:pt x="74" y="17"/>
                        <a:pt x="75" y="2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7" name="íŝḻïďè">
                  <a:extLst>
                    <a:ext uri="{FF2B5EF4-FFF2-40B4-BE49-F238E27FC236}">
                      <a16:creationId xmlns:a16="http://schemas.microsoft.com/office/drawing/2014/main" id="{AEECFC37-69FB-4FBD-8120-8C8683060830}"/>
                    </a:ext>
                  </a:extLst>
                </p:cNvPr>
                <p:cNvSpPr/>
                <p:nvPr/>
              </p:nvSpPr>
              <p:spPr bwMode="auto">
                <a:xfrm>
                  <a:off x="4508734" y="1892711"/>
                  <a:ext cx="64436" cy="35020"/>
                </a:xfrm>
                <a:custGeom>
                  <a:avLst/>
                  <a:gdLst>
                    <a:gd name="T0" fmla="*/ 1 w 31"/>
                    <a:gd name="T1" fmla="*/ 0 h 17"/>
                    <a:gd name="T2" fmla="*/ 16 w 31"/>
                    <a:gd name="T3" fmla="*/ 2 h 17"/>
                    <a:gd name="T4" fmla="*/ 24 w 31"/>
                    <a:gd name="T5" fmla="*/ 4 h 17"/>
                    <a:gd name="T6" fmla="*/ 31 w 31"/>
                    <a:gd name="T7" fmla="*/ 8 h 17"/>
                    <a:gd name="T8" fmla="*/ 5 w 31"/>
                    <a:gd name="T9" fmla="*/ 12 h 17"/>
                    <a:gd name="T10" fmla="*/ 9 w 31"/>
                    <a:gd name="T11" fmla="*/ 10 h 17"/>
                    <a:gd name="T12" fmla="*/ 1 w 31"/>
                    <a:gd name="T1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" h="17">
                      <a:moveTo>
                        <a:pt x="1" y="0"/>
                      </a:moveTo>
                      <a:cubicBezTo>
                        <a:pt x="5" y="3"/>
                        <a:pt x="12" y="1"/>
                        <a:pt x="16" y="2"/>
                      </a:cubicBezTo>
                      <a:cubicBezTo>
                        <a:pt x="17" y="2"/>
                        <a:pt x="22" y="9"/>
                        <a:pt x="24" y="4"/>
                      </a:cubicBezTo>
                      <a:cubicBezTo>
                        <a:pt x="27" y="5"/>
                        <a:pt x="25" y="10"/>
                        <a:pt x="31" y="8"/>
                      </a:cubicBezTo>
                      <a:cubicBezTo>
                        <a:pt x="31" y="17"/>
                        <a:pt x="11" y="13"/>
                        <a:pt x="5" y="12"/>
                      </a:cubicBezTo>
                      <a:cubicBezTo>
                        <a:pt x="4" y="10"/>
                        <a:pt x="9" y="10"/>
                        <a:pt x="9" y="10"/>
                      </a:cubicBezTo>
                      <a:cubicBezTo>
                        <a:pt x="9" y="7"/>
                        <a:pt x="0" y="7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8" name="išḻiďe">
                  <a:extLst>
                    <a:ext uri="{FF2B5EF4-FFF2-40B4-BE49-F238E27FC236}">
                      <a16:creationId xmlns:a16="http://schemas.microsoft.com/office/drawing/2014/main" id="{8320931C-BDBC-455B-A4AA-F289C1C7BF99}"/>
                    </a:ext>
                  </a:extLst>
                </p:cNvPr>
                <p:cNvSpPr/>
                <p:nvPr/>
              </p:nvSpPr>
              <p:spPr bwMode="auto">
                <a:xfrm>
                  <a:off x="7378937" y="1896914"/>
                  <a:ext cx="30817" cy="22413"/>
                </a:xfrm>
                <a:custGeom>
                  <a:avLst/>
                  <a:gdLst>
                    <a:gd name="T0" fmla="*/ 13 w 15"/>
                    <a:gd name="T1" fmla="*/ 0 h 11"/>
                    <a:gd name="T2" fmla="*/ 9 w 15"/>
                    <a:gd name="T3" fmla="*/ 11 h 11"/>
                    <a:gd name="T4" fmla="*/ 0 w 15"/>
                    <a:gd name="T5" fmla="*/ 4 h 11"/>
                    <a:gd name="T6" fmla="*/ 4 w 15"/>
                    <a:gd name="T7" fmla="*/ 0 h 11"/>
                    <a:gd name="T8" fmla="*/ 13 w 15"/>
                    <a:gd name="T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11">
                      <a:moveTo>
                        <a:pt x="13" y="0"/>
                      </a:moveTo>
                      <a:cubicBezTo>
                        <a:pt x="15" y="7"/>
                        <a:pt x="8" y="6"/>
                        <a:pt x="9" y="11"/>
                      </a:cubicBezTo>
                      <a:cubicBezTo>
                        <a:pt x="5" y="10"/>
                        <a:pt x="0" y="10"/>
                        <a:pt x="0" y="4"/>
                      </a:cubicBezTo>
                      <a:cubicBezTo>
                        <a:pt x="3" y="5"/>
                        <a:pt x="3" y="2"/>
                        <a:pt x="4" y="0"/>
                      </a:cubicBezTo>
                      <a:cubicBezTo>
                        <a:pt x="7" y="0"/>
                        <a:pt x="10" y="0"/>
                        <a:pt x="1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39" name="ïSľïḑe">
                  <a:extLst>
                    <a:ext uri="{FF2B5EF4-FFF2-40B4-BE49-F238E27FC236}">
                      <a16:creationId xmlns:a16="http://schemas.microsoft.com/office/drawing/2014/main" id="{08BCEDA7-2615-4584-A293-8B3D0F1E8447}"/>
                    </a:ext>
                  </a:extLst>
                </p:cNvPr>
                <p:cNvSpPr/>
                <p:nvPr/>
              </p:nvSpPr>
              <p:spPr bwMode="auto">
                <a:xfrm>
                  <a:off x="4484921" y="1905318"/>
                  <a:ext cx="23814" cy="18211"/>
                </a:xfrm>
                <a:custGeom>
                  <a:avLst/>
                  <a:gdLst>
                    <a:gd name="T0" fmla="*/ 10 w 12"/>
                    <a:gd name="T1" fmla="*/ 9 h 9"/>
                    <a:gd name="T2" fmla="*/ 0 w 12"/>
                    <a:gd name="T3" fmla="*/ 7 h 9"/>
                    <a:gd name="T4" fmla="*/ 10 w 12"/>
                    <a:gd name="T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9">
                      <a:moveTo>
                        <a:pt x="10" y="9"/>
                      </a:moveTo>
                      <a:cubicBezTo>
                        <a:pt x="8" y="8"/>
                        <a:pt x="5" y="7"/>
                        <a:pt x="0" y="7"/>
                      </a:cubicBezTo>
                      <a:cubicBezTo>
                        <a:pt x="1" y="4"/>
                        <a:pt x="12" y="0"/>
                        <a:pt x="10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0" name="íṡḷïḑê">
                  <a:extLst>
                    <a:ext uri="{FF2B5EF4-FFF2-40B4-BE49-F238E27FC236}">
                      <a16:creationId xmlns:a16="http://schemas.microsoft.com/office/drawing/2014/main" id="{49CC46A9-7045-49A9-BDB0-11EBAEF5B592}"/>
                    </a:ext>
                  </a:extLst>
                </p:cNvPr>
                <p:cNvSpPr/>
                <p:nvPr/>
              </p:nvSpPr>
              <p:spPr bwMode="auto">
                <a:xfrm>
                  <a:off x="4420485" y="1910921"/>
                  <a:ext cx="30817" cy="19611"/>
                </a:xfrm>
                <a:custGeom>
                  <a:avLst/>
                  <a:gdLst>
                    <a:gd name="T0" fmla="*/ 2 w 15"/>
                    <a:gd name="T1" fmla="*/ 3 h 9"/>
                    <a:gd name="T2" fmla="*/ 13 w 15"/>
                    <a:gd name="T3" fmla="*/ 6 h 9"/>
                    <a:gd name="T4" fmla="*/ 2 w 15"/>
                    <a:gd name="T5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9">
                      <a:moveTo>
                        <a:pt x="2" y="3"/>
                      </a:moveTo>
                      <a:cubicBezTo>
                        <a:pt x="5" y="4"/>
                        <a:pt x="15" y="0"/>
                        <a:pt x="13" y="6"/>
                      </a:cubicBezTo>
                      <a:cubicBezTo>
                        <a:pt x="9" y="5"/>
                        <a:pt x="0" y="9"/>
                        <a:pt x="2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1" name="íslidè">
                  <a:extLst>
                    <a:ext uri="{FF2B5EF4-FFF2-40B4-BE49-F238E27FC236}">
                      <a16:creationId xmlns:a16="http://schemas.microsoft.com/office/drawing/2014/main" id="{26A36313-EC5E-4C81-864D-9D183E134416}"/>
                    </a:ext>
                  </a:extLst>
                </p:cNvPr>
                <p:cNvSpPr/>
                <p:nvPr/>
              </p:nvSpPr>
              <p:spPr bwMode="auto">
                <a:xfrm>
                  <a:off x="7551232" y="1919326"/>
                  <a:ext cx="43425" cy="77043"/>
                </a:xfrm>
                <a:custGeom>
                  <a:avLst/>
                  <a:gdLst>
                    <a:gd name="T0" fmla="*/ 10 w 21"/>
                    <a:gd name="T1" fmla="*/ 0 h 37"/>
                    <a:gd name="T2" fmla="*/ 18 w 21"/>
                    <a:gd name="T3" fmla="*/ 0 h 37"/>
                    <a:gd name="T4" fmla="*/ 21 w 21"/>
                    <a:gd name="T5" fmla="*/ 13 h 37"/>
                    <a:gd name="T6" fmla="*/ 16 w 21"/>
                    <a:gd name="T7" fmla="*/ 19 h 37"/>
                    <a:gd name="T8" fmla="*/ 14 w 21"/>
                    <a:gd name="T9" fmla="*/ 25 h 37"/>
                    <a:gd name="T10" fmla="*/ 12 w 21"/>
                    <a:gd name="T11" fmla="*/ 34 h 37"/>
                    <a:gd name="T12" fmla="*/ 6 w 21"/>
                    <a:gd name="T13" fmla="*/ 28 h 37"/>
                    <a:gd name="T14" fmla="*/ 1 w 21"/>
                    <a:gd name="T15" fmla="*/ 21 h 37"/>
                    <a:gd name="T16" fmla="*/ 5 w 21"/>
                    <a:gd name="T17" fmla="*/ 10 h 37"/>
                    <a:gd name="T18" fmla="*/ 10 w 21"/>
                    <a:gd name="T19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37">
                      <a:moveTo>
                        <a:pt x="10" y="0"/>
                      </a:moveTo>
                      <a:cubicBezTo>
                        <a:pt x="13" y="0"/>
                        <a:pt x="15" y="0"/>
                        <a:pt x="18" y="0"/>
                      </a:cubicBezTo>
                      <a:cubicBezTo>
                        <a:pt x="20" y="4"/>
                        <a:pt x="20" y="9"/>
                        <a:pt x="21" y="13"/>
                      </a:cubicBezTo>
                      <a:cubicBezTo>
                        <a:pt x="18" y="14"/>
                        <a:pt x="20" y="20"/>
                        <a:pt x="16" y="19"/>
                      </a:cubicBezTo>
                      <a:cubicBezTo>
                        <a:pt x="16" y="22"/>
                        <a:pt x="16" y="24"/>
                        <a:pt x="14" y="25"/>
                      </a:cubicBezTo>
                      <a:cubicBezTo>
                        <a:pt x="13" y="27"/>
                        <a:pt x="16" y="34"/>
                        <a:pt x="12" y="34"/>
                      </a:cubicBezTo>
                      <a:cubicBezTo>
                        <a:pt x="6" y="37"/>
                        <a:pt x="11" y="29"/>
                        <a:pt x="6" y="28"/>
                      </a:cubicBezTo>
                      <a:cubicBezTo>
                        <a:pt x="4" y="28"/>
                        <a:pt x="3" y="23"/>
                        <a:pt x="1" y="21"/>
                      </a:cubicBezTo>
                      <a:cubicBezTo>
                        <a:pt x="0" y="16"/>
                        <a:pt x="7" y="17"/>
                        <a:pt x="5" y="10"/>
                      </a:cubicBezTo>
                      <a:cubicBezTo>
                        <a:pt x="9" y="14"/>
                        <a:pt x="9" y="5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2" name="îšḻîḍé">
                  <a:extLst>
                    <a:ext uri="{FF2B5EF4-FFF2-40B4-BE49-F238E27FC236}">
                      <a16:creationId xmlns:a16="http://schemas.microsoft.com/office/drawing/2014/main" id="{D24E4807-5362-42BA-9BDD-7A22527B1056}"/>
                    </a:ext>
                  </a:extLst>
                </p:cNvPr>
                <p:cNvSpPr/>
                <p:nvPr/>
              </p:nvSpPr>
              <p:spPr bwMode="auto">
                <a:xfrm>
                  <a:off x="7594657" y="1983762"/>
                  <a:ext cx="58833" cy="60234"/>
                </a:xfrm>
                <a:custGeom>
                  <a:avLst/>
                  <a:gdLst>
                    <a:gd name="T0" fmla="*/ 15 w 28"/>
                    <a:gd name="T1" fmla="*/ 3 h 29"/>
                    <a:gd name="T2" fmla="*/ 21 w 28"/>
                    <a:gd name="T3" fmla="*/ 9 h 29"/>
                    <a:gd name="T4" fmla="*/ 19 w 28"/>
                    <a:gd name="T5" fmla="*/ 10 h 29"/>
                    <a:gd name="T6" fmla="*/ 21 w 28"/>
                    <a:gd name="T7" fmla="*/ 14 h 29"/>
                    <a:gd name="T8" fmla="*/ 28 w 28"/>
                    <a:gd name="T9" fmla="*/ 23 h 29"/>
                    <a:gd name="T10" fmla="*/ 25 w 28"/>
                    <a:gd name="T11" fmla="*/ 29 h 29"/>
                    <a:gd name="T12" fmla="*/ 19 w 28"/>
                    <a:gd name="T13" fmla="*/ 29 h 29"/>
                    <a:gd name="T14" fmla="*/ 10 w 28"/>
                    <a:gd name="T15" fmla="*/ 20 h 29"/>
                    <a:gd name="T16" fmla="*/ 13 w 28"/>
                    <a:gd name="T17" fmla="*/ 16 h 29"/>
                    <a:gd name="T18" fmla="*/ 0 w 28"/>
                    <a:gd name="T19" fmla="*/ 5 h 29"/>
                    <a:gd name="T20" fmla="*/ 15 w 28"/>
                    <a:gd name="T21" fmla="*/ 3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8" h="29">
                      <a:moveTo>
                        <a:pt x="15" y="3"/>
                      </a:moveTo>
                      <a:cubicBezTo>
                        <a:pt x="10" y="9"/>
                        <a:pt x="20" y="7"/>
                        <a:pt x="21" y="9"/>
                      </a:cubicBezTo>
                      <a:cubicBezTo>
                        <a:pt x="22" y="10"/>
                        <a:pt x="19" y="10"/>
                        <a:pt x="19" y="10"/>
                      </a:cubicBezTo>
                      <a:cubicBezTo>
                        <a:pt x="19" y="11"/>
                        <a:pt x="21" y="14"/>
                        <a:pt x="21" y="14"/>
                      </a:cubicBezTo>
                      <a:cubicBezTo>
                        <a:pt x="23" y="18"/>
                        <a:pt x="28" y="18"/>
                        <a:pt x="28" y="23"/>
                      </a:cubicBezTo>
                      <a:cubicBezTo>
                        <a:pt x="24" y="23"/>
                        <a:pt x="25" y="26"/>
                        <a:pt x="25" y="29"/>
                      </a:cubicBezTo>
                      <a:cubicBezTo>
                        <a:pt x="23" y="28"/>
                        <a:pt x="19" y="26"/>
                        <a:pt x="19" y="29"/>
                      </a:cubicBezTo>
                      <a:cubicBezTo>
                        <a:pt x="14" y="28"/>
                        <a:pt x="15" y="21"/>
                        <a:pt x="10" y="20"/>
                      </a:cubicBezTo>
                      <a:cubicBezTo>
                        <a:pt x="10" y="18"/>
                        <a:pt x="13" y="18"/>
                        <a:pt x="13" y="16"/>
                      </a:cubicBezTo>
                      <a:cubicBezTo>
                        <a:pt x="9" y="13"/>
                        <a:pt x="6" y="7"/>
                        <a:pt x="0" y="5"/>
                      </a:cubicBezTo>
                      <a:cubicBezTo>
                        <a:pt x="5" y="0"/>
                        <a:pt x="9" y="2"/>
                        <a:pt x="1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3" name="iṧḷîḍè">
                  <a:extLst>
                    <a:ext uri="{FF2B5EF4-FFF2-40B4-BE49-F238E27FC236}">
                      <a16:creationId xmlns:a16="http://schemas.microsoft.com/office/drawing/2014/main" id="{0E469A55-8688-4996-86A0-00ED54515501}"/>
                    </a:ext>
                  </a:extLst>
                </p:cNvPr>
                <p:cNvSpPr/>
                <p:nvPr/>
              </p:nvSpPr>
              <p:spPr bwMode="auto">
                <a:xfrm>
                  <a:off x="7572245" y="2008976"/>
                  <a:ext cx="12607" cy="8405"/>
                </a:xfrm>
                <a:custGeom>
                  <a:avLst/>
                  <a:gdLst>
                    <a:gd name="T0" fmla="*/ 0 w 6"/>
                    <a:gd name="T1" fmla="*/ 0 h 4"/>
                    <a:gd name="T2" fmla="*/ 6 w 6"/>
                    <a:gd name="T3" fmla="*/ 0 h 4"/>
                    <a:gd name="T4" fmla="*/ 6 w 6"/>
                    <a:gd name="T5" fmla="*/ 4 h 4"/>
                    <a:gd name="T6" fmla="*/ 0 w 6"/>
                    <a:gd name="T7" fmla="*/ 4 h 4"/>
                    <a:gd name="T8" fmla="*/ 0 w 6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2" y="0"/>
                        <a:pt x="4" y="0"/>
                        <a:pt x="6" y="0"/>
                      </a:cubicBezTo>
                      <a:cubicBezTo>
                        <a:pt x="6" y="2"/>
                        <a:pt x="6" y="3"/>
                        <a:pt x="6" y="4"/>
                      </a:cubicBezTo>
                      <a:cubicBezTo>
                        <a:pt x="4" y="4"/>
                        <a:pt x="2" y="4"/>
                        <a:pt x="0" y="4"/>
                      </a:cubicBezTo>
                      <a:cubicBezTo>
                        <a:pt x="0" y="3"/>
                        <a:pt x="0" y="2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4" name="îŝļiďé">
                  <a:extLst>
                    <a:ext uri="{FF2B5EF4-FFF2-40B4-BE49-F238E27FC236}">
                      <a16:creationId xmlns:a16="http://schemas.microsoft.com/office/drawing/2014/main" id="{BC27C8A7-9253-4A91-AC6E-DEBD678CE9E7}"/>
                    </a:ext>
                  </a:extLst>
                </p:cNvPr>
                <p:cNvSpPr/>
                <p:nvPr/>
              </p:nvSpPr>
              <p:spPr bwMode="auto">
                <a:xfrm>
                  <a:off x="7590454" y="2018781"/>
                  <a:ext cx="33619" cy="50428"/>
                </a:xfrm>
                <a:custGeom>
                  <a:avLst/>
                  <a:gdLst>
                    <a:gd name="T0" fmla="*/ 15 w 16"/>
                    <a:gd name="T1" fmla="*/ 20 h 24"/>
                    <a:gd name="T2" fmla="*/ 6 w 16"/>
                    <a:gd name="T3" fmla="*/ 21 h 24"/>
                    <a:gd name="T4" fmla="*/ 0 w 16"/>
                    <a:gd name="T5" fmla="*/ 12 h 24"/>
                    <a:gd name="T6" fmla="*/ 15 w 16"/>
                    <a:gd name="T7" fmla="*/ 2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24">
                      <a:moveTo>
                        <a:pt x="15" y="20"/>
                      </a:moveTo>
                      <a:cubicBezTo>
                        <a:pt x="16" y="24"/>
                        <a:pt x="9" y="20"/>
                        <a:pt x="6" y="21"/>
                      </a:cubicBezTo>
                      <a:cubicBezTo>
                        <a:pt x="6" y="16"/>
                        <a:pt x="8" y="10"/>
                        <a:pt x="0" y="12"/>
                      </a:cubicBezTo>
                      <a:cubicBezTo>
                        <a:pt x="7" y="0"/>
                        <a:pt x="7" y="21"/>
                        <a:pt x="15" y="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5" name="íS1ídê">
                  <a:extLst>
                    <a:ext uri="{FF2B5EF4-FFF2-40B4-BE49-F238E27FC236}">
                      <a16:creationId xmlns:a16="http://schemas.microsoft.com/office/drawing/2014/main" id="{FAC03882-6F37-4482-A164-05E6C2980BF9}"/>
                    </a:ext>
                  </a:extLst>
                </p:cNvPr>
                <p:cNvSpPr/>
                <p:nvPr/>
              </p:nvSpPr>
              <p:spPr bwMode="auto">
                <a:xfrm>
                  <a:off x="6922282" y="2060805"/>
                  <a:ext cx="33619" cy="56031"/>
                </a:xfrm>
                <a:custGeom>
                  <a:avLst/>
                  <a:gdLst>
                    <a:gd name="T0" fmla="*/ 3 w 16"/>
                    <a:gd name="T1" fmla="*/ 1 h 27"/>
                    <a:gd name="T2" fmla="*/ 8 w 16"/>
                    <a:gd name="T3" fmla="*/ 7 h 27"/>
                    <a:gd name="T4" fmla="*/ 10 w 16"/>
                    <a:gd name="T5" fmla="*/ 9 h 27"/>
                    <a:gd name="T6" fmla="*/ 14 w 16"/>
                    <a:gd name="T7" fmla="*/ 13 h 27"/>
                    <a:gd name="T8" fmla="*/ 12 w 16"/>
                    <a:gd name="T9" fmla="*/ 14 h 27"/>
                    <a:gd name="T10" fmla="*/ 14 w 16"/>
                    <a:gd name="T11" fmla="*/ 24 h 27"/>
                    <a:gd name="T12" fmla="*/ 10 w 16"/>
                    <a:gd name="T13" fmla="*/ 27 h 27"/>
                    <a:gd name="T14" fmla="*/ 3 w 16"/>
                    <a:gd name="T15" fmla="*/ 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" h="27">
                      <a:moveTo>
                        <a:pt x="3" y="1"/>
                      </a:moveTo>
                      <a:cubicBezTo>
                        <a:pt x="6" y="0"/>
                        <a:pt x="7" y="5"/>
                        <a:pt x="8" y="7"/>
                      </a:cubicBezTo>
                      <a:cubicBezTo>
                        <a:pt x="9" y="8"/>
                        <a:pt x="10" y="7"/>
                        <a:pt x="10" y="9"/>
                      </a:cubicBezTo>
                      <a:cubicBezTo>
                        <a:pt x="10" y="11"/>
                        <a:pt x="13" y="11"/>
                        <a:pt x="14" y="13"/>
                      </a:cubicBezTo>
                      <a:cubicBezTo>
                        <a:pt x="15" y="15"/>
                        <a:pt x="12" y="14"/>
                        <a:pt x="12" y="14"/>
                      </a:cubicBezTo>
                      <a:cubicBezTo>
                        <a:pt x="12" y="16"/>
                        <a:pt x="16" y="18"/>
                        <a:pt x="14" y="24"/>
                      </a:cubicBezTo>
                      <a:cubicBezTo>
                        <a:pt x="11" y="23"/>
                        <a:pt x="10" y="25"/>
                        <a:pt x="10" y="27"/>
                      </a:cubicBezTo>
                      <a:cubicBezTo>
                        <a:pt x="0" y="24"/>
                        <a:pt x="1" y="13"/>
                        <a:pt x="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6" name="iṥ1iḍê">
                  <a:extLst>
                    <a:ext uri="{FF2B5EF4-FFF2-40B4-BE49-F238E27FC236}">
                      <a16:creationId xmlns:a16="http://schemas.microsoft.com/office/drawing/2014/main" id="{C67CFC88-3BA3-4DE2-9526-F4791F3D4D41}"/>
                    </a:ext>
                  </a:extLst>
                </p:cNvPr>
                <p:cNvSpPr/>
                <p:nvPr/>
              </p:nvSpPr>
              <p:spPr bwMode="auto">
                <a:xfrm>
                  <a:off x="7619871" y="2063606"/>
                  <a:ext cx="42023" cy="64436"/>
                </a:xfrm>
                <a:custGeom>
                  <a:avLst/>
                  <a:gdLst>
                    <a:gd name="T0" fmla="*/ 16 w 20"/>
                    <a:gd name="T1" fmla="*/ 0 h 31"/>
                    <a:gd name="T2" fmla="*/ 20 w 20"/>
                    <a:gd name="T3" fmla="*/ 15 h 31"/>
                    <a:gd name="T4" fmla="*/ 14 w 20"/>
                    <a:gd name="T5" fmla="*/ 17 h 31"/>
                    <a:gd name="T6" fmla="*/ 14 w 20"/>
                    <a:gd name="T7" fmla="*/ 30 h 31"/>
                    <a:gd name="T8" fmla="*/ 5 w 20"/>
                    <a:gd name="T9" fmla="*/ 25 h 31"/>
                    <a:gd name="T10" fmla="*/ 7 w 20"/>
                    <a:gd name="T11" fmla="*/ 17 h 31"/>
                    <a:gd name="T12" fmla="*/ 7 w 20"/>
                    <a:gd name="T13" fmla="*/ 13 h 31"/>
                    <a:gd name="T14" fmla="*/ 5 w 20"/>
                    <a:gd name="T15" fmla="*/ 13 h 31"/>
                    <a:gd name="T16" fmla="*/ 9 w 20"/>
                    <a:gd name="T17" fmla="*/ 8 h 31"/>
                    <a:gd name="T18" fmla="*/ 13 w 20"/>
                    <a:gd name="T19" fmla="*/ 2 h 31"/>
                    <a:gd name="T20" fmla="*/ 16 w 20"/>
                    <a:gd name="T2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" h="31">
                      <a:moveTo>
                        <a:pt x="16" y="0"/>
                      </a:moveTo>
                      <a:cubicBezTo>
                        <a:pt x="16" y="7"/>
                        <a:pt x="16" y="13"/>
                        <a:pt x="20" y="15"/>
                      </a:cubicBezTo>
                      <a:cubicBezTo>
                        <a:pt x="20" y="17"/>
                        <a:pt x="17" y="17"/>
                        <a:pt x="14" y="17"/>
                      </a:cubicBezTo>
                      <a:cubicBezTo>
                        <a:pt x="18" y="20"/>
                        <a:pt x="13" y="23"/>
                        <a:pt x="14" y="30"/>
                      </a:cubicBezTo>
                      <a:cubicBezTo>
                        <a:pt x="9" y="31"/>
                        <a:pt x="10" y="25"/>
                        <a:pt x="5" y="25"/>
                      </a:cubicBezTo>
                      <a:cubicBezTo>
                        <a:pt x="4" y="21"/>
                        <a:pt x="7" y="20"/>
                        <a:pt x="7" y="17"/>
                      </a:cubicBezTo>
                      <a:cubicBezTo>
                        <a:pt x="7" y="16"/>
                        <a:pt x="4" y="14"/>
                        <a:pt x="7" y="13"/>
                      </a:cubicBezTo>
                      <a:cubicBezTo>
                        <a:pt x="7" y="11"/>
                        <a:pt x="5" y="12"/>
                        <a:pt x="5" y="13"/>
                      </a:cubicBezTo>
                      <a:cubicBezTo>
                        <a:pt x="0" y="13"/>
                        <a:pt x="5" y="6"/>
                        <a:pt x="9" y="8"/>
                      </a:cubicBezTo>
                      <a:cubicBezTo>
                        <a:pt x="9" y="5"/>
                        <a:pt x="11" y="3"/>
                        <a:pt x="13" y="2"/>
                      </a:cubicBezTo>
                      <a:cubicBezTo>
                        <a:pt x="13" y="2"/>
                        <a:pt x="14" y="0"/>
                        <a:pt x="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7" name="išḷíḍe">
                  <a:extLst>
                    <a:ext uri="{FF2B5EF4-FFF2-40B4-BE49-F238E27FC236}">
                      <a16:creationId xmlns:a16="http://schemas.microsoft.com/office/drawing/2014/main" id="{6033B04F-E059-4331-98EC-BDB582116F51}"/>
                    </a:ext>
                  </a:extLst>
                </p:cNvPr>
                <p:cNvSpPr/>
                <p:nvPr/>
              </p:nvSpPr>
              <p:spPr bwMode="auto">
                <a:xfrm>
                  <a:off x="7589054" y="2074812"/>
                  <a:ext cx="30817" cy="28016"/>
                </a:xfrm>
                <a:custGeom>
                  <a:avLst/>
                  <a:gdLst>
                    <a:gd name="T0" fmla="*/ 9 w 15"/>
                    <a:gd name="T1" fmla="*/ 0 h 13"/>
                    <a:gd name="T2" fmla="*/ 15 w 15"/>
                    <a:gd name="T3" fmla="*/ 6 h 13"/>
                    <a:gd name="T4" fmla="*/ 13 w 15"/>
                    <a:gd name="T5" fmla="*/ 7 h 13"/>
                    <a:gd name="T6" fmla="*/ 1 w 15"/>
                    <a:gd name="T7" fmla="*/ 13 h 13"/>
                    <a:gd name="T8" fmla="*/ 9 w 15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13">
                      <a:moveTo>
                        <a:pt x="9" y="0"/>
                      </a:moveTo>
                      <a:cubicBezTo>
                        <a:pt x="13" y="0"/>
                        <a:pt x="15" y="2"/>
                        <a:pt x="15" y="6"/>
                      </a:cubicBezTo>
                      <a:cubicBezTo>
                        <a:pt x="11" y="5"/>
                        <a:pt x="11" y="7"/>
                        <a:pt x="13" y="7"/>
                      </a:cubicBezTo>
                      <a:cubicBezTo>
                        <a:pt x="11" y="9"/>
                        <a:pt x="6" y="12"/>
                        <a:pt x="1" y="13"/>
                      </a:cubicBezTo>
                      <a:cubicBezTo>
                        <a:pt x="0" y="5"/>
                        <a:pt x="9" y="7"/>
                        <a:pt x="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8" name="ísļîḑê">
                  <a:extLst>
                    <a:ext uri="{FF2B5EF4-FFF2-40B4-BE49-F238E27FC236}">
                      <a16:creationId xmlns:a16="http://schemas.microsoft.com/office/drawing/2014/main" id="{067EC78E-0570-4A6E-AA1A-6D0FB6F4555F}"/>
                    </a:ext>
                  </a:extLst>
                </p:cNvPr>
                <p:cNvSpPr/>
                <p:nvPr/>
              </p:nvSpPr>
              <p:spPr bwMode="auto">
                <a:xfrm>
                  <a:off x="7675902" y="2175669"/>
                  <a:ext cx="21012" cy="39222"/>
                </a:xfrm>
                <a:custGeom>
                  <a:avLst/>
                  <a:gdLst>
                    <a:gd name="T0" fmla="*/ 2 w 10"/>
                    <a:gd name="T1" fmla="*/ 0 h 19"/>
                    <a:gd name="T2" fmla="*/ 10 w 10"/>
                    <a:gd name="T3" fmla="*/ 6 h 19"/>
                    <a:gd name="T4" fmla="*/ 0 w 10"/>
                    <a:gd name="T5" fmla="*/ 17 h 19"/>
                    <a:gd name="T6" fmla="*/ 4 w 10"/>
                    <a:gd name="T7" fmla="*/ 15 h 19"/>
                    <a:gd name="T8" fmla="*/ 2 w 10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9">
                      <a:moveTo>
                        <a:pt x="2" y="0"/>
                      </a:moveTo>
                      <a:cubicBezTo>
                        <a:pt x="7" y="0"/>
                        <a:pt x="4" y="8"/>
                        <a:pt x="10" y="6"/>
                      </a:cubicBezTo>
                      <a:cubicBezTo>
                        <a:pt x="8" y="11"/>
                        <a:pt x="9" y="19"/>
                        <a:pt x="0" y="17"/>
                      </a:cubicBezTo>
                      <a:cubicBezTo>
                        <a:pt x="0" y="15"/>
                        <a:pt x="3" y="16"/>
                        <a:pt x="4" y="15"/>
                      </a:cubicBezTo>
                      <a:cubicBezTo>
                        <a:pt x="1" y="8"/>
                        <a:pt x="1" y="10"/>
                        <a:pt x="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49" name="íṣ1iḋê">
                  <a:extLst>
                    <a:ext uri="{FF2B5EF4-FFF2-40B4-BE49-F238E27FC236}">
                      <a16:creationId xmlns:a16="http://schemas.microsoft.com/office/drawing/2014/main" id="{45CFAEC6-1FF4-439A-BAF4-B207A3F6EB21}"/>
                    </a:ext>
                  </a:extLst>
                </p:cNvPr>
                <p:cNvSpPr/>
                <p:nvPr/>
              </p:nvSpPr>
              <p:spPr bwMode="auto">
                <a:xfrm>
                  <a:off x="7556835" y="2185475"/>
                  <a:ext cx="79845" cy="25214"/>
                </a:xfrm>
                <a:custGeom>
                  <a:avLst/>
                  <a:gdLst>
                    <a:gd name="T0" fmla="*/ 37 w 38"/>
                    <a:gd name="T1" fmla="*/ 5 h 12"/>
                    <a:gd name="T2" fmla="*/ 26 w 38"/>
                    <a:gd name="T3" fmla="*/ 10 h 12"/>
                    <a:gd name="T4" fmla="*/ 0 w 38"/>
                    <a:gd name="T5" fmla="*/ 12 h 12"/>
                    <a:gd name="T6" fmla="*/ 31 w 38"/>
                    <a:gd name="T7" fmla="*/ 3 h 12"/>
                    <a:gd name="T8" fmla="*/ 37 w 38"/>
                    <a:gd name="T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12">
                      <a:moveTo>
                        <a:pt x="37" y="5"/>
                      </a:moveTo>
                      <a:cubicBezTo>
                        <a:pt x="38" y="10"/>
                        <a:pt x="30" y="10"/>
                        <a:pt x="26" y="10"/>
                      </a:cubicBezTo>
                      <a:cubicBezTo>
                        <a:pt x="18" y="11"/>
                        <a:pt x="7" y="9"/>
                        <a:pt x="0" y="12"/>
                      </a:cubicBezTo>
                      <a:cubicBezTo>
                        <a:pt x="1" y="0"/>
                        <a:pt x="27" y="12"/>
                        <a:pt x="31" y="3"/>
                      </a:cubicBezTo>
                      <a:cubicBezTo>
                        <a:pt x="33" y="4"/>
                        <a:pt x="34" y="5"/>
                        <a:pt x="37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0" name="iṡ1îḓe">
                  <a:extLst>
                    <a:ext uri="{FF2B5EF4-FFF2-40B4-BE49-F238E27FC236}">
                      <a16:creationId xmlns:a16="http://schemas.microsoft.com/office/drawing/2014/main" id="{C7DCBEFA-F172-4400-AFD7-A286A1CC7FF9}"/>
                    </a:ext>
                  </a:extLst>
                </p:cNvPr>
                <p:cNvSpPr/>
                <p:nvPr/>
              </p:nvSpPr>
              <p:spPr bwMode="auto">
                <a:xfrm>
                  <a:off x="7727731" y="2216292"/>
                  <a:ext cx="50428" cy="32218"/>
                </a:xfrm>
                <a:custGeom>
                  <a:avLst/>
                  <a:gdLst>
                    <a:gd name="T0" fmla="*/ 24 w 24"/>
                    <a:gd name="T1" fmla="*/ 10 h 15"/>
                    <a:gd name="T2" fmla="*/ 20 w 24"/>
                    <a:gd name="T3" fmla="*/ 14 h 15"/>
                    <a:gd name="T4" fmla="*/ 9 w 24"/>
                    <a:gd name="T5" fmla="*/ 14 h 15"/>
                    <a:gd name="T6" fmla="*/ 7 w 24"/>
                    <a:gd name="T7" fmla="*/ 12 h 15"/>
                    <a:gd name="T8" fmla="*/ 0 w 24"/>
                    <a:gd name="T9" fmla="*/ 7 h 15"/>
                    <a:gd name="T10" fmla="*/ 9 w 24"/>
                    <a:gd name="T11" fmla="*/ 3 h 15"/>
                    <a:gd name="T12" fmla="*/ 15 w 24"/>
                    <a:gd name="T13" fmla="*/ 1 h 15"/>
                    <a:gd name="T14" fmla="*/ 15 w 24"/>
                    <a:gd name="T15" fmla="*/ 3 h 15"/>
                    <a:gd name="T16" fmla="*/ 16 w 24"/>
                    <a:gd name="T17" fmla="*/ 1 h 15"/>
                    <a:gd name="T18" fmla="*/ 24 w 24"/>
                    <a:gd name="T19" fmla="*/ 1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15">
                      <a:moveTo>
                        <a:pt x="24" y="10"/>
                      </a:moveTo>
                      <a:cubicBezTo>
                        <a:pt x="22" y="11"/>
                        <a:pt x="21" y="12"/>
                        <a:pt x="20" y="14"/>
                      </a:cubicBezTo>
                      <a:cubicBezTo>
                        <a:pt x="16" y="11"/>
                        <a:pt x="13" y="15"/>
                        <a:pt x="9" y="14"/>
                      </a:cubicBezTo>
                      <a:cubicBezTo>
                        <a:pt x="8" y="14"/>
                        <a:pt x="9" y="12"/>
                        <a:pt x="7" y="12"/>
                      </a:cubicBezTo>
                      <a:cubicBezTo>
                        <a:pt x="5" y="12"/>
                        <a:pt x="3" y="8"/>
                        <a:pt x="0" y="7"/>
                      </a:cubicBezTo>
                      <a:cubicBezTo>
                        <a:pt x="0" y="4"/>
                        <a:pt x="6" y="5"/>
                        <a:pt x="9" y="3"/>
                      </a:cubicBezTo>
                      <a:cubicBezTo>
                        <a:pt x="9" y="3"/>
                        <a:pt x="14" y="0"/>
                        <a:pt x="15" y="1"/>
                      </a:cubicBezTo>
                      <a:cubicBezTo>
                        <a:pt x="15" y="1"/>
                        <a:pt x="15" y="3"/>
                        <a:pt x="15" y="3"/>
                      </a:cubicBezTo>
                      <a:cubicBezTo>
                        <a:pt x="16" y="3"/>
                        <a:pt x="17" y="1"/>
                        <a:pt x="16" y="1"/>
                      </a:cubicBezTo>
                      <a:cubicBezTo>
                        <a:pt x="20" y="2"/>
                        <a:pt x="23" y="6"/>
                        <a:pt x="24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1" name="í$ḷïḑê">
                  <a:extLst>
                    <a:ext uri="{FF2B5EF4-FFF2-40B4-BE49-F238E27FC236}">
                      <a16:creationId xmlns:a16="http://schemas.microsoft.com/office/drawing/2014/main" id="{3C443243-50D0-45F0-8FC2-0F9DD25C7FFA}"/>
                    </a:ext>
                  </a:extLst>
                </p:cNvPr>
                <p:cNvSpPr/>
                <p:nvPr/>
              </p:nvSpPr>
              <p:spPr bwMode="auto">
                <a:xfrm>
                  <a:off x="7754346" y="2233101"/>
                  <a:ext cx="282958" cy="149884"/>
                </a:xfrm>
                <a:custGeom>
                  <a:avLst/>
                  <a:gdLst>
                    <a:gd name="T0" fmla="*/ 44 w 136"/>
                    <a:gd name="T1" fmla="*/ 36 h 72"/>
                    <a:gd name="T2" fmla="*/ 37 w 136"/>
                    <a:gd name="T3" fmla="*/ 32 h 72"/>
                    <a:gd name="T4" fmla="*/ 33 w 136"/>
                    <a:gd name="T5" fmla="*/ 25 h 72"/>
                    <a:gd name="T6" fmla="*/ 13 w 136"/>
                    <a:gd name="T7" fmla="*/ 19 h 72"/>
                    <a:gd name="T8" fmla="*/ 2 w 136"/>
                    <a:gd name="T9" fmla="*/ 19 h 72"/>
                    <a:gd name="T10" fmla="*/ 0 w 136"/>
                    <a:gd name="T11" fmla="*/ 12 h 72"/>
                    <a:gd name="T12" fmla="*/ 5 w 136"/>
                    <a:gd name="T13" fmla="*/ 12 h 72"/>
                    <a:gd name="T14" fmla="*/ 11 w 136"/>
                    <a:gd name="T15" fmla="*/ 10 h 72"/>
                    <a:gd name="T16" fmla="*/ 20 w 136"/>
                    <a:gd name="T17" fmla="*/ 13 h 72"/>
                    <a:gd name="T18" fmla="*/ 28 w 136"/>
                    <a:gd name="T19" fmla="*/ 8 h 72"/>
                    <a:gd name="T20" fmla="*/ 43 w 136"/>
                    <a:gd name="T21" fmla="*/ 2 h 72"/>
                    <a:gd name="T22" fmla="*/ 46 w 136"/>
                    <a:gd name="T23" fmla="*/ 6 h 72"/>
                    <a:gd name="T24" fmla="*/ 61 w 136"/>
                    <a:gd name="T25" fmla="*/ 12 h 72"/>
                    <a:gd name="T26" fmla="*/ 65 w 136"/>
                    <a:gd name="T27" fmla="*/ 10 h 72"/>
                    <a:gd name="T28" fmla="*/ 69 w 136"/>
                    <a:gd name="T29" fmla="*/ 13 h 72"/>
                    <a:gd name="T30" fmla="*/ 78 w 136"/>
                    <a:gd name="T31" fmla="*/ 13 h 72"/>
                    <a:gd name="T32" fmla="*/ 85 w 136"/>
                    <a:gd name="T33" fmla="*/ 17 h 72"/>
                    <a:gd name="T34" fmla="*/ 85 w 136"/>
                    <a:gd name="T35" fmla="*/ 23 h 72"/>
                    <a:gd name="T36" fmla="*/ 89 w 136"/>
                    <a:gd name="T37" fmla="*/ 21 h 72"/>
                    <a:gd name="T38" fmla="*/ 91 w 136"/>
                    <a:gd name="T39" fmla="*/ 27 h 72"/>
                    <a:gd name="T40" fmla="*/ 100 w 136"/>
                    <a:gd name="T41" fmla="*/ 32 h 72"/>
                    <a:gd name="T42" fmla="*/ 115 w 136"/>
                    <a:gd name="T43" fmla="*/ 38 h 72"/>
                    <a:gd name="T44" fmla="*/ 113 w 136"/>
                    <a:gd name="T45" fmla="*/ 43 h 72"/>
                    <a:gd name="T46" fmla="*/ 119 w 136"/>
                    <a:gd name="T47" fmla="*/ 47 h 72"/>
                    <a:gd name="T48" fmla="*/ 119 w 136"/>
                    <a:gd name="T49" fmla="*/ 51 h 72"/>
                    <a:gd name="T50" fmla="*/ 126 w 136"/>
                    <a:gd name="T51" fmla="*/ 58 h 72"/>
                    <a:gd name="T52" fmla="*/ 136 w 136"/>
                    <a:gd name="T53" fmla="*/ 68 h 72"/>
                    <a:gd name="T54" fmla="*/ 123 w 136"/>
                    <a:gd name="T55" fmla="*/ 68 h 72"/>
                    <a:gd name="T56" fmla="*/ 112 w 136"/>
                    <a:gd name="T57" fmla="*/ 60 h 72"/>
                    <a:gd name="T58" fmla="*/ 108 w 136"/>
                    <a:gd name="T59" fmla="*/ 56 h 72"/>
                    <a:gd name="T60" fmla="*/ 106 w 136"/>
                    <a:gd name="T61" fmla="*/ 54 h 72"/>
                    <a:gd name="T62" fmla="*/ 100 w 136"/>
                    <a:gd name="T63" fmla="*/ 49 h 72"/>
                    <a:gd name="T64" fmla="*/ 85 w 136"/>
                    <a:gd name="T65" fmla="*/ 47 h 72"/>
                    <a:gd name="T66" fmla="*/ 78 w 136"/>
                    <a:gd name="T67" fmla="*/ 64 h 72"/>
                    <a:gd name="T68" fmla="*/ 67 w 136"/>
                    <a:gd name="T69" fmla="*/ 60 h 72"/>
                    <a:gd name="T70" fmla="*/ 61 w 136"/>
                    <a:gd name="T71" fmla="*/ 58 h 72"/>
                    <a:gd name="T72" fmla="*/ 54 w 136"/>
                    <a:gd name="T73" fmla="*/ 49 h 72"/>
                    <a:gd name="T74" fmla="*/ 46 w 136"/>
                    <a:gd name="T75" fmla="*/ 56 h 72"/>
                    <a:gd name="T76" fmla="*/ 41 w 136"/>
                    <a:gd name="T77" fmla="*/ 53 h 72"/>
                    <a:gd name="T78" fmla="*/ 46 w 136"/>
                    <a:gd name="T79" fmla="*/ 47 h 72"/>
                    <a:gd name="T80" fmla="*/ 50 w 136"/>
                    <a:gd name="T81" fmla="*/ 40 h 72"/>
                    <a:gd name="T82" fmla="*/ 48 w 136"/>
                    <a:gd name="T83" fmla="*/ 43 h 72"/>
                    <a:gd name="T84" fmla="*/ 44 w 136"/>
                    <a:gd name="T85" fmla="*/ 3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36" h="72">
                      <a:moveTo>
                        <a:pt x="44" y="36"/>
                      </a:moveTo>
                      <a:cubicBezTo>
                        <a:pt x="41" y="36"/>
                        <a:pt x="42" y="31"/>
                        <a:pt x="37" y="32"/>
                      </a:cubicBezTo>
                      <a:cubicBezTo>
                        <a:pt x="36" y="29"/>
                        <a:pt x="34" y="27"/>
                        <a:pt x="33" y="25"/>
                      </a:cubicBezTo>
                      <a:cubicBezTo>
                        <a:pt x="25" y="24"/>
                        <a:pt x="17" y="23"/>
                        <a:pt x="13" y="19"/>
                      </a:cubicBezTo>
                      <a:cubicBezTo>
                        <a:pt x="7" y="21"/>
                        <a:pt x="9" y="19"/>
                        <a:pt x="2" y="19"/>
                      </a:cubicBezTo>
                      <a:cubicBezTo>
                        <a:pt x="1" y="16"/>
                        <a:pt x="3" y="12"/>
                        <a:pt x="0" y="12"/>
                      </a:cubicBezTo>
                      <a:cubicBezTo>
                        <a:pt x="1" y="8"/>
                        <a:pt x="3" y="12"/>
                        <a:pt x="5" y="12"/>
                      </a:cubicBezTo>
                      <a:cubicBezTo>
                        <a:pt x="8" y="11"/>
                        <a:pt x="9" y="9"/>
                        <a:pt x="11" y="10"/>
                      </a:cubicBezTo>
                      <a:cubicBezTo>
                        <a:pt x="15" y="10"/>
                        <a:pt x="17" y="13"/>
                        <a:pt x="20" y="13"/>
                      </a:cubicBezTo>
                      <a:cubicBezTo>
                        <a:pt x="24" y="15"/>
                        <a:pt x="25" y="9"/>
                        <a:pt x="28" y="8"/>
                      </a:cubicBezTo>
                      <a:cubicBezTo>
                        <a:pt x="32" y="5"/>
                        <a:pt x="39" y="6"/>
                        <a:pt x="43" y="2"/>
                      </a:cubicBezTo>
                      <a:cubicBezTo>
                        <a:pt x="46" y="0"/>
                        <a:pt x="45" y="5"/>
                        <a:pt x="46" y="6"/>
                      </a:cubicBezTo>
                      <a:cubicBezTo>
                        <a:pt x="50" y="8"/>
                        <a:pt x="61" y="5"/>
                        <a:pt x="61" y="12"/>
                      </a:cubicBezTo>
                      <a:cubicBezTo>
                        <a:pt x="63" y="13"/>
                        <a:pt x="65" y="10"/>
                        <a:pt x="65" y="10"/>
                      </a:cubicBezTo>
                      <a:cubicBezTo>
                        <a:pt x="67" y="10"/>
                        <a:pt x="67" y="13"/>
                        <a:pt x="69" y="13"/>
                      </a:cubicBezTo>
                      <a:cubicBezTo>
                        <a:pt x="71" y="15"/>
                        <a:pt x="75" y="12"/>
                        <a:pt x="78" y="13"/>
                      </a:cubicBezTo>
                      <a:cubicBezTo>
                        <a:pt x="79" y="14"/>
                        <a:pt x="80" y="19"/>
                        <a:pt x="85" y="17"/>
                      </a:cubicBezTo>
                      <a:cubicBezTo>
                        <a:pt x="88" y="20"/>
                        <a:pt x="86" y="20"/>
                        <a:pt x="85" y="23"/>
                      </a:cubicBezTo>
                      <a:cubicBezTo>
                        <a:pt x="88" y="23"/>
                        <a:pt x="89" y="22"/>
                        <a:pt x="89" y="21"/>
                      </a:cubicBezTo>
                      <a:cubicBezTo>
                        <a:pt x="91" y="21"/>
                        <a:pt x="91" y="24"/>
                        <a:pt x="91" y="27"/>
                      </a:cubicBezTo>
                      <a:cubicBezTo>
                        <a:pt x="93" y="30"/>
                        <a:pt x="97" y="30"/>
                        <a:pt x="100" y="32"/>
                      </a:cubicBezTo>
                      <a:cubicBezTo>
                        <a:pt x="102" y="33"/>
                        <a:pt x="109" y="38"/>
                        <a:pt x="115" y="38"/>
                      </a:cubicBezTo>
                      <a:cubicBezTo>
                        <a:pt x="116" y="41"/>
                        <a:pt x="114" y="41"/>
                        <a:pt x="113" y="43"/>
                      </a:cubicBezTo>
                      <a:cubicBezTo>
                        <a:pt x="114" y="46"/>
                        <a:pt x="118" y="45"/>
                        <a:pt x="119" y="47"/>
                      </a:cubicBezTo>
                      <a:cubicBezTo>
                        <a:pt x="120" y="48"/>
                        <a:pt x="118" y="50"/>
                        <a:pt x="119" y="51"/>
                      </a:cubicBezTo>
                      <a:cubicBezTo>
                        <a:pt x="121" y="53"/>
                        <a:pt x="124" y="55"/>
                        <a:pt x="126" y="58"/>
                      </a:cubicBezTo>
                      <a:cubicBezTo>
                        <a:pt x="129" y="62"/>
                        <a:pt x="131" y="67"/>
                        <a:pt x="136" y="68"/>
                      </a:cubicBezTo>
                      <a:cubicBezTo>
                        <a:pt x="132" y="72"/>
                        <a:pt x="125" y="68"/>
                        <a:pt x="123" y="68"/>
                      </a:cubicBezTo>
                      <a:cubicBezTo>
                        <a:pt x="119" y="67"/>
                        <a:pt x="117" y="65"/>
                        <a:pt x="112" y="60"/>
                      </a:cubicBezTo>
                      <a:cubicBezTo>
                        <a:pt x="110" y="59"/>
                        <a:pt x="109" y="57"/>
                        <a:pt x="108" y="56"/>
                      </a:cubicBezTo>
                      <a:cubicBezTo>
                        <a:pt x="107" y="55"/>
                        <a:pt x="106" y="57"/>
                        <a:pt x="106" y="54"/>
                      </a:cubicBezTo>
                      <a:cubicBezTo>
                        <a:pt x="106" y="54"/>
                        <a:pt x="101" y="49"/>
                        <a:pt x="100" y="49"/>
                      </a:cubicBezTo>
                      <a:cubicBezTo>
                        <a:pt x="96" y="47"/>
                        <a:pt x="90" y="50"/>
                        <a:pt x="85" y="47"/>
                      </a:cubicBezTo>
                      <a:cubicBezTo>
                        <a:pt x="81" y="51"/>
                        <a:pt x="80" y="58"/>
                        <a:pt x="78" y="64"/>
                      </a:cubicBezTo>
                      <a:cubicBezTo>
                        <a:pt x="77" y="61"/>
                        <a:pt x="70" y="62"/>
                        <a:pt x="67" y="60"/>
                      </a:cubicBezTo>
                      <a:cubicBezTo>
                        <a:pt x="65" y="58"/>
                        <a:pt x="68" y="55"/>
                        <a:pt x="61" y="58"/>
                      </a:cubicBezTo>
                      <a:cubicBezTo>
                        <a:pt x="65" y="49"/>
                        <a:pt x="52" y="56"/>
                        <a:pt x="54" y="49"/>
                      </a:cubicBezTo>
                      <a:cubicBezTo>
                        <a:pt x="49" y="50"/>
                        <a:pt x="45" y="50"/>
                        <a:pt x="46" y="56"/>
                      </a:cubicBezTo>
                      <a:cubicBezTo>
                        <a:pt x="44" y="55"/>
                        <a:pt x="44" y="52"/>
                        <a:pt x="41" y="53"/>
                      </a:cubicBezTo>
                      <a:cubicBezTo>
                        <a:pt x="41" y="49"/>
                        <a:pt x="44" y="49"/>
                        <a:pt x="46" y="47"/>
                      </a:cubicBezTo>
                      <a:cubicBezTo>
                        <a:pt x="49" y="45"/>
                        <a:pt x="51" y="45"/>
                        <a:pt x="50" y="40"/>
                      </a:cubicBezTo>
                      <a:cubicBezTo>
                        <a:pt x="49" y="38"/>
                        <a:pt x="48" y="43"/>
                        <a:pt x="48" y="43"/>
                      </a:cubicBezTo>
                      <a:cubicBezTo>
                        <a:pt x="45" y="42"/>
                        <a:pt x="46" y="31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2" name="îSlïḑè">
                  <a:extLst>
                    <a:ext uri="{FF2B5EF4-FFF2-40B4-BE49-F238E27FC236}">
                      <a16:creationId xmlns:a16="http://schemas.microsoft.com/office/drawing/2014/main" id="{66BAD22A-CFF7-4B40-B21F-83319C159CC8}"/>
                    </a:ext>
                  </a:extLst>
                </p:cNvPr>
                <p:cNvSpPr/>
                <p:nvPr/>
              </p:nvSpPr>
              <p:spPr bwMode="auto">
                <a:xfrm>
                  <a:off x="7688509" y="2252712"/>
                  <a:ext cx="29417" cy="23814"/>
                </a:xfrm>
                <a:custGeom>
                  <a:avLst/>
                  <a:gdLst>
                    <a:gd name="T0" fmla="*/ 13 w 14"/>
                    <a:gd name="T1" fmla="*/ 4 h 12"/>
                    <a:gd name="T2" fmla="*/ 0 w 14"/>
                    <a:gd name="T3" fmla="*/ 6 h 12"/>
                    <a:gd name="T4" fmla="*/ 13 w 14"/>
                    <a:gd name="T5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2">
                      <a:moveTo>
                        <a:pt x="13" y="4"/>
                      </a:moveTo>
                      <a:cubicBezTo>
                        <a:pt x="14" y="12"/>
                        <a:pt x="3" y="6"/>
                        <a:pt x="0" y="6"/>
                      </a:cubicBezTo>
                      <a:cubicBezTo>
                        <a:pt x="2" y="4"/>
                        <a:pt x="11" y="0"/>
                        <a:pt x="13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3" name="ïslîḓê">
                  <a:extLst>
                    <a:ext uri="{FF2B5EF4-FFF2-40B4-BE49-F238E27FC236}">
                      <a16:creationId xmlns:a16="http://schemas.microsoft.com/office/drawing/2014/main" id="{AF954AB2-56AB-4058-BCCE-6B0B5B63C483}"/>
                    </a:ext>
                  </a:extLst>
                </p:cNvPr>
                <p:cNvSpPr/>
                <p:nvPr/>
              </p:nvSpPr>
              <p:spPr bwMode="auto">
                <a:xfrm>
                  <a:off x="7653490" y="2258315"/>
                  <a:ext cx="18211" cy="9806"/>
                </a:xfrm>
                <a:custGeom>
                  <a:avLst/>
                  <a:gdLst>
                    <a:gd name="T0" fmla="*/ 0 w 9"/>
                    <a:gd name="T1" fmla="*/ 3 h 5"/>
                    <a:gd name="T2" fmla="*/ 6 w 9"/>
                    <a:gd name="T3" fmla="*/ 5 h 5"/>
                    <a:gd name="T4" fmla="*/ 2 w 9"/>
                    <a:gd name="T5" fmla="*/ 5 h 5"/>
                    <a:gd name="T6" fmla="*/ 0 w 9"/>
                    <a:gd name="T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5">
                      <a:moveTo>
                        <a:pt x="0" y="3"/>
                      </a:moveTo>
                      <a:cubicBezTo>
                        <a:pt x="0" y="0"/>
                        <a:pt x="9" y="1"/>
                        <a:pt x="6" y="5"/>
                      </a:cubicBezTo>
                      <a:cubicBezTo>
                        <a:pt x="5" y="5"/>
                        <a:pt x="3" y="5"/>
                        <a:pt x="2" y="5"/>
                      </a:cubicBezTo>
                      <a:cubicBezTo>
                        <a:pt x="2" y="4"/>
                        <a:pt x="1" y="3"/>
                        <a:pt x="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4" name="iŝľiďé">
                  <a:extLst>
                    <a:ext uri="{FF2B5EF4-FFF2-40B4-BE49-F238E27FC236}">
                      <a16:creationId xmlns:a16="http://schemas.microsoft.com/office/drawing/2014/main" id="{DDC6EB11-54C9-4403-96F9-C3728E2495FF}"/>
                    </a:ext>
                  </a:extLst>
                </p:cNvPr>
                <p:cNvSpPr/>
                <p:nvPr/>
              </p:nvSpPr>
              <p:spPr bwMode="auto">
                <a:xfrm>
                  <a:off x="8013490" y="2280728"/>
                  <a:ext cx="56031" cy="40623"/>
                </a:xfrm>
                <a:custGeom>
                  <a:avLst/>
                  <a:gdLst>
                    <a:gd name="T0" fmla="*/ 21 w 27"/>
                    <a:gd name="T1" fmla="*/ 0 h 19"/>
                    <a:gd name="T2" fmla="*/ 27 w 27"/>
                    <a:gd name="T3" fmla="*/ 0 h 19"/>
                    <a:gd name="T4" fmla="*/ 27 w 27"/>
                    <a:gd name="T5" fmla="*/ 5 h 19"/>
                    <a:gd name="T6" fmla="*/ 23 w 27"/>
                    <a:gd name="T7" fmla="*/ 7 h 19"/>
                    <a:gd name="T8" fmla="*/ 23 w 27"/>
                    <a:gd name="T9" fmla="*/ 13 h 19"/>
                    <a:gd name="T10" fmla="*/ 19 w 27"/>
                    <a:gd name="T11" fmla="*/ 15 h 19"/>
                    <a:gd name="T12" fmla="*/ 2 w 27"/>
                    <a:gd name="T13" fmla="*/ 9 h 19"/>
                    <a:gd name="T14" fmla="*/ 21 w 27"/>
                    <a:gd name="T1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7" h="19">
                      <a:moveTo>
                        <a:pt x="21" y="0"/>
                      </a:moveTo>
                      <a:cubicBezTo>
                        <a:pt x="23" y="0"/>
                        <a:pt x="25" y="0"/>
                        <a:pt x="27" y="0"/>
                      </a:cubicBezTo>
                      <a:cubicBezTo>
                        <a:pt x="26" y="1"/>
                        <a:pt x="27" y="4"/>
                        <a:pt x="27" y="5"/>
                      </a:cubicBezTo>
                      <a:cubicBezTo>
                        <a:pt x="26" y="7"/>
                        <a:pt x="23" y="6"/>
                        <a:pt x="23" y="7"/>
                      </a:cubicBezTo>
                      <a:cubicBezTo>
                        <a:pt x="22" y="9"/>
                        <a:pt x="26" y="11"/>
                        <a:pt x="23" y="13"/>
                      </a:cubicBezTo>
                      <a:cubicBezTo>
                        <a:pt x="21" y="11"/>
                        <a:pt x="19" y="11"/>
                        <a:pt x="19" y="15"/>
                      </a:cubicBezTo>
                      <a:cubicBezTo>
                        <a:pt x="13" y="13"/>
                        <a:pt x="0" y="19"/>
                        <a:pt x="2" y="9"/>
                      </a:cubicBezTo>
                      <a:cubicBezTo>
                        <a:pt x="12" y="13"/>
                        <a:pt x="18" y="8"/>
                        <a:pt x="2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5" name="ïšliďe">
                  <a:extLst>
                    <a:ext uri="{FF2B5EF4-FFF2-40B4-BE49-F238E27FC236}">
                      <a16:creationId xmlns:a16="http://schemas.microsoft.com/office/drawing/2014/main" id="{BFC802FA-2870-4B20-B9E3-F006A7D842C2}"/>
                    </a:ext>
                  </a:extLst>
                </p:cNvPr>
                <p:cNvSpPr/>
                <p:nvPr/>
              </p:nvSpPr>
              <p:spPr bwMode="auto">
                <a:xfrm>
                  <a:off x="7509209" y="2340961"/>
                  <a:ext cx="30817" cy="15409"/>
                </a:xfrm>
                <a:custGeom>
                  <a:avLst/>
                  <a:gdLst>
                    <a:gd name="T0" fmla="*/ 15 w 15"/>
                    <a:gd name="T1" fmla="*/ 1 h 7"/>
                    <a:gd name="T2" fmla="*/ 0 w 15"/>
                    <a:gd name="T3" fmla="*/ 6 h 7"/>
                    <a:gd name="T4" fmla="*/ 15 w 15"/>
                    <a:gd name="T5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7">
                      <a:moveTo>
                        <a:pt x="15" y="1"/>
                      </a:moveTo>
                      <a:cubicBezTo>
                        <a:pt x="12" y="4"/>
                        <a:pt x="8" y="7"/>
                        <a:pt x="0" y="6"/>
                      </a:cubicBezTo>
                      <a:cubicBezTo>
                        <a:pt x="1" y="0"/>
                        <a:pt x="9" y="1"/>
                        <a:pt x="1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6" name="îṥlîde">
                  <a:extLst>
                    <a:ext uri="{FF2B5EF4-FFF2-40B4-BE49-F238E27FC236}">
                      <a16:creationId xmlns:a16="http://schemas.microsoft.com/office/drawing/2014/main" id="{F971B2FB-6E96-46A9-B10C-212527BA48F3}"/>
                    </a:ext>
                  </a:extLst>
                </p:cNvPr>
                <p:cNvSpPr/>
                <p:nvPr/>
              </p:nvSpPr>
              <p:spPr bwMode="auto">
                <a:xfrm>
                  <a:off x="7556835" y="2340961"/>
                  <a:ext cx="32218" cy="11206"/>
                </a:xfrm>
                <a:custGeom>
                  <a:avLst/>
                  <a:gdLst>
                    <a:gd name="T0" fmla="*/ 15 w 15"/>
                    <a:gd name="T1" fmla="*/ 1 h 5"/>
                    <a:gd name="T2" fmla="*/ 0 w 15"/>
                    <a:gd name="T3" fmla="*/ 4 h 5"/>
                    <a:gd name="T4" fmla="*/ 15 w 15"/>
                    <a:gd name="T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5">
                      <a:moveTo>
                        <a:pt x="15" y="1"/>
                      </a:moveTo>
                      <a:cubicBezTo>
                        <a:pt x="13" y="5"/>
                        <a:pt x="6" y="4"/>
                        <a:pt x="0" y="4"/>
                      </a:cubicBezTo>
                      <a:cubicBezTo>
                        <a:pt x="2" y="0"/>
                        <a:pt x="8" y="0"/>
                        <a:pt x="1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7" name="íṡļîḋé">
                  <a:extLst>
                    <a:ext uri="{FF2B5EF4-FFF2-40B4-BE49-F238E27FC236}">
                      <a16:creationId xmlns:a16="http://schemas.microsoft.com/office/drawing/2014/main" id="{A93B9575-D17D-4B7F-9160-31D01295F9D3}"/>
                    </a:ext>
                  </a:extLst>
                </p:cNvPr>
                <p:cNvSpPr/>
                <p:nvPr/>
              </p:nvSpPr>
              <p:spPr bwMode="auto">
                <a:xfrm>
                  <a:off x="7615668" y="2340961"/>
                  <a:ext cx="51829" cy="33619"/>
                </a:xfrm>
                <a:custGeom>
                  <a:avLst/>
                  <a:gdLst>
                    <a:gd name="T0" fmla="*/ 24 w 25"/>
                    <a:gd name="T1" fmla="*/ 1 h 16"/>
                    <a:gd name="T2" fmla="*/ 22 w 25"/>
                    <a:gd name="T3" fmla="*/ 8 h 16"/>
                    <a:gd name="T4" fmla="*/ 18 w 25"/>
                    <a:gd name="T5" fmla="*/ 8 h 16"/>
                    <a:gd name="T6" fmla="*/ 2 w 25"/>
                    <a:gd name="T7" fmla="*/ 16 h 16"/>
                    <a:gd name="T8" fmla="*/ 7 w 25"/>
                    <a:gd name="T9" fmla="*/ 10 h 16"/>
                    <a:gd name="T10" fmla="*/ 11 w 25"/>
                    <a:gd name="T11" fmla="*/ 6 h 16"/>
                    <a:gd name="T12" fmla="*/ 15 w 25"/>
                    <a:gd name="T13" fmla="*/ 2 h 16"/>
                    <a:gd name="T14" fmla="*/ 24 w 25"/>
                    <a:gd name="T15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" h="16">
                      <a:moveTo>
                        <a:pt x="24" y="1"/>
                      </a:moveTo>
                      <a:cubicBezTo>
                        <a:pt x="25" y="4"/>
                        <a:pt x="23" y="7"/>
                        <a:pt x="22" y="8"/>
                      </a:cubicBezTo>
                      <a:cubicBezTo>
                        <a:pt x="21" y="9"/>
                        <a:pt x="19" y="7"/>
                        <a:pt x="18" y="8"/>
                      </a:cubicBezTo>
                      <a:cubicBezTo>
                        <a:pt x="16" y="11"/>
                        <a:pt x="10" y="16"/>
                        <a:pt x="2" y="16"/>
                      </a:cubicBezTo>
                      <a:cubicBezTo>
                        <a:pt x="0" y="11"/>
                        <a:pt x="5" y="11"/>
                        <a:pt x="7" y="10"/>
                      </a:cubicBezTo>
                      <a:cubicBezTo>
                        <a:pt x="8" y="9"/>
                        <a:pt x="10" y="7"/>
                        <a:pt x="11" y="6"/>
                      </a:cubicBezTo>
                      <a:cubicBezTo>
                        <a:pt x="12" y="5"/>
                        <a:pt x="14" y="5"/>
                        <a:pt x="15" y="2"/>
                      </a:cubicBezTo>
                      <a:cubicBezTo>
                        <a:pt x="20" y="4"/>
                        <a:pt x="19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8" name="îṩḻîḍe">
                  <a:extLst>
                    <a:ext uri="{FF2B5EF4-FFF2-40B4-BE49-F238E27FC236}">
                      <a16:creationId xmlns:a16="http://schemas.microsoft.com/office/drawing/2014/main" id="{91ADDEF4-2040-4B02-8C4F-9C49AD00C7B7}"/>
                    </a:ext>
                  </a:extLst>
                </p:cNvPr>
                <p:cNvSpPr/>
                <p:nvPr/>
              </p:nvSpPr>
              <p:spPr bwMode="auto">
                <a:xfrm>
                  <a:off x="8401508" y="2785009"/>
                  <a:ext cx="28016" cy="39222"/>
                </a:xfrm>
                <a:custGeom>
                  <a:avLst/>
                  <a:gdLst>
                    <a:gd name="T0" fmla="*/ 2 w 13"/>
                    <a:gd name="T1" fmla="*/ 0 h 19"/>
                    <a:gd name="T2" fmla="*/ 4 w 13"/>
                    <a:gd name="T3" fmla="*/ 4 h 19"/>
                    <a:gd name="T4" fmla="*/ 9 w 13"/>
                    <a:gd name="T5" fmla="*/ 9 h 19"/>
                    <a:gd name="T6" fmla="*/ 11 w 13"/>
                    <a:gd name="T7" fmla="*/ 19 h 19"/>
                    <a:gd name="T8" fmla="*/ 6 w 13"/>
                    <a:gd name="T9" fmla="*/ 19 h 19"/>
                    <a:gd name="T10" fmla="*/ 0 w 13"/>
                    <a:gd name="T11" fmla="*/ 4 h 19"/>
                    <a:gd name="T12" fmla="*/ 2 w 13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9">
                      <a:moveTo>
                        <a:pt x="2" y="0"/>
                      </a:moveTo>
                      <a:cubicBezTo>
                        <a:pt x="4" y="0"/>
                        <a:pt x="3" y="2"/>
                        <a:pt x="4" y="4"/>
                      </a:cubicBezTo>
                      <a:cubicBezTo>
                        <a:pt x="2" y="6"/>
                        <a:pt x="12" y="7"/>
                        <a:pt x="9" y="9"/>
                      </a:cubicBezTo>
                      <a:cubicBezTo>
                        <a:pt x="6" y="13"/>
                        <a:pt x="13" y="10"/>
                        <a:pt x="11" y="19"/>
                      </a:cubicBezTo>
                      <a:cubicBezTo>
                        <a:pt x="8" y="19"/>
                        <a:pt x="6" y="16"/>
                        <a:pt x="6" y="19"/>
                      </a:cubicBezTo>
                      <a:cubicBezTo>
                        <a:pt x="3" y="16"/>
                        <a:pt x="2" y="8"/>
                        <a:pt x="0" y="4"/>
                      </a:cubicBezTo>
                      <a:cubicBezTo>
                        <a:pt x="2" y="4"/>
                        <a:pt x="1" y="2"/>
                        <a:pt x="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59" name="îŝļíḍê">
                  <a:extLst>
                    <a:ext uri="{FF2B5EF4-FFF2-40B4-BE49-F238E27FC236}">
                      <a16:creationId xmlns:a16="http://schemas.microsoft.com/office/drawing/2014/main" id="{49484B7B-0DCD-4137-8615-11B6EE645F21}"/>
                    </a:ext>
                  </a:extLst>
                </p:cNvPr>
                <p:cNvSpPr/>
                <p:nvPr/>
              </p:nvSpPr>
              <p:spPr bwMode="auto">
                <a:xfrm>
                  <a:off x="8408511" y="2820029"/>
                  <a:ext cx="64436" cy="85448"/>
                </a:xfrm>
                <a:custGeom>
                  <a:avLst/>
                  <a:gdLst>
                    <a:gd name="T0" fmla="*/ 10 w 31"/>
                    <a:gd name="T1" fmla="*/ 0 h 41"/>
                    <a:gd name="T2" fmla="*/ 12 w 31"/>
                    <a:gd name="T3" fmla="*/ 2 h 41"/>
                    <a:gd name="T4" fmla="*/ 16 w 31"/>
                    <a:gd name="T5" fmla="*/ 2 h 41"/>
                    <a:gd name="T6" fmla="*/ 31 w 31"/>
                    <a:gd name="T7" fmla="*/ 9 h 41"/>
                    <a:gd name="T8" fmla="*/ 31 w 31"/>
                    <a:gd name="T9" fmla="*/ 19 h 41"/>
                    <a:gd name="T10" fmla="*/ 25 w 31"/>
                    <a:gd name="T11" fmla="*/ 19 h 41"/>
                    <a:gd name="T12" fmla="*/ 23 w 31"/>
                    <a:gd name="T13" fmla="*/ 22 h 41"/>
                    <a:gd name="T14" fmla="*/ 21 w 31"/>
                    <a:gd name="T15" fmla="*/ 33 h 41"/>
                    <a:gd name="T16" fmla="*/ 19 w 31"/>
                    <a:gd name="T17" fmla="*/ 37 h 41"/>
                    <a:gd name="T18" fmla="*/ 10 w 31"/>
                    <a:gd name="T19" fmla="*/ 39 h 41"/>
                    <a:gd name="T20" fmla="*/ 8 w 31"/>
                    <a:gd name="T21" fmla="*/ 33 h 41"/>
                    <a:gd name="T22" fmla="*/ 12 w 31"/>
                    <a:gd name="T23" fmla="*/ 30 h 41"/>
                    <a:gd name="T24" fmla="*/ 1 w 31"/>
                    <a:gd name="T25" fmla="*/ 24 h 41"/>
                    <a:gd name="T26" fmla="*/ 8 w 31"/>
                    <a:gd name="T27" fmla="*/ 17 h 41"/>
                    <a:gd name="T28" fmla="*/ 10 w 31"/>
                    <a:gd name="T2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1" h="41">
                      <a:moveTo>
                        <a:pt x="10" y="0"/>
                      </a:moveTo>
                      <a:cubicBezTo>
                        <a:pt x="12" y="0"/>
                        <a:pt x="12" y="1"/>
                        <a:pt x="12" y="2"/>
                      </a:cubicBezTo>
                      <a:cubicBezTo>
                        <a:pt x="12" y="5"/>
                        <a:pt x="16" y="2"/>
                        <a:pt x="16" y="2"/>
                      </a:cubicBezTo>
                      <a:cubicBezTo>
                        <a:pt x="21" y="5"/>
                        <a:pt x="19" y="12"/>
                        <a:pt x="31" y="9"/>
                      </a:cubicBezTo>
                      <a:cubicBezTo>
                        <a:pt x="31" y="12"/>
                        <a:pt x="31" y="15"/>
                        <a:pt x="31" y="19"/>
                      </a:cubicBezTo>
                      <a:cubicBezTo>
                        <a:pt x="29" y="19"/>
                        <a:pt x="27" y="19"/>
                        <a:pt x="25" y="19"/>
                      </a:cubicBezTo>
                      <a:cubicBezTo>
                        <a:pt x="25" y="21"/>
                        <a:pt x="25" y="22"/>
                        <a:pt x="23" y="22"/>
                      </a:cubicBezTo>
                      <a:cubicBezTo>
                        <a:pt x="27" y="27"/>
                        <a:pt x="22" y="28"/>
                        <a:pt x="21" y="33"/>
                      </a:cubicBezTo>
                      <a:cubicBezTo>
                        <a:pt x="21" y="35"/>
                        <a:pt x="15" y="36"/>
                        <a:pt x="19" y="37"/>
                      </a:cubicBezTo>
                      <a:cubicBezTo>
                        <a:pt x="20" y="41"/>
                        <a:pt x="13" y="38"/>
                        <a:pt x="10" y="39"/>
                      </a:cubicBezTo>
                      <a:cubicBezTo>
                        <a:pt x="11" y="36"/>
                        <a:pt x="8" y="36"/>
                        <a:pt x="8" y="33"/>
                      </a:cubicBezTo>
                      <a:cubicBezTo>
                        <a:pt x="8" y="30"/>
                        <a:pt x="10" y="30"/>
                        <a:pt x="12" y="30"/>
                      </a:cubicBezTo>
                      <a:cubicBezTo>
                        <a:pt x="9" y="27"/>
                        <a:pt x="8" y="22"/>
                        <a:pt x="1" y="24"/>
                      </a:cubicBezTo>
                      <a:cubicBezTo>
                        <a:pt x="0" y="19"/>
                        <a:pt x="6" y="19"/>
                        <a:pt x="8" y="17"/>
                      </a:cubicBezTo>
                      <a:cubicBezTo>
                        <a:pt x="9" y="7"/>
                        <a:pt x="8" y="7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0" name="î$lidé">
                  <a:extLst>
                    <a:ext uri="{FF2B5EF4-FFF2-40B4-BE49-F238E27FC236}">
                      <a16:creationId xmlns:a16="http://schemas.microsoft.com/office/drawing/2014/main" id="{19FB0ABC-AAFE-4669-B46D-3957AE61D958}"/>
                    </a:ext>
                  </a:extLst>
                </p:cNvPr>
                <p:cNvSpPr/>
                <p:nvPr/>
              </p:nvSpPr>
              <p:spPr bwMode="auto">
                <a:xfrm>
                  <a:off x="7957459" y="2890068"/>
                  <a:ext cx="51829" cy="56031"/>
                </a:xfrm>
                <a:custGeom>
                  <a:avLst/>
                  <a:gdLst>
                    <a:gd name="T0" fmla="*/ 24 w 25"/>
                    <a:gd name="T1" fmla="*/ 1 h 27"/>
                    <a:gd name="T2" fmla="*/ 24 w 25"/>
                    <a:gd name="T3" fmla="*/ 12 h 27"/>
                    <a:gd name="T4" fmla="*/ 22 w 25"/>
                    <a:gd name="T5" fmla="*/ 9 h 27"/>
                    <a:gd name="T6" fmla="*/ 20 w 25"/>
                    <a:gd name="T7" fmla="*/ 11 h 27"/>
                    <a:gd name="T8" fmla="*/ 20 w 25"/>
                    <a:gd name="T9" fmla="*/ 20 h 27"/>
                    <a:gd name="T10" fmla="*/ 16 w 25"/>
                    <a:gd name="T11" fmla="*/ 20 h 27"/>
                    <a:gd name="T12" fmla="*/ 16 w 25"/>
                    <a:gd name="T13" fmla="*/ 24 h 27"/>
                    <a:gd name="T14" fmla="*/ 11 w 25"/>
                    <a:gd name="T15" fmla="*/ 27 h 27"/>
                    <a:gd name="T16" fmla="*/ 7 w 25"/>
                    <a:gd name="T17" fmla="*/ 22 h 27"/>
                    <a:gd name="T18" fmla="*/ 3 w 25"/>
                    <a:gd name="T19" fmla="*/ 18 h 27"/>
                    <a:gd name="T20" fmla="*/ 0 w 25"/>
                    <a:gd name="T21" fmla="*/ 7 h 27"/>
                    <a:gd name="T22" fmla="*/ 15 w 25"/>
                    <a:gd name="T23" fmla="*/ 3 h 27"/>
                    <a:gd name="T24" fmla="*/ 24 w 25"/>
                    <a:gd name="T25" fmla="*/ 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27">
                      <a:moveTo>
                        <a:pt x="24" y="1"/>
                      </a:moveTo>
                      <a:cubicBezTo>
                        <a:pt x="23" y="5"/>
                        <a:pt x="25" y="8"/>
                        <a:pt x="24" y="12"/>
                      </a:cubicBezTo>
                      <a:cubicBezTo>
                        <a:pt x="24" y="13"/>
                        <a:pt x="22" y="10"/>
                        <a:pt x="22" y="9"/>
                      </a:cubicBezTo>
                      <a:cubicBezTo>
                        <a:pt x="22" y="9"/>
                        <a:pt x="21" y="9"/>
                        <a:pt x="20" y="11"/>
                      </a:cubicBezTo>
                      <a:cubicBezTo>
                        <a:pt x="19" y="13"/>
                        <a:pt x="21" y="17"/>
                        <a:pt x="20" y="20"/>
                      </a:cubicBezTo>
                      <a:cubicBezTo>
                        <a:pt x="20" y="20"/>
                        <a:pt x="17" y="19"/>
                        <a:pt x="16" y="20"/>
                      </a:cubicBezTo>
                      <a:cubicBezTo>
                        <a:pt x="16" y="20"/>
                        <a:pt x="17" y="23"/>
                        <a:pt x="16" y="24"/>
                      </a:cubicBezTo>
                      <a:cubicBezTo>
                        <a:pt x="15" y="25"/>
                        <a:pt x="11" y="24"/>
                        <a:pt x="11" y="27"/>
                      </a:cubicBezTo>
                      <a:cubicBezTo>
                        <a:pt x="9" y="26"/>
                        <a:pt x="8" y="24"/>
                        <a:pt x="7" y="22"/>
                      </a:cubicBezTo>
                      <a:cubicBezTo>
                        <a:pt x="6" y="21"/>
                        <a:pt x="4" y="19"/>
                        <a:pt x="3" y="18"/>
                      </a:cubicBezTo>
                      <a:cubicBezTo>
                        <a:pt x="2" y="14"/>
                        <a:pt x="4" y="9"/>
                        <a:pt x="0" y="7"/>
                      </a:cubicBezTo>
                      <a:cubicBezTo>
                        <a:pt x="2" y="4"/>
                        <a:pt x="9" y="4"/>
                        <a:pt x="15" y="3"/>
                      </a:cubicBezTo>
                      <a:cubicBezTo>
                        <a:pt x="18" y="2"/>
                        <a:pt x="20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1" name="îś1íḋe">
                  <a:extLst>
                    <a:ext uri="{FF2B5EF4-FFF2-40B4-BE49-F238E27FC236}">
                      <a16:creationId xmlns:a16="http://schemas.microsoft.com/office/drawing/2014/main" id="{A25A11E7-1993-4719-9F64-02CFB3B70D46}"/>
                    </a:ext>
                  </a:extLst>
                </p:cNvPr>
                <p:cNvSpPr/>
                <p:nvPr/>
              </p:nvSpPr>
              <p:spPr bwMode="auto">
                <a:xfrm>
                  <a:off x="4511535" y="414885"/>
                  <a:ext cx="952532" cy="710197"/>
                </a:xfrm>
                <a:custGeom>
                  <a:avLst/>
                  <a:gdLst>
                    <a:gd name="T0" fmla="*/ 325 w 458"/>
                    <a:gd name="T1" fmla="*/ 39 h 342"/>
                    <a:gd name="T2" fmla="*/ 343 w 458"/>
                    <a:gd name="T3" fmla="*/ 40 h 342"/>
                    <a:gd name="T4" fmla="*/ 370 w 458"/>
                    <a:gd name="T5" fmla="*/ 35 h 342"/>
                    <a:gd name="T6" fmla="*/ 384 w 458"/>
                    <a:gd name="T7" fmla="*/ 37 h 342"/>
                    <a:gd name="T8" fmla="*/ 383 w 458"/>
                    <a:gd name="T9" fmla="*/ 42 h 342"/>
                    <a:gd name="T10" fmla="*/ 431 w 458"/>
                    <a:gd name="T11" fmla="*/ 33 h 342"/>
                    <a:gd name="T12" fmla="*/ 457 w 458"/>
                    <a:gd name="T13" fmla="*/ 39 h 342"/>
                    <a:gd name="T14" fmla="*/ 424 w 458"/>
                    <a:gd name="T15" fmla="*/ 55 h 342"/>
                    <a:gd name="T16" fmla="*/ 414 w 458"/>
                    <a:gd name="T17" fmla="*/ 68 h 342"/>
                    <a:gd name="T18" fmla="*/ 397 w 458"/>
                    <a:gd name="T19" fmla="*/ 87 h 342"/>
                    <a:gd name="T20" fmla="*/ 401 w 458"/>
                    <a:gd name="T21" fmla="*/ 104 h 342"/>
                    <a:gd name="T22" fmla="*/ 390 w 458"/>
                    <a:gd name="T23" fmla="*/ 121 h 342"/>
                    <a:gd name="T24" fmla="*/ 403 w 458"/>
                    <a:gd name="T25" fmla="*/ 143 h 342"/>
                    <a:gd name="T26" fmla="*/ 392 w 458"/>
                    <a:gd name="T27" fmla="*/ 160 h 342"/>
                    <a:gd name="T28" fmla="*/ 379 w 458"/>
                    <a:gd name="T29" fmla="*/ 175 h 342"/>
                    <a:gd name="T30" fmla="*/ 397 w 458"/>
                    <a:gd name="T31" fmla="*/ 208 h 342"/>
                    <a:gd name="T32" fmla="*/ 368 w 458"/>
                    <a:gd name="T33" fmla="*/ 204 h 342"/>
                    <a:gd name="T34" fmla="*/ 366 w 458"/>
                    <a:gd name="T35" fmla="*/ 216 h 342"/>
                    <a:gd name="T36" fmla="*/ 353 w 458"/>
                    <a:gd name="T37" fmla="*/ 234 h 342"/>
                    <a:gd name="T38" fmla="*/ 323 w 458"/>
                    <a:gd name="T39" fmla="*/ 242 h 342"/>
                    <a:gd name="T40" fmla="*/ 308 w 458"/>
                    <a:gd name="T41" fmla="*/ 251 h 342"/>
                    <a:gd name="T42" fmla="*/ 299 w 458"/>
                    <a:gd name="T43" fmla="*/ 262 h 342"/>
                    <a:gd name="T44" fmla="*/ 258 w 458"/>
                    <a:gd name="T45" fmla="*/ 273 h 342"/>
                    <a:gd name="T46" fmla="*/ 247 w 458"/>
                    <a:gd name="T47" fmla="*/ 290 h 342"/>
                    <a:gd name="T48" fmla="*/ 235 w 458"/>
                    <a:gd name="T49" fmla="*/ 305 h 342"/>
                    <a:gd name="T50" fmla="*/ 232 w 458"/>
                    <a:gd name="T51" fmla="*/ 320 h 342"/>
                    <a:gd name="T52" fmla="*/ 207 w 458"/>
                    <a:gd name="T53" fmla="*/ 335 h 342"/>
                    <a:gd name="T54" fmla="*/ 181 w 458"/>
                    <a:gd name="T55" fmla="*/ 322 h 342"/>
                    <a:gd name="T56" fmla="*/ 166 w 458"/>
                    <a:gd name="T57" fmla="*/ 303 h 342"/>
                    <a:gd name="T58" fmla="*/ 157 w 458"/>
                    <a:gd name="T59" fmla="*/ 290 h 342"/>
                    <a:gd name="T60" fmla="*/ 150 w 458"/>
                    <a:gd name="T61" fmla="*/ 262 h 342"/>
                    <a:gd name="T62" fmla="*/ 153 w 458"/>
                    <a:gd name="T63" fmla="*/ 253 h 342"/>
                    <a:gd name="T64" fmla="*/ 166 w 458"/>
                    <a:gd name="T65" fmla="*/ 238 h 342"/>
                    <a:gd name="T66" fmla="*/ 159 w 458"/>
                    <a:gd name="T67" fmla="*/ 219 h 342"/>
                    <a:gd name="T68" fmla="*/ 163 w 458"/>
                    <a:gd name="T69" fmla="*/ 204 h 342"/>
                    <a:gd name="T70" fmla="*/ 144 w 458"/>
                    <a:gd name="T71" fmla="*/ 199 h 342"/>
                    <a:gd name="T72" fmla="*/ 131 w 458"/>
                    <a:gd name="T73" fmla="*/ 175 h 342"/>
                    <a:gd name="T74" fmla="*/ 118 w 458"/>
                    <a:gd name="T75" fmla="*/ 148 h 342"/>
                    <a:gd name="T76" fmla="*/ 84 w 458"/>
                    <a:gd name="T77" fmla="*/ 132 h 342"/>
                    <a:gd name="T78" fmla="*/ 38 w 458"/>
                    <a:gd name="T79" fmla="*/ 134 h 342"/>
                    <a:gd name="T80" fmla="*/ 38 w 458"/>
                    <a:gd name="T81" fmla="*/ 122 h 342"/>
                    <a:gd name="T82" fmla="*/ 19 w 458"/>
                    <a:gd name="T83" fmla="*/ 106 h 342"/>
                    <a:gd name="T84" fmla="*/ 28 w 458"/>
                    <a:gd name="T85" fmla="*/ 89 h 342"/>
                    <a:gd name="T86" fmla="*/ 51 w 458"/>
                    <a:gd name="T87" fmla="*/ 80 h 342"/>
                    <a:gd name="T88" fmla="*/ 55 w 458"/>
                    <a:gd name="T89" fmla="*/ 68 h 342"/>
                    <a:gd name="T90" fmla="*/ 49 w 458"/>
                    <a:gd name="T91" fmla="*/ 61 h 342"/>
                    <a:gd name="T92" fmla="*/ 66 w 458"/>
                    <a:gd name="T93" fmla="*/ 55 h 342"/>
                    <a:gd name="T94" fmla="*/ 84 w 458"/>
                    <a:gd name="T95" fmla="*/ 37 h 342"/>
                    <a:gd name="T96" fmla="*/ 140 w 458"/>
                    <a:gd name="T97" fmla="*/ 29 h 342"/>
                    <a:gd name="T98" fmla="*/ 166 w 458"/>
                    <a:gd name="T99" fmla="*/ 37 h 342"/>
                    <a:gd name="T100" fmla="*/ 191 w 458"/>
                    <a:gd name="T101" fmla="*/ 24 h 342"/>
                    <a:gd name="T102" fmla="*/ 213 w 458"/>
                    <a:gd name="T103" fmla="*/ 25 h 342"/>
                    <a:gd name="T104" fmla="*/ 220 w 458"/>
                    <a:gd name="T105" fmla="*/ 12 h 342"/>
                    <a:gd name="T106" fmla="*/ 263 w 458"/>
                    <a:gd name="T107" fmla="*/ 3 h 342"/>
                    <a:gd name="T108" fmla="*/ 323 w 458"/>
                    <a:gd name="T109" fmla="*/ 1 h 342"/>
                    <a:gd name="T110" fmla="*/ 368 w 458"/>
                    <a:gd name="T111" fmla="*/ 16 h 342"/>
                    <a:gd name="T112" fmla="*/ 383 w 458"/>
                    <a:gd name="T113" fmla="*/ 27 h 342"/>
                    <a:gd name="T114" fmla="*/ 319 w 458"/>
                    <a:gd name="T115" fmla="*/ 29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458" h="342">
                      <a:moveTo>
                        <a:pt x="310" y="35"/>
                      </a:moveTo>
                      <a:cubicBezTo>
                        <a:pt x="310" y="37"/>
                        <a:pt x="314" y="36"/>
                        <a:pt x="314" y="39"/>
                      </a:cubicBezTo>
                      <a:cubicBezTo>
                        <a:pt x="316" y="40"/>
                        <a:pt x="319" y="37"/>
                        <a:pt x="319" y="37"/>
                      </a:cubicBezTo>
                      <a:cubicBezTo>
                        <a:pt x="322" y="36"/>
                        <a:pt x="322" y="39"/>
                        <a:pt x="325" y="39"/>
                      </a:cubicBezTo>
                      <a:cubicBezTo>
                        <a:pt x="326" y="38"/>
                        <a:pt x="327" y="37"/>
                        <a:pt x="329" y="37"/>
                      </a:cubicBezTo>
                      <a:cubicBezTo>
                        <a:pt x="330" y="36"/>
                        <a:pt x="332" y="37"/>
                        <a:pt x="334" y="37"/>
                      </a:cubicBezTo>
                      <a:cubicBezTo>
                        <a:pt x="341" y="35"/>
                        <a:pt x="349" y="32"/>
                        <a:pt x="355" y="35"/>
                      </a:cubicBezTo>
                      <a:cubicBezTo>
                        <a:pt x="353" y="39"/>
                        <a:pt x="345" y="36"/>
                        <a:pt x="343" y="40"/>
                      </a:cubicBezTo>
                      <a:cubicBezTo>
                        <a:pt x="344" y="44"/>
                        <a:pt x="347" y="40"/>
                        <a:pt x="347" y="40"/>
                      </a:cubicBezTo>
                      <a:cubicBezTo>
                        <a:pt x="351" y="41"/>
                        <a:pt x="351" y="43"/>
                        <a:pt x="356" y="40"/>
                      </a:cubicBezTo>
                      <a:cubicBezTo>
                        <a:pt x="358" y="40"/>
                        <a:pt x="359" y="39"/>
                        <a:pt x="360" y="39"/>
                      </a:cubicBezTo>
                      <a:cubicBezTo>
                        <a:pt x="361" y="38"/>
                        <a:pt x="369" y="35"/>
                        <a:pt x="370" y="35"/>
                      </a:cubicBezTo>
                      <a:cubicBezTo>
                        <a:pt x="373" y="40"/>
                        <a:pt x="368" y="33"/>
                        <a:pt x="371" y="33"/>
                      </a:cubicBezTo>
                      <a:cubicBezTo>
                        <a:pt x="372" y="33"/>
                        <a:pt x="377" y="33"/>
                        <a:pt x="377" y="33"/>
                      </a:cubicBezTo>
                      <a:cubicBezTo>
                        <a:pt x="378" y="32"/>
                        <a:pt x="381" y="30"/>
                        <a:pt x="386" y="31"/>
                      </a:cubicBezTo>
                      <a:cubicBezTo>
                        <a:pt x="386" y="34"/>
                        <a:pt x="387" y="36"/>
                        <a:pt x="384" y="37"/>
                      </a:cubicBezTo>
                      <a:cubicBezTo>
                        <a:pt x="384" y="38"/>
                        <a:pt x="382" y="39"/>
                        <a:pt x="381" y="40"/>
                      </a:cubicBezTo>
                      <a:cubicBezTo>
                        <a:pt x="379" y="43"/>
                        <a:pt x="378" y="47"/>
                        <a:pt x="373" y="46"/>
                      </a:cubicBezTo>
                      <a:cubicBezTo>
                        <a:pt x="374" y="52"/>
                        <a:pt x="377" y="44"/>
                        <a:pt x="381" y="46"/>
                      </a:cubicBezTo>
                      <a:cubicBezTo>
                        <a:pt x="383" y="47"/>
                        <a:pt x="382" y="43"/>
                        <a:pt x="383" y="42"/>
                      </a:cubicBezTo>
                      <a:cubicBezTo>
                        <a:pt x="385" y="41"/>
                        <a:pt x="392" y="43"/>
                        <a:pt x="392" y="39"/>
                      </a:cubicBezTo>
                      <a:cubicBezTo>
                        <a:pt x="396" y="45"/>
                        <a:pt x="408" y="36"/>
                        <a:pt x="411" y="40"/>
                      </a:cubicBezTo>
                      <a:cubicBezTo>
                        <a:pt x="412" y="39"/>
                        <a:pt x="414" y="37"/>
                        <a:pt x="416" y="35"/>
                      </a:cubicBezTo>
                      <a:cubicBezTo>
                        <a:pt x="422" y="37"/>
                        <a:pt x="426" y="33"/>
                        <a:pt x="431" y="33"/>
                      </a:cubicBezTo>
                      <a:cubicBezTo>
                        <a:pt x="430" y="33"/>
                        <a:pt x="432" y="35"/>
                        <a:pt x="433" y="35"/>
                      </a:cubicBezTo>
                      <a:cubicBezTo>
                        <a:pt x="434" y="35"/>
                        <a:pt x="441" y="34"/>
                        <a:pt x="442" y="35"/>
                      </a:cubicBezTo>
                      <a:cubicBezTo>
                        <a:pt x="444" y="37"/>
                        <a:pt x="443" y="34"/>
                        <a:pt x="446" y="35"/>
                      </a:cubicBezTo>
                      <a:cubicBezTo>
                        <a:pt x="449" y="36"/>
                        <a:pt x="453" y="39"/>
                        <a:pt x="457" y="39"/>
                      </a:cubicBezTo>
                      <a:cubicBezTo>
                        <a:pt x="458" y="42"/>
                        <a:pt x="455" y="41"/>
                        <a:pt x="453" y="42"/>
                      </a:cubicBezTo>
                      <a:cubicBezTo>
                        <a:pt x="452" y="43"/>
                        <a:pt x="451" y="45"/>
                        <a:pt x="450" y="46"/>
                      </a:cubicBezTo>
                      <a:cubicBezTo>
                        <a:pt x="445" y="48"/>
                        <a:pt x="437" y="47"/>
                        <a:pt x="437" y="53"/>
                      </a:cubicBezTo>
                      <a:cubicBezTo>
                        <a:pt x="432" y="53"/>
                        <a:pt x="426" y="53"/>
                        <a:pt x="424" y="55"/>
                      </a:cubicBezTo>
                      <a:cubicBezTo>
                        <a:pt x="426" y="58"/>
                        <a:pt x="430" y="59"/>
                        <a:pt x="422" y="59"/>
                      </a:cubicBezTo>
                      <a:cubicBezTo>
                        <a:pt x="422" y="61"/>
                        <a:pt x="425" y="61"/>
                        <a:pt x="427" y="61"/>
                      </a:cubicBezTo>
                      <a:cubicBezTo>
                        <a:pt x="424" y="66"/>
                        <a:pt x="415" y="65"/>
                        <a:pt x="414" y="72"/>
                      </a:cubicBezTo>
                      <a:cubicBezTo>
                        <a:pt x="411" y="72"/>
                        <a:pt x="415" y="69"/>
                        <a:pt x="414" y="68"/>
                      </a:cubicBezTo>
                      <a:cubicBezTo>
                        <a:pt x="413" y="68"/>
                        <a:pt x="408" y="71"/>
                        <a:pt x="405" y="72"/>
                      </a:cubicBezTo>
                      <a:cubicBezTo>
                        <a:pt x="405" y="74"/>
                        <a:pt x="407" y="73"/>
                        <a:pt x="409" y="74"/>
                      </a:cubicBezTo>
                      <a:cubicBezTo>
                        <a:pt x="404" y="78"/>
                        <a:pt x="407" y="77"/>
                        <a:pt x="405" y="83"/>
                      </a:cubicBezTo>
                      <a:cubicBezTo>
                        <a:pt x="405" y="85"/>
                        <a:pt x="398" y="86"/>
                        <a:pt x="397" y="87"/>
                      </a:cubicBezTo>
                      <a:cubicBezTo>
                        <a:pt x="397" y="88"/>
                        <a:pt x="398" y="92"/>
                        <a:pt x="397" y="93"/>
                      </a:cubicBezTo>
                      <a:cubicBezTo>
                        <a:pt x="396" y="94"/>
                        <a:pt x="392" y="93"/>
                        <a:pt x="390" y="94"/>
                      </a:cubicBezTo>
                      <a:cubicBezTo>
                        <a:pt x="391" y="97"/>
                        <a:pt x="393" y="97"/>
                        <a:pt x="394" y="100"/>
                      </a:cubicBezTo>
                      <a:cubicBezTo>
                        <a:pt x="395" y="104"/>
                        <a:pt x="399" y="102"/>
                        <a:pt x="401" y="104"/>
                      </a:cubicBezTo>
                      <a:cubicBezTo>
                        <a:pt x="402" y="104"/>
                        <a:pt x="401" y="107"/>
                        <a:pt x="401" y="107"/>
                      </a:cubicBezTo>
                      <a:cubicBezTo>
                        <a:pt x="403" y="109"/>
                        <a:pt x="406" y="108"/>
                        <a:pt x="407" y="109"/>
                      </a:cubicBezTo>
                      <a:cubicBezTo>
                        <a:pt x="407" y="113"/>
                        <a:pt x="409" y="113"/>
                        <a:pt x="409" y="117"/>
                      </a:cubicBezTo>
                      <a:cubicBezTo>
                        <a:pt x="403" y="119"/>
                        <a:pt x="397" y="117"/>
                        <a:pt x="390" y="121"/>
                      </a:cubicBezTo>
                      <a:cubicBezTo>
                        <a:pt x="395" y="125"/>
                        <a:pt x="399" y="131"/>
                        <a:pt x="409" y="130"/>
                      </a:cubicBezTo>
                      <a:cubicBezTo>
                        <a:pt x="408" y="133"/>
                        <a:pt x="410" y="133"/>
                        <a:pt x="412" y="134"/>
                      </a:cubicBezTo>
                      <a:cubicBezTo>
                        <a:pt x="413" y="138"/>
                        <a:pt x="409" y="136"/>
                        <a:pt x="409" y="139"/>
                      </a:cubicBezTo>
                      <a:cubicBezTo>
                        <a:pt x="409" y="141"/>
                        <a:pt x="406" y="143"/>
                        <a:pt x="403" y="143"/>
                      </a:cubicBezTo>
                      <a:cubicBezTo>
                        <a:pt x="401" y="150"/>
                        <a:pt x="410" y="146"/>
                        <a:pt x="409" y="152"/>
                      </a:cubicBezTo>
                      <a:cubicBezTo>
                        <a:pt x="405" y="152"/>
                        <a:pt x="405" y="154"/>
                        <a:pt x="407" y="154"/>
                      </a:cubicBezTo>
                      <a:cubicBezTo>
                        <a:pt x="405" y="160"/>
                        <a:pt x="401" y="153"/>
                        <a:pt x="397" y="154"/>
                      </a:cubicBezTo>
                      <a:cubicBezTo>
                        <a:pt x="394" y="154"/>
                        <a:pt x="396" y="160"/>
                        <a:pt x="392" y="160"/>
                      </a:cubicBezTo>
                      <a:cubicBezTo>
                        <a:pt x="392" y="163"/>
                        <a:pt x="393" y="164"/>
                        <a:pt x="396" y="165"/>
                      </a:cubicBezTo>
                      <a:cubicBezTo>
                        <a:pt x="395" y="168"/>
                        <a:pt x="391" y="166"/>
                        <a:pt x="388" y="167"/>
                      </a:cubicBezTo>
                      <a:cubicBezTo>
                        <a:pt x="383" y="168"/>
                        <a:pt x="378" y="172"/>
                        <a:pt x="373" y="173"/>
                      </a:cubicBezTo>
                      <a:cubicBezTo>
                        <a:pt x="373" y="175"/>
                        <a:pt x="377" y="174"/>
                        <a:pt x="379" y="175"/>
                      </a:cubicBezTo>
                      <a:cubicBezTo>
                        <a:pt x="381" y="176"/>
                        <a:pt x="382" y="182"/>
                        <a:pt x="386" y="180"/>
                      </a:cubicBezTo>
                      <a:cubicBezTo>
                        <a:pt x="388" y="184"/>
                        <a:pt x="383" y="184"/>
                        <a:pt x="383" y="186"/>
                      </a:cubicBezTo>
                      <a:cubicBezTo>
                        <a:pt x="382" y="188"/>
                        <a:pt x="385" y="194"/>
                        <a:pt x="381" y="195"/>
                      </a:cubicBezTo>
                      <a:cubicBezTo>
                        <a:pt x="383" y="202"/>
                        <a:pt x="396" y="200"/>
                        <a:pt x="397" y="208"/>
                      </a:cubicBezTo>
                      <a:cubicBezTo>
                        <a:pt x="395" y="208"/>
                        <a:pt x="390" y="209"/>
                        <a:pt x="390" y="206"/>
                      </a:cubicBezTo>
                      <a:cubicBezTo>
                        <a:pt x="388" y="207"/>
                        <a:pt x="389" y="208"/>
                        <a:pt x="390" y="208"/>
                      </a:cubicBezTo>
                      <a:cubicBezTo>
                        <a:pt x="385" y="214"/>
                        <a:pt x="382" y="213"/>
                        <a:pt x="373" y="212"/>
                      </a:cubicBezTo>
                      <a:cubicBezTo>
                        <a:pt x="376" y="205"/>
                        <a:pt x="365" y="211"/>
                        <a:pt x="368" y="204"/>
                      </a:cubicBezTo>
                      <a:cubicBezTo>
                        <a:pt x="362" y="203"/>
                        <a:pt x="362" y="208"/>
                        <a:pt x="356" y="206"/>
                      </a:cubicBezTo>
                      <a:cubicBezTo>
                        <a:pt x="359" y="209"/>
                        <a:pt x="358" y="210"/>
                        <a:pt x="355" y="210"/>
                      </a:cubicBezTo>
                      <a:cubicBezTo>
                        <a:pt x="355" y="213"/>
                        <a:pt x="366" y="213"/>
                        <a:pt x="356" y="214"/>
                      </a:cubicBezTo>
                      <a:cubicBezTo>
                        <a:pt x="358" y="218"/>
                        <a:pt x="363" y="215"/>
                        <a:pt x="366" y="216"/>
                      </a:cubicBezTo>
                      <a:cubicBezTo>
                        <a:pt x="370" y="216"/>
                        <a:pt x="375" y="219"/>
                        <a:pt x="381" y="217"/>
                      </a:cubicBezTo>
                      <a:cubicBezTo>
                        <a:pt x="377" y="223"/>
                        <a:pt x="372" y="228"/>
                        <a:pt x="368" y="232"/>
                      </a:cubicBezTo>
                      <a:cubicBezTo>
                        <a:pt x="363" y="231"/>
                        <a:pt x="360" y="233"/>
                        <a:pt x="356" y="234"/>
                      </a:cubicBezTo>
                      <a:cubicBezTo>
                        <a:pt x="356" y="234"/>
                        <a:pt x="353" y="234"/>
                        <a:pt x="353" y="234"/>
                      </a:cubicBezTo>
                      <a:cubicBezTo>
                        <a:pt x="351" y="236"/>
                        <a:pt x="352" y="234"/>
                        <a:pt x="349" y="234"/>
                      </a:cubicBezTo>
                      <a:cubicBezTo>
                        <a:pt x="344" y="234"/>
                        <a:pt x="339" y="238"/>
                        <a:pt x="332" y="238"/>
                      </a:cubicBezTo>
                      <a:cubicBezTo>
                        <a:pt x="329" y="238"/>
                        <a:pt x="332" y="240"/>
                        <a:pt x="332" y="240"/>
                      </a:cubicBezTo>
                      <a:cubicBezTo>
                        <a:pt x="330" y="244"/>
                        <a:pt x="329" y="241"/>
                        <a:pt x="323" y="242"/>
                      </a:cubicBezTo>
                      <a:cubicBezTo>
                        <a:pt x="323" y="243"/>
                        <a:pt x="325" y="243"/>
                        <a:pt x="327" y="244"/>
                      </a:cubicBezTo>
                      <a:cubicBezTo>
                        <a:pt x="327" y="246"/>
                        <a:pt x="313" y="248"/>
                        <a:pt x="315" y="242"/>
                      </a:cubicBezTo>
                      <a:cubicBezTo>
                        <a:pt x="314" y="243"/>
                        <a:pt x="309" y="242"/>
                        <a:pt x="308" y="244"/>
                      </a:cubicBezTo>
                      <a:cubicBezTo>
                        <a:pt x="307" y="245"/>
                        <a:pt x="309" y="249"/>
                        <a:pt x="308" y="251"/>
                      </a:cubicBezTo>
                      <a:cubicBezTo>
                        <a:pt x="308" y="251"/>
                        <a:pt x="303" y="249"/>
                        <a:pt x="302" y="251"/>
                      </a:cubicBezTo>
                      <a:cubicBezTo>
                        <a:pt x="302" y="252"/>
                        <a:pt x="305" y="254"/>
                        <a:pt x="304" y="257"/>
                      </a:cubicBezTo>
                      <a:cubicBezTo>
                        <a:pt x="302" y="259"/>
                        <a:pt x="301" y="257"/>
                        <a:pt x="299" y="257"/>
                      </a:cubicBezTo>
                      <a:cubicBezTo>
                        <a:pt x="299" y="258"/>
                        <a:pt x="299" y="260"/>
                        <a:pt x="299" y="262"/>
                      </a:cubicBezTo>
                      <a:cubicBezTo>
                        <a:pt x="298" y="262"/>
                        <a:pt x="296" y="262"/>
                        <a:pt x="295" y="262"/>
                      </a:cubicBezTo>
                      <a:cubicBezTo>
                        <a:pt x="293" y="263"/>
                        <a:pt x="295" y="265"/>
                        <a:pt x="293" y="266"/>
                      </a:cubicBezTo>
                      <a:cubicBezTo>
                        <a:pt x="290" y="267"/>
                        <a:pt x="282" y="265"/>
                        <a:pt x="284" y="271"/>
                      </a:cubicBezTo>
                      <a:cubicBezTo>
                        <a:pt x="276" y="273"/>
                        <a:pt x="267" y="274"/>
                        <a:pt x="258" y="273"/>
                      </a:cubicBezTo>
                      <a:cubicBezTo>
                        <a:pt x="254" y="276"/>
                        <a:pt x="252" y="285"/>
                        <a:pt x="247" y="281"/>
                      </a:cubicBezTo>
                      <a:cubicBezTo>
                        <a:pt x="247" y="282"/>
                        <a:pt x="249" y="284"/>
                        <a:pt x="248" y="286"/>
                      </a:cubicBezTo>
                      <a:cubicBezTo>
                        <a:pt x="248" y="287"/>
                        <a:pt x="245" y="286"/>
                        <a:pt x="245" y="286"/>
                      </a:cubicBezTo>
                      <a:cubicBezTo>
                        <a:pt x="244" y="287"/>
                        <a:pt x="247" y="289"/>
                        <a:pt x="247" y="290"/>
                      </a:cubicBezTo>
                      <a:cubicBezTo>
                        <a:pt x="247" y="290"/>
                        <a:pt x="245" y="291"/>
                        <a:pt x="245" y="292"/>
                      </a:cubicBezTo>
                      <a:cubicBezTo>
                        <a:pt x="245" y="294"/>
                        <a:pt x="239" y="298"/>
                        <a:pt x="243" y="299"/>
                      </a:cubicBezTo>
                      <a:cubicBezTo>
                        <a:pt x="243" y="302"/>
                        <a:pt x="240" y="300"/>
                        <a:pt x="239" y="301"/>
                      </a:cubicBezTo>
                      <a:cubicBezTo>
                        <a:pt x="238" y="302"/>
                        <a:pt x="236" y="304"/>
                        <a:pt x="235" y="305"/>
                      </a:cubicBezTo>
                      <a:cubicBezTo>
                        <a:pt x="235" y="306"/>
                        <a:pt x="236" y="308"/>
                        <a:pt x="235" y="309"/>
                      </a:cubicBezTo>
                      <a:cubicBezTo>
                        <a:pt x="233" y="311"/>
                        <a:pt x="235" y="313"/>
                        <a:pt x="233" y="316"/>
                      </a:cubicBezTo>
                      <a:cubicBezTo>
                        <a:pt x="233" y="317"/>
                        <a:pt x="230" y="316"/>
                        <a:pt x="230" y="316"/>
                      </a:cubicBezTo>
                      <a:cubicBezTo>
                        <a:pt x="230" y="317"/>
                        <a:pt x="231" y="319"/>
                        <a:pt x="232" y="320"/>
                      </a:cubicBezTo>
                      <a:cubicBezTo>
                        <a:pt x="232" y="323"/>
                        <a:pt x="230" y="323"/>
                        <a:pt x="230" y="326"/>
                      </a:cubicBezTo>
                      <a:cubicBezTo>
                        <a:pt x="230" y="327"/>
                        <a:pt x="231" y="330"/>
                        <a:pt x="232" y="329"/>
                      </a:cubicBezTo>
                      <a:cubicBezTo>
                        <a:pt x="229" y="336"/>
                        <a:pt x="226" y="338"/>
                        <a:pt x="220" y="342"/>
                      </a:cubicBezTo>
                      <a:cubicBezTo>
                        <a:pt x="214" y="342"/>
                        <a:pt x="211" y="338"/>
                        <a:pt x="207" y="335"/>
                      </a:cubicBezTo>
                      <a:cubicBezTo>
                        <a:pt x="202" y="342"/>
                        <a:pt x="191" y="331"/>
                        <a:pt x="192" y="331"/>
                      </a:cubicBezTo>
                      <a:cubicBezTo>
                        <a:pt x="191" y="331"/>
                        <a:pt x="190" y="335"/>
                        <a:pt x="191" y="335"/>
                      </a:cubicBezTo>
                      <a:cubicBezTo>
                        <a:pt x="188" y="334"/>
                        <a:pt x="188" y="331"/>
                        <a:pt x="187" y="329"/>
                      </a:cubicBezTo>
                      <a:cubicBezTo>
                        <a:pt x="185" y="327"/>
                        <a:pt x="180" y="327"/>
                        <a:pt x="181" y="322"/>
                      </a:cubicBezTo>
                      <a:cubicBezTo>
                        <a:pt x="179" y="319"/>
                        <a:pt x="176" y="318"/>
                        <a:pt x="174" y="316"/>
                      </a:cubicBezTo>
                      <a:cubicBezTo>
                        <a:pt x="174" y="314"/>
                        <a:pt x="176" y="315"/>
                        <a:pt x="178" y="314"/>
                      </a:cubicBezTo>
                      <a:cubicBezTo>
                        <a:pt x="177" y="310"/>
                        <a:pt x="173" y="312"/>
                        <a:pt x="170" y="309"/>
                      </a:cubicBezTo>
                      <a:cubicBezTo>
                        <a:pt x="169" y="307"/>
                        <a:pt x="169" y="304"/>
                        <a:pt x="166" y="303"/>
                      </a:cubicBezTo>
                      <a:cubicBezTo>
                        <a:pt x="163" y="307"/>
                        <a:pt x="166" y="300"/>
                        <a:pt x="166" y="301"/>
                      </a:cubicBezTo>
                      <a:cubicBezTo>
                        <a:pt x="166" y="299"/>
                        <a:pt x="164" y="301"/>
                        <a:pt x="163" y="299"/>
                      </a:cubicBezTo>
                      <a:cubicBezTo>
                        <a:pt x="161" y="297"/>
                        <a:pt x="164" y="294"/>
                        <a:pt x="161" y="294"/>
                      </a:cubicBezTo>
                      <a:cubicBezTo>
                        <a:pt x="157" y="294"/>
                        <a:pt x="160" y="286"/>
                        <a:pt x="157" y="290"/>
                      </a:cubicBezTo>
                      <a:cubicBezTo>
                        <a:pt x="155" y="289"/>
                        <a:pt x="155" y="286"/>
                        <a:pt x="151" y="286"/>
                      </a:cubicBezTo>
                      <a:cubicBezTo>
                        <a:pt x="152" y="284"/>
                        <a:pt x="155" y="283"/>
                        <a:pt x="155" y="281"/>
                      </a:cubicBezTo>
                      <a:cubicBezTo>
                        <a:pt x="155" y="278"/>
                        <a:pt x="151" y="279"/>
                        <a:pt x="148" y="279"/>
                      </a:cubicBezTo>
                      <a:cubicBezTo>
                        <a:pt x="146" y="272"/>
                        <a:pt x="147" y="269"/>
                        <a:pt x="150" y="262"/>
                      </a:cubicBezTo>
                      <a:cubicBezTo>
                        <a:pt x="145" y="259"/>
                        <a:pt x="153" y="256"/>
                        <a:pt x="146" y="257"/>
                      </a:cubicBezTo>
                      <a:cubicBezTo>
                        <a:pt x="145" y="254"/>
                        <a:pt x="149" y="256"/>
                        <a:pt x="150" y="255"/>
                      </a:cubicBezTo>
                      <a:cubicBezTo>
                        <a:pt x="150" y="254"/>
                        <a:pt x="149" y="251"/>
                        <a:pt x="150" y="251"/>
                      </a:cubicBezTo>
                      <a:cubicBezTo>
                        <a:pt x="151" y="251"/>
                        <a:pt x="152" y="253"/>
                        <a:pt x="153" y="253"/>
                      </a:cubicBezTo>
                      <a:cubicBezTo>
                        <a:pt x="153" y="249"/>
                        <a:pt x="153" y="245"/>
                        <a:pt x="153" y="242"/>
                      </a:cubicBezTo>
                      <a:cubicBezTo>
                        <a:pt x="156" y="242"/>
                        <a:pt x="158" y="240"/>
                        <a:pt x="159" y="238"/>
                      </a:cubicBezTo>
                      <a:cubicBezTo>
                        <a:pt x="161" y="238"/>
                        <a:pt x="160" y="240"/>
                        <a:pt x="161" y="242"/>
                      </a:cubicBezTo>
                      <a:cubicBezTo>
                        <a:pt x="163" y="240"/>
                        <a:pt x="163" y="237"/>
                        <a:pt x="166" y="238"/>
                      </a:cubicBezTo>
                      <a:cubicBezTo>
                        <a:pt x="168" y="236"/>
                        <a:pt x="164" y="235"/>
                        <a:pt x="164" y="234"/>
                      </a:cubicBezTo>
                      <a:cubicBezTo>
                        <a:pt x="165" y="232"/>
                        <a:pt x="170" y="232"/>
                        <a:pt x="170" y="230"/>
                      </a:cubicBezTo>
                      <a:cubicBezTo>
                        <a:pt x="171" y="227"/>
                        <a:pt x="164" y="226"/>
                        <a:pt x="168" y="221"/>
                      </a:cubicBezTo>
                      <a:cubicBezTo>
                        <a:pt x="160" y="226"/>
                        <a:pt x="172" y="217"/>
                        <a:pt x="159" y="219"/>
                      </a:cubicBezTo>
                      <a:cubicBezTo>
                        <a:pt x="158" y="213"/>
                        <a:pt x="164" y="214"/>
                        <a:pt x="170" y="214"/>
                      </a:cubicBezTo>
                      <a:cubicBezTo>
                        <a:pt x="170" y="212"/>
                        <a:pt x="166" y="212"/>
                        <a:pt x="166" y="210"/>
                      </a:cubicBezTo>
                      <a:cubicBezTo>
                        <a:pt x="167" y="208"/>
                        <a:pt x="164" y="209"/>
                        <a:pt x="163" y="208"/>
                      </a:cubicBezTo>
                      <a:cubicBezTo>
                        <a:pt x="162" y="208"/>
                        <a:pt x="163" y="205"/>
                        <a:pt x="163" y="204"/>
                      </a:cubicBezTo>
                      <a:cubicBezTo>
                        <a:pt x="162" y="204"/>
                        <a:pt x="158" y="201"/>
                        <a:pt x="157" y="201"/>
                      </a:cubicBezTo>
                      <a:cubicBezTo>
                        <a:pt x="156" y="201"/>
                        <a:pt x="154" y="196"/>
                        <a:pt x="151" y="193"/>
                      </a:cubicBezTo>
                      <a:cubicBezTo>
                        <a:pt x="149" y="196"/>
                        <a:pt x="148" y="199"/>
                        <a:pt x="146" y="193"/>
                      </a:cubicBezTo>
                      <a:cubicBezTo>
                        <a:pt x="144" y="194"/>
                        <a:pt x="144" y="197"/>
                        <a:pt x="144" y="199"/>
                      </a:cubicBezTo>
                      <a:cubicBezTo>
                        <a:pt x="141" y="199"/>
                        <a:pt x="138" y="199"/>
                        <a:pt x="135" y="199"/>
                      </a:cubicBezTo>
                      <a:cubicBezTo>
                        <a:pt x="129" y="191"/>
                        <a:pt x="133" y="185"/>
                        <a:pt x="135" y="176"/>
                      </a:cubicBezTo>
                      <a:cubicBezTo>
                        <a:pt x="134" y="175"/>
                        <a:pt x="133" y="173"/>
                        <a:pt x="133" y="171"/>
                      </a:cubicBezTo>
                      <a:cubicBezTo>
                        <a:pt x="131" y="171"/>
                        <a:pt x="131" y="173"/>
                        <a:pt x="131" y="175"/>
                      </a:cubicBezTo>
                      <a:cubicBezTo>
                        <a:pt x="126" y="175"/>
                        <a:pt x="133" y="164"/>
                        <a:pt x="125" y="167"/>
                      </a:cubicBezTo>
                      <a:cubicBezTo>
                        <a:pt x="128" y="164"/>
                        <a:pt x="128" y="162"/>
                        <a:pt x="125" y="160"/>
                      </a:cubicBezTo>
                      <a:cubicBezTo>
                        <a:pt x="125" y="157"/>
                        <a:pt x="122" y="158"/>
                        <a:pt x="120" y="158"/>
                      </a:cubicBezTo>
                      <a:cubicBezTo>
                        <a:pt x="118" y="155"/>
                        <a:pt x="119" y="151"/>
                        <a:pt x="118" y="148"/>
                      </a:cubicBezTo>
                      <a:cubicBezTo>
                        <a:pt x="117" y="146"/>
                        <a:pt x="112" y="146"/>
                        <a:pt x="114" y="141"/>
                      </a:cubicBezTo>
                      <a:cubicBezTo>
                        <a:pt x="111" y="142"/>
                        <a:pt x="110" y="140"/>
                        <a:pt x="109" y="139"/>
                      </a:cubicBezTo>
                      <a:cubicBezTo>
                        <a:pt x="108" y="139"/>
                        <a:pt x="105" y="140"/>
                        <a:pt x="105" y="139"/>
                      </a:cubicBezTo>
                      <a:cubicBezTo>
                        <a:pt x="103" y="136"/>
                        <a:pt x="88" y="138"/>
                        <a:pt x="84" y="132"/>
                      </a:cubicBezTo>
                      <a:cubicBezTo>
                        <a:pt x="77" y="135"/>
                        <a:pt x="62" y="127"/>
                        <a:pt x="58" y="132"/>
                      </a:cubicBezTo>
                      <a:cubicBezTo>
                        <a:pt x="56" y="135"/>
                        <a:pt x="56" y="131"/>
                        <a:pt x="53" y="132"/>
                      </a:cubicBezTo>
                      <a:cubicBezTo>
                        <a:pt x="48" y="132"/>
                        <a:pt x="44" y="135"/>
                        <a:pt x="40" y="135"/>
                      </a:cubicBezTo>
                      <a:cubicBezTo>
                        <a:pt x="40" y="135"/>
                        <a:pt x="39" y="134"/>
                        <a:pt x="38" y="134"/>
                      </a:cubicBezTo>
                      <a:cubicBezTo>
                        <a:pt x="36" y="133"/>
                        <a:pt x="34" y="134"/>
                        <a:pt x="32" y="134"/>
                      </a:cubicBezTo>
                      <a:cubicBezTo>
                        <a:pt x="32" y="130"/>
                        <a:pt x="31" y="129"/>
                        <a:pt x="28" y="128"/>
                      </a:cubicBezTo>
                      <a:cubicBezTo>
                        <a:pt x="28" y="125"/>
                        <a:pt x="33" y="127"/>
                        <a:pt x="34" y="126"/>
                      </a:cubicBezTo>
                      <a:cubicBezTo>
                        <a:pt x="35" y="125"/>
                        <a:pt x="29" y="121"/>
                        <a:pt x="38" y="122"/>
                      </a:cubicBezTo>
                      <a:cubicBezTo>
                        <a:pt x="35" y="117"/>
                        <a:pt x="21" y="123"/>
                        <a:pt x="17" y="119"/>
                      </a:cubicBezTo>
                      <a:cubicBezTo>
                        <a:pt x="21" y="109"/>
                        <a:pt x="33" y="119"/>
                        <a:pt x="40" y="111"/>
                      </a:cubicBezTo>
                      <a:cubicBezTo>
                        <a:pt x="36" y="107"/>
                        <a:pt x="24" y="110"/>
                        <a:pt x="19" y="111"/>
                      </a:cubicBezTo>
                      <a:cubicBezTo>
                        <a:pt x="17" y="109"/>
                        <a:pt x="18" y="108"/>
                        <a:pt x="19" y="106"/>
                      </a:cubicBezTo>
                      <a:cubicBezTo>
                        <a:pt x="18" y="105"/>
                        <a:pt x="17" y="106"/>
                        <a:pt x="17" y="107"/>
                      </a:cubicBezTo>
                      <a:cubicBezTo>
                        <a:pt x="15" y="107"/>
                        <a:pt x="16" y="105"/>
                        <a:pt x="15" y="104"/>
                      </a:cubicBezTo>
                      <a:cubicBezTo>
                        <a:pt x="8" y="105"/>
                        <a:pt x="5" y="102"/>
                        <a:pt x="0" y="100"/>
                      </a:cubicBezTo>
                      <a:cubicBezTo>
                        <a:pt x="4" y="88"/>
                        <a:pt x="19" y="91"/>
                        <a:pt x="28" y="89"/>
                      </a:cubicBezTo>
                      <a:cubicBezTo>
                        <a:pt x="31" y="88"/>
                        <a:pt x="30" y="89"/>
                        <a:pt x="32" y="87"/>
                      </a:cubicBezTo>
                      <a:cubicBezTo>
                        <a:pt x="32" y="87"/>
                        <a:pt x="35" y="85"/>
                        <a:pt x="34" y="85"/>
                      </a:cubicBezTo>
                      <a:cubicBezTo>
                        <a:pt x="39" y="83"/>
                        <a:pt x="46" y="85"/>
                        <a:pt x="49" y="83"/>
                      </a:cubicBezTo>
                      <a:cubicBezTo>
                        <a:pt x="51" y="82"/>
                        <a:pt x="49" y="81"/>
                        <a:pt x="51" y="80"/>
                      </a:cubicBezTo>
                      <a:cubicBezTo>
                        <a:pt x="52" y="78"/>
                        <a:pt x="55" y="79"/>
                        <a:pt x="56" y="78"/>
                      </a:cubicBezTo>
                      <a:cubicBezTo>
                        <a:pt x="58" y="76"/>
                        <a:pt x="59" y="74"/>
                        <a:pt x="62" y="72"/>
                      </a:cubicBezTo>
                      <a:cubicBezTo>
                        <a:pt x="64" y="66"/>
                        <a:pt x="56" y="71"/>
                        <a:pt x="58" y="65"/>
                      </a:cubicBezTo>
                      <a:cubicBezTo>
                        <a:pt x="55" y="62"/>
                        <a:pt x="55" y="68"/>
                        <a:pt x="55" y="68"/>
                      </a:cubicBezTo>
                      <a:cubicBezTo>
                        <a:pt x="53" y="69"/>
                        <a:pt x="45" y="64"/>
                        <a:pt x="40" y="66"/>
                      </a:cubicBezTo>
                      <a:cubicBezTo>
                        <a:pt x="37" y="61"/>
                        <a:pt x="44" y="64"/>
                        <a:pt x="45" y="63"/>
                      </a:cubicBezTo>
                      <a:cubicBezTo>
                        <a:pt x="45" y="62"/>
                        <a:pt x="45" y="61"/>
                        <a:pt x="45" y="61"/>
                      </a:cubicBezTo>
                      <a:cubicBezTo>
                        <a:pt x="46" y="60"/>
                        <a:pt x="48" y="61"/>
                        <a:pt x="49" y="61"/>
                      </a:cubicBezTo>
                      <a:cubicBezTo>
                        <a:pt x="49" y="60"/>
                        <a:pt x="50" y="57"/>
                        <a:pt x="51" y="57"/>
                      </a:cubicBezTo>
                      <a:cubicBezTo>
                        <a:pt x="53" y="56"/>
                        <a:pt x="52" y="59"/>
                        <a:pt x="53" y="59"/>
                      </a:cubicBezTo>
                      <a:cubicBezTo>
                        <a:pt x="53" y="59"/>
                        <a:pt x="59" y="58"/>
                        <a:pt x="58" y="53"/>
                      </a:cubicBezTo>
                      <a:cubicBezTo>
                        <a:pt x="62" y="53"/>
                        <a:pt x="62" y="56"/>
                        <a:pt x="66" y="55"/>
                      </a:cubicBezTo>
                      <a:cubicBezTo>
                        <a:pt x="69" y="55"/>
                        <a:pt x="66" y="53"/>
                        <a:pt x="66" y="53"/>
                      </a:cubicBezTo>
                      <a:cubicBezTo>
                        <a:pt x="66" y="51"/>
                        <a:pt x="70" y="52"/>
                        <a:pt x="69" y="48"/>
                      </a:cubicBezTo>
                      <a:cubicBezTo>
                        <a:pt x="74" y="48"/>
                        <a:pt x="78" y="48"/>
                        <a:pt x="83" y="48"/>
                      </a:cubicBezTo>
                      <a:cubicBezTo>
                        <a:pt x="87" y="48"/>
                        <a:pt x="83" y="40"/>
                        <a:pt x="84" y="37"/>
                      </a:cubicBezTo>
                      <a:cubicBezTo>
                        <a:pt x="91" y="38"/>
                        <a:pt x="97" y="40"/>
                        <a:pt x="103" y="37"/>
                      </a:cubicBezTo>
                      <a:cubicBezTo>
                        <a:pt x="103" y="35"/>
                        <a:pt x="101" y="35"/>
                        <a:pt x="99" y="35"/>
                      </a:cubicBezTo>
                      <a:cubicBezTo>
                        <a:pt x="101" y="32"/>
                        <a:pt x="107" y="33"/>
                        <a:pt x="110" y="31"/>
                      </a:cubicBezTo>
                      <a:cubicBezTo>
                        <a:pt x="115" y="28"/>
                        <a:pt x="129" y="30"/>
                        <a:pt x="140" y="29"/>
                      </a:cubicBezTo>
                      <a:cubicBezTo>
                        <a:pt x="143" y="29"/>
                        <a:pt x="144" y="27"/>
                        <a:pt x="146" y="27"/>
                      </a:cubicBezTo>
                      <a:cubicBezTo>
                        <a:pt x="151" y="27"/>
                        <a:pt x="155" y="29"/>
                        <a:pt x="159" y="27"/>
                      </a:cubicBezTo>
                      <a:cubicBezTo>
                        <a:pt x="158" y="29"/>
                        <a:pt x="160" y="34"/>
                        <a:pt x="161" y="33"/>
                      </a:cubicBezTo>
                      <a:cubicBezTo>
                        <a:pt x="163" y="30"/>
                        <a:pt x="161" y="32"/>
                        <a:pt x="166" y="37"/>
                      </a:cubicBezTo>
                      <a:cubicBezTo>
                        <a:pt x="170" y="36"/>
                        <a:pt x="163" y="31"/>
                        <a:pt x="172" y="33"/>
                      </a:cubicBezTo>
                      <a:cubicBezTo>
                        <a:pt x="169" y="30"/>
                        <a:pt x="175" y="26"/>
                        <a:pt x="166" y="25"/>
                      </a:cubicBezTo>
                      <a:cubicBezTo>
                        <a:pt x="167" y="22"/>
                        <a:pt x="181" y="16"/>
                        <a:pt x="181" y="24"/>
                      </a:cubicBezTo>
                      <a:cubicBezTo>
                        <a:pt x="187" y="24"/>
                        <a:pt x="186" y="21"/>
                        <a:pt x="191" y="24"/>
                      </a:cubicBezTo>
                      <a:cubicBezTo>
                        <a:pt x="193" y="25"/>
                        <a:pt x="194" y="26"/>
                        <a:pt x="196" y="27"/>
                      </a:cubicBezTo>
                      <a:cubicBezTo>
                        <a:pt x="198" y="29"/>
                        <a:pt x="204" y="29"/>
                        <a:pt x="211" y="31"/>
                      </a:cubicBezTo>
                      <a:cubicBezTo>
                        <a:pt x="211" y="29"/>
                        <a:pt x="209" y="30"/>
                        <a:pt x="207" y="29"/>
                      </a:cubicBezTo>
                      <a:cubicBezTo>
                        <a:pt x="208" y="27"/>
                        <a:pt x="210" y="25"/>
                        <a:pt x="213" y="25"/>
                      </a:cubicBezTo>
                      <a:cubicBezTo>
                        <a:pt x="210" y="21"/>
                        <a:pt x="202" y="21"/>
                        <a:pt x="196" y="20"/>
                      </a:cubicBezTo>
                      <a:cubicBezTo>
                        <a:pt x="196" y="15"/>
                        <a:pt x="204" y="16"/>
                        <a:pt x="209" y="16"/>
                      </a:cubicBezTo>
                      <a:cubicBezTo>
                        <a:pt x="210" y="12"/>
                        <a:pt x="207" y="13"/>
                        <a:pt x="204" y="12"/>
                      </a:cubicBezTo>
                      <a:cubicBezTo>
                        <a:pt x="208" y="5"/>
                        <a:pt x="215" y="12"/>
                        <a:pt x="220" y="12"/>
                      </a:cubicBezTo>
                      <a:cubicBezTo>
                        <a:pt x="224" y="13"/>
                        <a:pt x="224" y="10"/>
                        <a:pt x="228" y="11"/>
                      </a:cubicBezTo>
                      <a:cubicBezTo>
                        <a:pt x="237" y="11"/>
                        <a:pt x="243" y="15"/>
                        <a:pt x="250" y="11"/>
                      </a:cubicBezTo>
                      <a:cubicBezTo>
                        <a:pt x="253" y="9"/>
                        <a:pt x="257" y="10"/>
                        <a:pt x="261" y="9"/>
                      </a:cubicBezTo>
                      <a:cubicBezTo>
                        <a:pt x="264" y="8"/>
                        <a:pt x="263" y="5"/>
                        <a:pt x="263" y="3"/>
                      </a:cubicBezTo>
                      <a:cubicBezTo>
                        <a:pt x="266" y="3"/>
                        <a:pt x="270" y="4"/>
                        <a:pt x="273" y="3"/>
                      </a:cubicBezTo>
                      <a:cubicBezTo>
                        <a:pt x="275" y="3"/>
                        <a:pt x="276" y="1"/>
                        <a:pt x="278" y="1"/>
                      </a:cubicBezTo>
                      <a:cubicBezTo>
                        <a:pt x="282" y="1"/>
                        <a:pt x="287" y="4"/>
                        <a:pt x="295" y="3"/>
                      </a:cubicBezTo>
                      <a:cubicBezTo>
                        <a:pt x="300" y="2"/>
                        <a:pt x="312" y="0"/>
                        <a:pt x="323" y="1"/>
                      </a:cubicBezTo>
                      <a:cubicBezTo>
                        <a:pt x="326" y="1"/>
                        <a:pt x="326" y="3"/>
                        <a:pt x="329" y="3"/>
                      </a:cubicBezTo>
                      <a:cubicBezTo>
                        <a:pt x="339" y="5"/>
                        <a:pt x="349" y="1"/>
                        <a:pt x="349" y="11"/>
                      </a:cubicBezTo>
                      <a:cubicBezTo>
                        <a:pt x="354" y="12"/>
                        <a:pt x="354" y="8"/>
                        <a:pt x="358" y="9"/>
                      </a:cubicBezTo>
                      <a:cubicBezTo>
                        <a:pt x="358" y="15"/>
                        <a:pt x="365" y="13"/>
                        <a:pt x="368" y="16"/>
                      </a:cubicBezTo>
                      <a:cubicBezTo>
                        <a:pt x="373" y="18"/>
                        <a:pt x="373" y="14"/>
                        <a:pt x="377" y="14"/>
                      </a:cubicBezTo>
                      <a:cubicBezTo>
                        <a:pt x="375" y="21"/>
                        <a:pt x="384" y="17"/>
                        <a:pt x="388" y="18"/>
                      </a:cubicBezTo>
                      <a:cubicBezTo>
                        <a:pt x="385" y="22"/>
                        <a:pt x="385" y="19"/>
                        <a:pt x="386" y="25"/>
                      </a:cubicBezTo>
                      <a:cubicBezTo>
                        <a:pt x="384" y="23"/>
                        <a:pt x="382" y="24"/>
                        <a:pt x="383" y="27"/>
                      </a:cubicBezTo>
                      <a:cubicBezTo>
                        <a:pt x="363" y="29"/>
                        <a:pt x="339" y="30"/>
                        <a:pt x="325" y="31"/>
                      </a:cubicBezTo>
                      <a:cubicBezTo>
                        <a:pt x="323" y="31"/>
                        <a:pt x="323" y="32"/>
                        <a:pt x="323" y="33"/>
                      </a:cubicBezTo>
                      <a:cubicBezTo>
                        <a:pt x="321" y="33"/>
                        <a:pt x="322" y="31"/>
                        <a:pt x="323" y="31"/>
                      </a:cubicBezTo>
                      <a:cubicBezTo>
                        <a:pt x="324" y="30"/>
                        <a:pt x="320" y="29"/>
                        <a:pt x="319" y="29"/>
                      </a:cubicBezTo>
                      <a:cubicBezTo>
                        <a:pt x="319" y="30"/>
                        <a:pt x="320" y="33"/>
                        <a:pt x="319" y="33"/>
                      </a:cubicBezTo>
                      <a:cubicBezTo>
                        <a:pt x="316" y="34"/>
                        <a:pt x="312" y="32"/>
                        <a:pt x="310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2" name="ís1idè">
                  <a:extLst>
                    <a:ext uri="{FF2B5EF4-FFF2-40B4-BE49-F238E27FC236}">
                      <a16:creationId xmlns:a16="http://schemas.microsoft.com/office/drawing/2014/main" id="{C96B63AA-890F-4CCD-90B5-DD5ED4B3498B}"/>
                    </a:ext>
                  </a:extLst>
                </p:cNvPr>
                <p:cNvSpPr/>
                <p:nvPr/>
              </p:nvSpPr>
              <p:spPr bwMode="auto">
                <a:xfrm>
                  <a:off x="4224375" y="434497"/>
                  <a:ext cx="466461" cy="253542"/>
                </a:xfrm>
                <a:custGeom>
                  <a:avLst/>
                  <a:gdLst>
                    <a:gd name="T0" fmla="*/ 209 w 224"/>
                    <a:gd name="T1" fmla="*/ 12 h 122"/>
                    <a:gd name="T2" fmla="*/ 222 w 224"/>
                    <a:gd name="T3" fmla="*/ 19 h 122"/>
                    <a:gd name="T4" fmla="*/ 217 w 224"/>
                    <a:gd name="T5" fmla="*/ 23 h 122"/>
                    <a:gd name="T6" fmla="*/ 207 w 224"/>
                    <a:gd name="T7" fmla="*/ 27 h 122"/>
                    <a:gd name="T8" fmla="*/ 181 w 224"/>
                    <a:gd name="T9" fmla="*/ 32 h 122"/>
                    <a:gd name="T10" fmla="*/ 193 w 224"/>
                    <a:gd name="T11" fmla="*/ 36 h 122"/>
                    <a:gd name="T12" fmla="*/ 170 w 224"/>
                    <a:gd name="T13" fmla="*/ 45 h 122"/>
                    <a:gd name="T14" fmla="*/ 163 w 224"/>
                    <a:gd name="T15" fmla="*/ 49 h 122"/>
                    <a:gd name="T16" fmla="*/ 152 w 224"/>
                    <a:gd name="T17" fmla="*/ 55 h 122"/>
                    <a:gd name="T18" fmla="*/ 133 w 224"/>
                    <a:gd name="T19" fmla="*/ 62 h 122"/>
                    <a:gd name="T20" fmla="*/ 127 w 224"/>
                    <a:gd name="T21" fmla="*/ 68 h 122"/>
                    <a:gd name="T22" fmla="*/ 114 w 224"/>
                    <a:gd name="T23" fmla="*/ 70 h 122"/>
                    <a:gd name="T24" fmla="*/ 122 w 224"/>
                    <a:gd name="T25" fmla="*/ 81 h 122"/>
                    <a:gd name="T26" fmla="*/ 109 w 224"/>
                    <a:gd name="T27" fmla="*/ 90 h 122"/>
                    <a:gd name="T28" fmla="*/ 99 w 224"/>
                    <a:gd name="T29" fmla="*/ 96 h 122"/>
                    <a:gd name="T30" fmla="*/ 83 w 224"/>
                    <a:gd name="T31" fmla="*/ 107 h 122"/>
                    <a:gd name="T32" fmla="*/ 88 w 224"/>
                    <a:gd name="T33" fmla="*/ 116 h 122"/>
                    <a:gd name="T34" fmla="*/ 73 w 224"/>
                    <a:gd name="T35" fmla="*/ 120 h 122"/>
                    <a:gd name="T36" fmla="*/ 45 w 224"/>
                    <a:gd name="T37" fmla="*/ 114 h 122"/>
                    <a:gd name="T38" fmla="*/ 36 w 224"/>
                    <a:gd name="T39" fmla="*/ 116 h 122"/>
                    <a:gd name="T40" fmla="*/ 23 w 224"/>
                    <a:gd name="T41" fmla="*/ 107 h 122"/>
                    <a:gd name="T42" fmla="*/ 36 w 224"/>
                    <a:gd name="T43" fmla="*/ 96 h 122"/>
                    <a:gd name="T44" fmla="*/ 51 w 224"/>
                    <a:gd name="T45" fmla="*/ 96 h 122"/>
                    <a:gd name="T46" fmla="*/ 25 w 224"/>
                    <a:gd name="T47" fmla="*/ 90 h 122"/>
                    <a:gd name="T48" fmla="*/ 40 w 224"/>
                    <a:gd name="T49" fmla="*/ 79 h 122"/>
                    <a:gd name="T50" fmla="*/ 53 w 224"/>
                    <a:gd name="T51" fmla="*/ 79 h 122"/>
                    <a:gd name="T52" fmla="*/ 53 w 224"/>
                    <a:gd name="T53" fmla="*/ 71 h 122"/>
                    <a:gd name="T54" fmla="*/ 49 w 224"/>
                    <a:gd name="T55" fmla="*/ 62 h 122"/>
                    <a:gd name="T56" fmla="*/ 40 w 224"/>
                    <a:gd name="T57" fmla="*/ 58 h 122"/>
                    <a:gd name="T58" fmla="*/ 60 w 224"/>
                    <a:gd name="T59" fmla="*/ 56 h 122"/>
                    <a:gd name="T60" fmla="*/ 68 w 224"/>
                    <a:gd name="T61" fmla="*/ 53 h 122"/>
                    <a:gd name="T62" fmla="*/ 83 w 224"/>
                    <a:gd name="T63" fmla="*/ 42 h 122"/>
                    <a:gd name="T64" fmla="*/ 51 w 224"/>
                    <a:gd name="T65" fmla="*/ 47 h 122"/>
                    <a:gd name="T66" fmla="*/ 29 w 224"/>
                    <a:gd name="T67" fmla="*/ 42 h 122"/>
                    <a:gd name="T68" fmla="*/ 6 w 224"/>
                    <a:gd name="T69" fmla="*/ 36 h 122"/>
                    <a:gd name="T70" fmla="*/ 2 w 224"/>
                    <a:gd name="T71" fmla="*/ 25 h 122"/>
                    <a:gd name="T72" fmla="*/ 40 w 224"/>
                    <a:gd name="T73" fmla="*/ 15 h 122"/>
                    <a:gd name="T74" fmla="*/ 66 w 224"/>
                    <a:gd name="T75" fmla="*/ 10 h 122"/>
                    <a:gd name="T76" fmla="*/ 97 w 224"/>
                    <a:gd name="T77" fmla="*/ 4 h 122"/>
                    <a:gd name="T78" fmla="*/ 129 w 224"/>
                    <a:gd name="T79" fmla="*/ 2 h 122"/>
                    <a:gd name="T80" fmla="*/ 146 w 224"/>
                    <a:gd name="T81" fmla="*/ 2 h 122"/>
                    <a:gd name="T82" fmla="*/ 178 w 224"/>
                    <a:gd name="T83" fmla="*/ 2 h 122"/>
                    <a:gd name="T84" fmla="*/ 209 w 224"/>
                    <a:gd name="T85" fmla="*/ 4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24" h="122">
                      <a:moveTo>
                        <a:pt x="209" y="4"/>
                      </a:moveTo>
                      <a:cubicBezTo>
                        <a:pt x="206" y="8"/>
                        <a:pt x="209" y="7"/>
                        <a:pt x="209" y="12"/>
                      </a:cubicBezTo>
                      <a:cubicBezTo>
                        <a:pt x="214" y="12"/>
                        <a:pt x="219" y="12"/>
                        <a:pt x="224" y="12"/>
                      </a:cubicBezTo>
                      <a:cubicBezTo>
                        <a:pt x="224" y="15"/>
                        <a:pt x="222" y="16"/>
                        <a:pt x="222" y="19"/>
                      </a:cubicBezTo>
                      <a:cubicBezTo>
                        <a:pt x="221" y="20"/>
                        <a:pt x="218" y="18"/>
                        <a:pt x="217" y="19"/>
                      </a:cubicBezTo>
                      <a:cubicBezTo>
                        <a:pt x="216" y="20"/>
                        <a:pt x="217" y="23"/>
                        <a:pt x="217" y="23"/>
                      </a:cubicBezTo>
                      <a:cubicBezTo>
                        <a:pt x="214" y="24"/>
                        <a:pt x="210" y="25"/>
                        <a:pt x="209" y="23"/>
                      </a:cubicBezTo>
                      <a:cubicBezTo>
                        <a:pt x="207" y="22"/>
                        <a:pt x="208" y="26"/>
                        <a:pt x="207" y="27"/>
                      </a:cubicBezTo>
                      <a:cubicBezTo>
                        <a:pt x="205" y="28"/>
                        <a:pt x="200" y="25"/>
                        <a:pt x="200" y="29"/>
                      </a:cubicBezTo>
                      <a:cubicBezTo>
                        <a:pt x="194" y="28"/>
                        <a:pt x="185" y="26"/>
                        <a:pt x="181" y="32"/>
                      </a:cubicBezTo>
                      <a:cubicBezTo>
                        <a:pt x="183" y="37"/>
                        <a:pt x="191" y="32"/>
                        <a:pt x="193" y="30"/>
                      </a:cubicBezTo>
                      <a:cubicBezTo>
                        <a:pt x="195" y="31"/>
                        <a:pt x="192" y="33"/>
                        <a:pt x="193" y="36"/>
                      </a:cubicBezTo>
                      <a:cubicBezTo>
                        <a:pt x="186" y="36"/>
                        <a:pt x="182" y="39"/>
                        <a:pt x="176" y="40"/>
                      </a:cubicBezTo>
                      <a:cubicBezTo>
                        <a:pt x="173" y="41"/>
                        <a:pt x="171" y="43"/>
                        <a:pt x="170" y="45"/>
                      </a:cubicBezTo>
                      <a:cubicBezTo>
                        <a:pt x="169" y="46"/>
                        <a:pt x="166" y="45"/>
                        <a:pt x="165" y="45"/>
                      </a:cubicBezTo>
                      <a:cubicBezTo>
                        <a:pt x="163" y="46"/>
                        <a:pt x="164" y="48"/>
                        <a:pt x="163" y="49"/>
                      </a:cubicBezTo>
                      <a:cubicBezTo>
                        <a:pt x="161" y="50"/>
                        <a:pt x="157" y="47"/>
                        <a:pt x="157" y="51"/>
                      </a:cubicBezTo>
                      <a:cubicBezTo>
                        <a:pt x="157" y="54"/>
                        <a:pt x="152" y="52"/>
                        <a:pt x="152" y="55"/>
                      </a:cubicBezTo>
                      <a:cubicBezTo>
                        <a:pt x="151" y="59"/>
                        <a:pt x="146" y="56"/>
                        <a:pt x="144" y="58"/>
                      </a:cubicBezTo>
                      <a:cubicBezTo>
                        <a:pt x="142" y="61"/>
                        <a:pt x="137" y="60"/>
                        <a:pt x="133" y="62"/>
                      </a:cubicBezTo>
                      <a:cubicBezTo>
                        <a:pt x="132" y="62"/>
                        <a:pt x="133" y="64"/>
                        <a:pt x="131" y="64"/>
                      </a:cubicBezTo>
                      <a:cubicBezTo>
                        <a:pt x="126" y="64"/>
                        <a:pt x="129" y="66"/>
                        <a:pt x="127" y="68"/>
                      </a:cubicBezTo>
                      <a:cubicBezTo>
                        <a:pt x="127" y="68"/>
                        <a:pt x="126" y="68"/>
                        <a:pt x="125" y="68"/>
                      </a:cubicBezTo>
                      <a:cubicBezTo>
                        <a:pt x="124" y="68"/>
                        <a:pt x="120" y="71"/>
                        <a:pt x="114" y="70"/>
                      </a:cubicBezTo>
                      <a:cubicBezTo>
                        <a:pt x="115" y="72"/>
                        <a:pt x="122" y="73"/>
                        <a:pt x="114" y="73"/>
                      </a:cubicBezTo>
                      <a:cubicBezTo>
                        <a:pt x="115" y="77"/>
                        <a:pt x="124" y="74"/>
                        <a:pt x="122" y="81"/>
                      </a:cubicBezTo>
                      <a:cubicBezTo>
                        <a:pt x="118" y="77"/>
                        <a:pt x="118" y="81"/>
                        <a:pt x="118" y="86"/>
                      </a:cubicBezTo>
                      <a:cubicBezTo>
                        <a:pt x="114" y="81"/>
                        <a:pt x="112" y="88"/>
                        <a:pt x="109" y="90"/>
                      </a:cubicBezTo>
                      <a:cubicBezTo>
                        <a:pt x="105" y="92"/>
                        <a:pt x="100" y="90"/>
                        <a:pt x="97" y="94"/>
                      </a:cubicBezTo>
                      <a:cubicBezTo>
                        <a:pt x="96" y="96"/>
                        <a:pt x="99" y="95"/>
                        <a:pt x="99" y="96"/>
                      </a:cubicBezTo>
                      <a:cubicBezTo>
                        <a:pt x="100" y="97"/>
                        <a:pt x="93" y="99"/>
                        <a:pt x="97" y="99"/>
                      </a:cubicBezTo>
                      <a:cubicBezTo>
                        <a:pt x="95" y="105"/>
                        <a:pt x="85" y="101"/>
                        <a:pt x="83" y="107"/>
                      </a:cubicBezTo>
                      <a:cubicBezTo>
                        <a:pt x="86" y="110"/>
                        <a:pt x="91" y="111"/>
                        <a:pt x="97" y="111"/>
                      </a:cubicBezTo>
                      <a:cubicBezTo>
                        <a:pt x="99" y="117"/>
                        <a:pt x="88" y="112"/>
                        <a:pt x="88" y="116"/>
                      </a:cubicBezTo>
                      <a:cubicBezTo>
                        <a:pt x="88" y="119"/>
                        <a:pt x="86" y="116"/>
                        <a:pt x="84" y="116"/>
                      </a:cubicBezTo>
                      <a:cubicBezTo>
                        <a:pt x="80" y="116"/>
                        <a:pt x="78" y="122"/>
                        <a:pt x="73" y="120"/>
                      </a:cubicBezTo>
                      <a:cubicBezTo>
                        <a:pt x="72" y="118"/>
                        <a:pt x="69" y="118"/>
                        <a:pt x="70" y="114"/>
                      </a:cubicBezTo>
                      <a:cubicBezTo>
                        <a:pt x="60" y="113"/>
                        <a:pt x="54" y="116"/>
                        <a:pt x="45" y="114"/>
                      </a:cubicBezTo>
                      <a:cubicBezTo>
                        <a:pt x="45" y="114"/>
                        <a:pt x="43" y="112"/>
                        <a:pt x="43" y="112"/>
                      </a:cubicBezTo>
                      <a:cubicBezTo>
                        <a:pt x="40" y="112"/>
                        <a:pt x="39" y="116"/>
                        <a:pt x="36" y="116"/>
                      </a:cubicBezTo>
                      <a:cubicBezTo>
                        <a:pt x="27" y="117"/>
                        <a:pt x="20" y="114"/>
                        <a:pt x="10" y="112"/>
                      </a:cubicBezTo>
                      <a:cubicBezTo>
                        <a:pt x="13" y="109"/>
                        <a:pt x="17" y="107"/>
                        <a:pt x="23" y="107"/>
                      </a:cubicBezTo>
                      <a:cubicBezTo>
                        <a:pt x="27" y="106"/>
                        <a:pt x="23" y="99"/>
                        <a:pt x="27" y="97"/>
                      </a:cubicBezTo>
                      <a:cubicBezTo>
                        <a:pt x="32" y="99"/>
                        <a:pt x="31" y="95"/>
                        <a:pt x="36" y="96"/>
                      </a:cubicBezTo>
                      <a:cubicBezTo>
                        <a:pt x="36" y="102"/>
                        <a:pt x="43" y="101"/>
                        <a:pt x="49" y="101"/>
                      </a:cubicBezTo>
                      <a:cubicBezTo>
                        <a:pt x="53" y="100"/>
                        <a:pt x="47" y="98"/>
                        <a:pt x="51" y="96"/>
                      </a:cubicBezTo>
                      <a:cubicBezTo>
                        <a:pt x="50" y="91"/>
                        <a:pt x="40" y="97"/>
                        <a:pt x="43" y="88"/>
                      </a:cubicBezTo>
                      <a:cubicBezTo>
                        <a:pt x="36" y="90"/>
                        <a:pt x="33" y="93"/>
                        <a:pt x="25" y="90"/>
                      </a:cubicBezTo>
                      <a:cubicBezTo>
                        <a:pt x="26" y="86"/>
                        <a:pt x="30" y="85"/>
                        <a:pt x="34" y="84"/>
                      </a:cubicBezTo>
                      <a:cubicBezTo>
                        <a:pt x="36" y="83"/>
                        <a:pt x="38" y="81"/>
                        <a:pt x="40" y="79"/>
                      </a:cubicBezTo>
                      <a:cubicBezTo>
                        <a:pt x="42" y="79"/>
                        <a:pt x="43" y="78"/>
                        <a:pt x="43" y="77"/>
                      </a:cubicBezTo>
                      <a:cubicBezTo>
                        <a:pt x="48" y="76"/>
                        <a:pt x="51" y="77"/>
                        <a:pt x="53" y="79"/>
                      </a:cubicBezTo>
                      <a:cubicBezTo>
                        <a:pt x="55" y="78"/>
                        <a:pt x="57" y="76"/>
                        <a:pt x="58" y="73"/>
                      </a:cubicBezTo>
                      <a:cubicBezTo>
                        <a:pt x="59" y="70"/>
                        <a:pt x="54" y="73"/>
                        <a:pt x="53" y="71"/>
                      </a:cubicBezTo>
                      <a:cubicBezTo>
                        <a:pt x="52" y="71"/>
                        <a:pt x="51" y="67"/>
                        <a:pt x="51" y="66"/>
                      </a:cubicBezTo>
                      <a:cubicBezTo>
                        <a:pt x="50" y="65"/>
                        <a:pt x="48" y="64"/>
                        <a:pt x="49" y="62"/>
                      </a:cubicBezTo>
                      <a:cubicBezTo>
                        <a:pt x="48" y="63"/>
                        <a:pt x="46" y="64"/>
                        <a:pt x="43" y="64"/>
                      </a:cubicBezTo>
                      <a:cubicBezTo>
                        <a:pt x="44" y="60"/>
                        <a:pt x="43" y="58"/>
                        <a:pt x="40" y="58"/>
                      </a:cubicBezTo>
                      <a:cubicBezTo>
                        <a:pt x="41" y="55"/>
                        <a:pt x="43" y="52"/>
                        <a:pt x="49" y="53"/>
                      </a:cubicBezTo>
                      <a:cubicBezTo>
                        <a:pt x="54" y="52"/>
                        <a:pt x="53" y="59"/>
                        <a:pt x="60" y="56"/>
                      </a:cubicBezTo>
                      <a:cubicBezTo>
                        <a:pt x="60" y="59"/>
                        <a:pt x="61" y="60"/>
                        <a:pt x="62" y="60"/>
                      </a:cubicBezTo>
                      <a:cubicBezTo>
                        <a:pt x="68" y="62"/>
                        <a:pt x="65" y="54"/>
                        <a:pt x="68" y="53"/>
                      </a:cubicBezTo>
                      <a:cubicBezTo>
                        <a:pt x="77" y="51"/>
                        <a:pt x="85" y="48"/>
                        <a:pt x="90" y="42"/>
                      </a:cubicBezTo>
                      <a:cubicBezTo>
                        <a:pt x="90" y="37"/>
                        <a:pt x="87" y="44"/>
                        <a:pt x="83" y="42"/>
                      </a:cubicBezTo>
                      <a:cubicBezTo>
                        <a:pt x="80" y="44"/>
                        <a:pt x="75" y="44"/>
                        <a:pt x="73" y="47"/>
                      </a:cubicBezTo>
                      <a:cubicBezTo>
                        <a:pt x="68" y="46"/>
                        <a:pt x="59" y="48"/>
                        <a:pt x="51" y="47"/>
                      </a:cubicBezTo>
                      <a:cubicBezTo>
                        <a:pt x="46" y="47"/>
                        <a:pt x="44" y="44"/>
                        <a:pt x="38" y="47"/>
                      </a:cubicBezTo>
                      <a:cubicBezTo>
                        <a:pt x="36" y="40"/>
                        <a:pt x="31" y="48"/>
                        <a:pt x="29" y="42"/>
                      </a:cubicBezTo>
                      <a:cubicBezTo>
                        <a:pt x="26" y="45"/>
                        <a:pt x="21" y="40"/>
                        <a:pt x="14" y="42"/>
                      </a:cubicBezTo>
                      <a:cubicBezTo>
                        <a:pt x="15" y="36"/>
                        <a:pt x="8" y="39"/>
                        <a:pt x="6" y="36"/>
                      </a:cubicBezTo>
                      <a:cubicBezTo>
                        <a:pt x="5" y="31"/>
                        <a:pt x="10" y="32"/>
                        <a:pt x="12" y="30"/>
                      </a:cubicBezTo>
                      <a:cubicBezTo>
                        <a:pt x="12" y="25"/>
                        <a:pt x="0" y="33"/>
                        <a:pt x="2" y="25"/>
                      </a:cubicBezTo>
                      <a:cubicBezTo>
                        <a:pt x="11" y="22"/>
                        <a:pt x="25" y="21"/>
                        <a:pt x="38" y="19"/>
                      </a:cubicBezTo>
                      <a:cubicBezTo>
                        <a:pt x="40" y="19"/>
                        <a:pt x="39" y="17"/>
                        <a:pt x="40" y="15"/>
                      </a:cubicBezTo>
                      <a:cubicBezTo>
                        <a:pt x="49" y="17"/>
                        <a:pt x="57" y="13"/>
                        <a:pt x="62" y="15"/>
                      </a:cubicBezTo>
                      <a:cubicBezTo>
                        <a:pt x="64" y="14"/>
                        <a:pt x="65" y="12"/>
                        <a:pt x="66" y="10"/>
                      </a:cubicBezTo>
                      <a:cubicBezTo>
                        <a:pt x="77" y="9"/>
                        <a:pt x="87" y="6"/>
                        <a:pt x="96" y="8"/>
                      </a:cubicBezTo>
                      <a:cubicBezTo>
                        <a:pt x="97" y="8"/>
                        <a:pt x="97" y="6"/>
                        <a:pt x="97" y="4"/>
                      </a:cubicBezTo>
                      <a:cubicBezTo>
                        <a:pt x="105" y="5"/>
                        <a:pt x="115" y="3"/>
                        <a:pt x="120" y="6"/>
                      </a:cubicBezTo>
                      <a:cubicBezTo>
                        <a:pt x="121" y="3"/>
                        <a:pt x="129" y="6"/>
                        <a:pt x="129" y="2"/>
                      </a:cubicBezTo>
                      <a:cubicBezTo>
                        <a:pt x="134" y="4"/>
                        <a:pt x="141" y="5"/>
                        <a:pt x="148" y="4"/>
                      </a:cubicBezTo>
                      <a:cubicBezTo>
                        <a:pt x="148" y="3"/>
                        <a:pt x="147" y="3"/>
                        <a:pt x="146" y="2"/>
                      </a:cubicBezTo>
                      <a:cubicBezTo>
                        <a:pt x="146" y="0"/>
                        <a:pt x="148" y="1"/>
                        <a:pt x="148" y="2"/>
                      </a:cubicBezTo>
                      <a:cubicBezTo>
                        <a:pt x="156" y="4"/>
                        <a:pt x="169" y="1"/>
                        <a:pt x="178" y="2"/>
                      </a:cubicBezTo>
                      <a:cubicBezTo>
                        <a:pt x="178" y="2"/>
                        <a:pt x="177" y="6"/>
                        <a:pt x="178" y="6"/>
                      </a:cubicBezTo>
                      <a:cubicBezTo>
                        <a:pt x="192" y="6"/>
                        <a:pt x="193" y="3"/>
                        <a:pt x="209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3" name="íṥļïḑè">
                  <a:extLst>
                    <a:ext uri="{FF2B5EF4-FFF2-40B4-BE49-F238E27FC236}">
                      <a16:creationId xmlns:a16="http://schemas.microsoft.com/office/drawing/2014/main" id="{39ACA44B-42DE-42D3-BC5B-59575B3CC85F}"/>
                    </a:ext>
                  </a:extLst>
                </p:cNvPr>
                <p:cNvSpPr/>
                <p:nvPr/>
              </p:nvSpPr>
              <p:spPr bwMode="auto">
                <a:xfrm>
                  <a:off x="5955742" y="531150"/>
                  <a:ext cx="133075" cy="49028"/>
                </a:xfrm>
                <a:custGeom>
                  <a:avLst/>
                  <a:gdLst>
                    <a:gd name="T0" fmla="*/ 17 w 64"/>
                    <a:gd name="T1" fmla="*/ 3 h 24"/>
                    <a:gd name="T2" fmla="*/ 17 w 64"/>
                    <a:gd name="T3" fmla="*/ 5 h 24"/>
                    <a:gd name="T4" fmla="*/ 22 w 64"/>
                    <a:gd name="T5" fmla="*/ 10 h 24"/>
                    <a:gd name="T6" fmla="*/ 28 w 64"/>
                    <a:gd name="T7" fmla="*/ 7 h 24"/>
                    <a:gd name="T8" fmla="*/ 37 w 64"/>
                    <a:gd name="T9" fmla="*/ 10 h 24"/>
                    <a:gd name="T10" fmla="*/ 54 w 64"/>
                    <a:gd name="T11" fmla="*/ 7 h 24"/>
                    <a:gd name="T12" fmla="*/ 61 w 64"/>
                    <a:gd name="T13" fmla="*/ 10 h 24"/>
                    <a:gd name="T14" fmla="*/ 58 w 64"/>
                    <a:gd name="T15" fmla="*/ 18 h 24"/>
                    <a:gd name="T16" fmla="*/ 41 w 64"/>
                    <a:gd name="T17" fmla="*/ 20 h 24"/>
                    <a:gd name="T18" fmla="*/ 30 w 64"/>
                    <a:gd name="T19" fmla="*/ 24 h 24"/>
                    <a:gd name="T20" fmla="*/ 11 w 64"/>
                    <a:gd name="T21" fmla="*/ 10 h 24"/>
                    <a:gd name="T22" fmla="*/ 2 w 64"/>
                    <a:gd name="T23" fmla="*/ 9 h 24"/>
                    <a:gd name="T24" fmla="*/ 17 w 64"/>
                    <a:gd name="T25" fmla="*/ 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4" h="24">
                      <a:moveTo>
                        <a:pt x="17" y="3"/>
                      </a:moveTo>
                      <a:cubicBezTo>
                        <a:pt x="19" y="3"/>
                        <a:pt x="18" y="5"/>
                        <a:pt x="17" y="5"/>
                      </a:cubicBezTo>
                      <a:cubicBezTo>
                        <a:pt x="16" y="9"/>
                        <a:pt x="25" y="4"/>
                        <a:pt x="22" y="10"/>
                      </a:cubicBezTo>
                      <a:cubicBezTo>
                        <a:pt x="26" y="11"/>
                        <a:pt x="25" y="7"/>
                        <a:pt x="28" y="7"/>
                      </a:cubicBezTo>
                      <a:cubicBezTo>
                        <a:pt x="32" y="11"/>
                        <a:pt x="36" y="3"/>
                        <a:pt x="37" y="10"/>
                      </a:cubicBezTo>
                      <a:cubicBezTo>
                        <a:pt x="42" y="9"/>
                        <a:pt x="49" y="8"/>
                        <a:pt x="54" y="7"/>
                      </a:cubicBezTo>
                      <a:cubicBezTo>
                        <a:pt x="53" y="12"/>
                        <a:pt x="63" y="5"/>
                        <a:pt x="61" y="10"/>
                      </a:cubicBezTo>
                      <a:cubicBezTo>
                        <a:pt x="64" y="16"/>
                        <a:pt x="50" y="14"/>
                        <a:pt x="58" y="18"/>
                      </a:cubicBezTo>
                      <a:cubicBezTo>
                        <a:pt x="56" y="22"/>
                        <a:pt x="46" y="19"/>
                        <a:pt x="41" y="20"/>
                      </a:cubicBezTo>
                      <a:cubicBezTo>
                        <a:pt x="37" y="20"/>
                        <a:pt x="33" y="22"/>
                        <a:pt x="30" y="24"/>
                      </a:cubicBezTo>
                      <a:cubicBezTo>
                        <a:pt x="22" y="20"/>
                        <a:pt x="15" y="17"/>
                        <a:pt x="11" y="10"/>
                      </a:cubicBezTo>
                      <a:cubicBezTo>
                        <a:pt x="8" y="9"/>
                        <a:pt x="1" y="13"/>
                        <a:pt x="2" y="9"/>
                      </a:cubicBezTo>
                      <a:cubicBezTo>
                        <a:pt x="0" y="0"/>
                        <a:pt x="16" y="9"/>
                        <a:pt x="17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4" name="îśľiḓè">
                  <a:extLst>
                    <a:ext uri="{FF2B5EF4-FFF2-40B4-BE49-F238E27FC236}">
                      <a16:creationId xmlns:a16="http://schemas.microsoft.com/office/drawing/2014/main" id="{E96F8FC5-F1D7-444B-A016-C23E6CD58ECE}"/>
                    </a:ext>
                  </a:extLst>
                </p:cNvPr>
                <p:cNvSpPr/>
                <p:nvPr/>
              </p:nvSpPr>
              <p:spPr bwMode="auto">
                <a:xfrm>
                  <a:off x="3864374" y="596988"/>
                  <a:ext cx="63036" cy="19611"/>
                </a:xfrm>
                <a:custGeom>
                  <a:avLst/>
                  <a:gdLst>
                    <a:gd name="T0" fmla="*/ 28 w 30"/>
                    <a:gd name="T1" fmla="*/ 1 h 9"/>
                    <a:gd name="T2" fmla="*/ 17 w 30"/>
                    <a:gd name="T3" fmla="*/ 6 h 9"/>
                    <a:gd name="T4" fmla="*/ 13 w 30"/>
                    <a:gd name="T5" fmla="*/ 8 h 9"/>
                    <a:gd name="T6" fmla="*/ 6 w 30"/>
                    <a:gd name="T7" fmla="*/ 8 h 9"/>
                    <a:gd name="T8" fmla="*/ 10 w 30"/>
                    <a:gd name="T9" fmla="*/ 3 h 9"/>
                    <a:gd name="T10" fmla="*/ 28 w 30"/>
                    <a:gd name="T11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9">
                      <a:moveTo>
                        <a:pt x="28" y="1"/>
                      </a:moveTo>
                      <a:cubicBezTo>
                        <a:pt x="30" y="7"/>
                        <a:pt x="22" y="6"/>
                        <a:pt x="17" y="6"/>
                      </a:cubicBezTo>
                      <a:cubicBezTo>
                        <a:pt x="15" y="7"/>
                        <a:pt x="15" y="8"/>
                        <a:pt x="13" y="8"/>
                      </a:cubicBezTo>
                      <a:cubicBezTo>
                        <a:pt x="10" y="8"/>
                        <a:pt x="6" y="6"/>
                        <a:pt x="6" y="8"/>
                      </a:cubicBezTo>
                      <a:cubicBezTo>
                        <a:pt x="0" y="9"/>
                        <a:pt x="9" y="2"/>
                        <a:pt x="10" y="3"/>
                      </a:cubicBezTo>
                      <a:cubicBezTo>
                        <a:pt x="13" y="7"/>
                        <a:pt x="22" y="0"/>
                        <a:pt x="2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5" name="íṡ1ídê">
                  <a:extLst>
                    <a:ext uri="{FF2B5EF4-FFF2-40B4-BE49-F238E27FC236}">
                      <a16:creationId xmlns:a16="http://schemas.microsoft.com/office/drawing/2014/main" id="{6A891632-6EBC-4945-9D5C-79865DEBC876}"/>
                    </a:ext>
                  </a:extLst>
                </p:cNvPr>
                <p:cNvSpPr/>
                <p:nvPr/>
              </p:nvSpPr>
              <p:spPr bwMode="auto">
                <a:xfrm>
                  <a:off x="4109511" y="596988"/>
                  <a:ext cx="56031" cy="37822"/>
                </a:xfrm>
                <a:custGeom>
                  <a:avLst/>
                  <a:gdLst>
                    <a:gd name="T0" fmla="*/ 13 w 27"/>
                    <a:gd name="T1" fmla="*/ 1 h 18"/>
                    <a:gd name="T2" fmla="*/ 9 w 27"/>
                    <a:gd name="T3" fmla="*/ 3 h 18"/>
                    <a:gd name="T4" fmla="*/ 18 w 27"/>
                    <a:gd name="T5" fmla="*/ 8 h 18"/>
                    <a:gd name="T6" fmla="*/ 22 w 27"/>
                    <a:gd name="T7" fmla="*/ 6 h 18"/>
                    <a:gd name="T8" fmla="*/ 11 w 27"/>
                    <a:gd name="T9" fmla="*/ 18 h 18"/>
                    <a:gd name="T10" fmla="*/ 0 w 27"/>
                    <a:gd name="T11" fmla="*/ 5 h 18"/>
                    <a:gd name="T12" fmla="*/ 13 w 27"/>
                    <a:gd name="T13" fmla="*/ 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18">
                      <a:moveTo>
                        <a:pt x="13" y="1"/>
                      </a:moveTo>
                      <a:cubicBezTo>
                        <a:pt x="13" y="3"/>
                        <a:pt x="10" y="2"/>
                        <a:pt x="9" y="3"/>
                      </a:cubicBezTo>
                      <a:cubicBezTo>
                        <a:pt x="9" y="8"/>
                        <a:pt x="21" y="0"/>
                        <a:pt x="18" y="8"/>
                      </a:cubicBezTo>
                      <a:cubicBezTo>
                        <a:pt x="20" y="9"/>
                        <a:pt x="22" y="8"/>
                        <a:pt x="22" y="6"/>
                      </a:cubicBezTo>
                      <a:cubicBezTo>
                        <a:pt x="27" y="12"/>
                        <a:pt x="12" y="13"/>
                        <a:pt x="11" y="18"/>
                      </a:cubicBezTo>
                      <a:cubicBezTo>
                        <a:pt x="6" y="14"/>
                        <a:pt x="7" y="5"/>
                        <a:pt x="0" y="5"/>
                      </a:cubicBezTo>
                      <a:cubicBezTo>
                        <a:pt x="2" y="1"/>
                        <a:pt x="9" y="3"/>
                        <a:pt x="1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6" name="ï$ľïďê">
                  <a:extLst>
                    <a:ext uri="{FF2B5EF4-FFF2-40B4-BE49-F238E27FC236}">
                      <a16:creationId xmlns:a16="http://schemas.microsoft.com/office/drawing/2014/main" id="{13888025-C5C3-4753-AD61-03B1801599B2}"/>
                    </a:ext>
                  </a:extLst>
                </p:cNvPr>
                <p:cNvSpPr/>
                <p:nvPr/>
              </p:nvSpPr>
              <p:spPr bwMode="auto">
                <a:xfrm>
                  <a:off x="5381422" y="639011"/>
                  <a:ext cx="3276430" cy="2147400"/>
                </a:xfrm>
                <a:custGeom>
                  <a:avLst/>
                  <a:gdLst>
                    <a:gd name="T0" fmla="*/ 936 w 1575"/>
                    <a:gd name="T1" fmla="*/ 72 h 1033"/>
                    <a:gd name="T2" fmla="*/ 1105 w 1575"/>
                    <a:gd name="T3" fmla="*/ 72 h 1033"/>
                    <a:gd name="T4" fmla="*/ 1247 w 1575"/>
                    <a:gd name="T5" fmla="*/ 85 h 1033"/>
                    <a:gd name="T6" fmla="*/ 1432 w 1575"/>
                    <a:gd name="T7" fmla="*/ 115 h 1033"/>
                    <a:gd name="T8" fmla="*/ 1575 w 1575"/>
                    <a:gd name="T9" fmla="*/ 162 h 1033"/>
                    <a:gd name="T10" fmla="*/ 1484 w 1575"/>
                    <a:gd name="T11" fmla="*/ 184 h 1033"/>
                    <a:gd name="T12" fmla="*/ 1366 w 1575"/>
                    <a:gd name="T13" fmla="*/ 273 h 1033"/>
                    <a:gd name="T14" fmla="*/ 1320 w 1575"/>
                    <a:gd name="T15" fmla="*/ 301 h 1033"/>
                    <a:gd name="T16" fmla="*/ 1381 w 1575"/>
                    <a:gd name="T17" fmla="*/ 208 h 1033"/>
                    <a:gd name="T18" fmla="*/ 1247 w 1575"/>
                    <a:gd name="T19" fmla="*/ 247 h 1033"/>
                    <a:gd name="T20" fmla="*/ 1204 w 1575"/>
                    <a:gd name="T21" fmla="*/ 313 h 1033"/>
                    <a:gd name="T22" fmla="*/ 1130 w 1575"/>
                    <a:gd name="T23" fmla="*/ 415 h 1033"/>
                    <a:gd name="T24" fmla="*/ 1081 w 1575"/>
                    <a:gd name="T25" fmla="*/ 439 h 1033"/>
                    <a:gd name="T26" fmla="*/ 1061 w 1575"/>
                    <a:gd name="T27" fmla="*/ 464 h 1033"/>
                    <a:gd name="T28" fmla="*/ 993 w 1575"/>
                    <a:gd name="T29" fmla="*/ 587 h 1033"/>
                    <a:gd name="T30" fmla="*/ 956 w 1575"/>
                    <a:gd name="T31" fmla="*/ 674 h 1033"/>
                    <a:gd name="T32" fmla="*/ 895 w 1575"/>
                    <a:gd name="T33" fmla="*/ 685 h 1033"/>
                    <a:gd name="T34" fmla="*/ 882 w 1575"/>
                    <a:gd name="T35" fmla="*/ 689 h 1033"/>
                    <a:gd name="T36" fmla="*/ 848 w 1575"/>
                    <a:gd name="T37" fmla="*/ 602 h 1033"/>
                    <a:gd name="T38" fmla="*/ 742 w 1575"/>
                    <a:gd name="T39" fmla="*/ 657 h 1033"/>
                    <a:gd name="T40" fmla="*/ 665 w 1575"/>
                    <a:gd name="T41" fmla="*/ 579 h 1033"/>
                    <a:gd name="T42" fmla="*/ 524 w 1575"/>
                    <a:gd name="T43" fmla="*/ 557 h 1033"/>
                    <a:gd name="T44" fmla="*/ 557 w 1575"/>
                    <a:gd name="T45" fmla="*/ 616 h 1033"/>
                    <a:gd name="T46" fmla="*/ 453 w 1575"/>
                    <a:gd name="T47" fmla="*/ 622 h 1033"/>
                    <a:gd name="T48" fmla="*/ 391 w 1575"/>
                    <a:gd name="T49" fmla="*/ 546 h 1033"/>
                    <a:gd name="T50" fmla="*/ 440 w 1575"/>
                    <a:gd name="T51" fmla="*/ 646 h 1033"/>
                    <a:gd name="T52" fmla="*/ 470 w 1575"/>
                    <a:gd name="T53" fmla="*/ 749 h 1033"/>
                    <a:gd name="T54" fmla="*/ 412 w 1575"/>
                    <a:gd name="T55" fmla="*/ 898 h 1033"/>
                    <a:gd name="T56" fmla="*/ 352 w 1575"/>
                    <a:gd name="T57" fmla="*/ 1013 h 1033"/>
                    <a:gd name="T58" fmla="*/ 237 w 1575"/>
                    <a:gd name="T59" fmla="*/ 924 h 1033"/>
                    <a:gd name="T60" fmla="*/ 224 w 1575"/>
                    <a:gd name="T61" fmla="*/ 788 h 1033"/>
                    <a:gd name="T62" fmla="*/ 47 w 1575"/>
                    <a:gd name="T63" fmla="*/ 702 h 1033"/>
                    <a:gd name="T64" fmla="*/ 6 w 1575"/>
                    <a:gd name="T65" fmla="*/ 588 h 1033"/>
                    <a:gd name="T66" fmla="*/ 162 w 1575"/>
                    <a:gd name="T67" fmla="*/ 465 h 1033"/>
                    <a:gd name="T68" fmla="*/ 263 w 1575"/>
                    <a:gd name="T69" fmla="*/ 512 h 1033"/>
                    <a:gd name="T70" fmla="*/ 378 w 1575"/>
                    <a:gd name="T71" fmla="*/ 512 h 1033"/>
                    <a:gd name="T72" fmla="*/ 309 w 1575"/>
                    <a:gd name="T73" fmla="*/ 436 h 1033"/>
                    <a:gd name="T74" fmla="*/ 255 w 1575"/>
                    <a:gd name="T75" fmla="*/ 402 h 1033"/>
                    <a:gd name="T76" fmla="*/ 259 w 1575"/>
                    <a:gd name="T77" fmla="*/ 432 h 1033"/>
                    <a:gd name="T78" fmla="*/ 158 w 1575"/>
                    <a:gd name="T79" fmla="*/ 408 h 1033"/>
                    <a:gd name="T80" fmla="*/ 116 w 1575"/>
                    <a:gd name="T81" fmla="*/ 406 h 1033"/>
                    <a:gd name="T82" fmla="*/ 158 w 1575"/>
                    <a:gd name="T83" fmla="*/ 329 h 1033"/>
                    <a:gd name="T84" fmla="*/ 214 w 1575"/>
                    <a:gd name="T85" fmla="*/ 292 h 1033"/>
                    <a:gd name="T86" fmla="*/ 317 w 1575"/>
                    <a:gd name="T87" fmla="*/ 247 h 1033"/>
                    <a:gd name="T88" fmla="*/ 313 w 1575"/>
                    <a:gd name="T89" fmla="*/ 197 h 1033"/>
                    <a:gd name="T90" fmla="*/ 278 w 1575"/>
                    <a:gd name="T91" fmla="*/ 238 h 1033"/>
                    <a:gd name="T92" fmla="*/ 183 w 1575"/>
                    <a:gd name="T93" fmla="*/ 251 h 1033"/>
                    <a:gd name="T94" fmla="*/ 227 w 1575"/>
                    <a:gd name="T95" fmla="*/ 167 h 1033"/>
                    <a:gd name="T96" fmla="*/ 354 w 1575"/>
                    <a:gd name="T97" fmla="*/ 106 h 1033"/>
                    <a:gd name="T98" fmla="*/ 397 w 1575"/>
                    <a:gd name="T99" fmla="*/ 154 h 1033"/>
                    <a:gd name="T100" fmla="*/ 470 w 1575"/>
                    <a:gd name="T101" fmla="*/ 134 h 1033"/>
                    <a:gd name="T102" fmla="*/ 596 w 1575"/>
                    <a:gd name="T103" fmla="*/ 126 h 1033"/>
                    <a:gd name="T104" fmla="*/ 660 w 1575"/>
                    <a:gd name="T105" fmla="*/ 83 h 1033"/>
                    <a:gd name="T106" fmla="*/ 705 w 1575"/>
                    <a:gd name="T107" fmla="*/ 130 h 1033"/>
                    <a:gd name="T108" fmla="*/ 734 w 1575"/>
                    <a:gd name="T109" fmla="*/ 81 h 1033"/>
                    <a:gd name="T110" fmla="*/ 889 w 1575"/>
                    <a:gd name="T111" fmla="*/ 18 h 1033"/>
                    <a:gd name="T112" fmla="*/ 373 w 1575"/>
                    <a:gd name="T113" fmla="*/ 374 h 1033"/>
                    <a:gd name="T114" fmla="*/ 449 w 1575"/>
                    <a:gd name="T115" fmla="*/ 424 h 1033"/>
                    <a:gd name="T116" fmla="*/ 531 w 1575"/>
                    <a:gd name="T117" fmla="*/ 411 h 1033"/>
                    <a:gd name="T118" fmla="*/ 505 w 1575"/>
                    <a:gd name="T119" fmla="*/ 451 h 1033"/>
                    <a:gd name="T120" fmla="*/ 375 w 1575"/>
                    <a:gd name="T121" fmla="*/ 762 h 10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75" h="1033">
                      <a:moveTo>
                        <a:pt x="949" y="11"/>
                      </a:moveTo>
                      <a:cubicBezTo>
                        <a:pt x="949" y="13"/>
                        <a:pt x="952" y="12"/>
                        <a:pt x="954" y="13"/>
                      </a:cubicBezTo>
                      <a:cubicBezTo>
                        <a:pt x="954" y="15"/>
                        <a:pt x="951" y="14"/>
                        <a:pt x="949" y="14"/>
                      </a:cubicBezTo>
                      <a:cubicBezTo>
                        <a:pt x="957" y="22"/>
                        <a:pt x="965" y="11"/>
                        <a:pt x="979" y="14"/>
                      </a:cubicBezTo>
                      <a:cubicBezTo>
                        <a:pt x="982" y="19"/>
                        <a:pt x="987" y="22"/>
                        <a:pt x="993" y="24"/>
                      </a:cubicBezTo>
                      <a:cubicBezTo>
                        <a:pt x="994" y="26"/>
                        <a:pt x="993" y="29"/>
                        <a:pt x="993" y="31"/>
                      </a:cubicBezTo>
                      <a:cubicBezTo>
                        <a:pt x="994" y="33"/>
                        <a:pt x="998" y="33"/>
                        <a:pt x="997" y="37"/>
                      </a:cubicBezTo>
                      <a:cubicBezTo>
                        <a:pt x="993" y="36"/>
                        <a:pt x="994" y="39"/>
                        <a:pt x="993" y="42"/>
                      </a:cubicBezTo>
                      <a:cubicBezTo>
                        <a:pt x="992" y="41"/>
                        <a:pt x="989" y="40"/>
                        <a:pt x="986" y="40"/>
                      </a:cubicBezTo>
                      <a:cubicBezTo>
                        <a:pt x="983" y="41"/>
                        <a:pt x="986" y="43"/>
                        <a:pt x="984" y="44"/>
                      </a:cubicBezTo>
                      <a:cubicBezTo>
                        <a:pt x="983" y="45"/>
                        <a:pt x="982" y="42"/>
                        <a:pt x="980" y="42"/>
                      </a:cubicBezTo>
                      <a:cubicBezTo>
                        <a:pt x="979" y="43"/>
                        <a:pt x="975" y="46"/>
                        <a:pt x="969" y="44"/>
                      </a:cubicBezTo>
                      <a:cubicBezTo>
                        <a:pt x="967" y="44"/>
                        <a:pt x="968" y="47"/>
                        <a:pt x="967" y="48"/>
                      </a:cubicBezTo>
                      <a:cubicBezTo>
                        <a:pt x="967" y="48"/>
                        <a:pt x="964" y="47"/>
                        <a:pt x="964" y="48"/>
                      </a:cubicBezTo>
                      <a:cubicBezTo>
                        <a:pt x="963" y="50"/>
                        <a:pt x="967" y="51"/>
                        <a:pt x="964" y="55"/>
                      </a:cubicBezTo>
                      <a:cubicBezTo>
                        <a:pt x="963" y="52"/>
                        <a:pt x="954" y="56"/>
                        <a:pt x="958" y="57"/>
                      </a:cubicBezTo>
                      <a:cubicBezTo>
                        <a:pt x="954" y="61"/>
                        <a:pt x="948" y="59"/>
                        <a:pt x="943" y="61"/>
                      </a:cubicBezTo>
                      <a:cubicBezTo>
                        <a:pt x="940" y="62"/>
                        <a:pt x="938" y="67"/>
                        <a:pt x="934" y="67"/>
                      </a:cubicBezTo>
                      <a:cubicBezTo>
                        <a:pt x="934" y="69"/>
                        <a:pt x="934" y="72"/>
                        <a:pt x="932" y="72"/>
                      </a:cubicBezTo>
                      <a:cubicBezTo>
                        <a:pt x="933" y="75"/>
                        <a:pt x="934" y="72"/>
                        <a:pt x="936" y="72"/>
                      </a:cubicBezTo>
                      <a:cubicBezTo>
                        <a:pt x="941" y="72"/>
                        <a:pt x="943" y="68"/>
                        <a:pt x="947" y="67"/>
                      </a:cubicBezTo>
                      <a:cubicBezTo>
                        <a:pt x="950" y="66"/>
                        <a:pt x="950" y="69"/>
                        <a:pt x="952" y="68"/>
                      </a:cubicBezTo>
                      <a:cubicBezTo>
                        <a:pt x="955" y="68"/>
                        <a:pt x="955" y="65"/>
                        <a:pt x="956" y="65"/>
                      </a:cubicBezTo>
                      <a:cubicBezTo>
                        <a:pt x="960" y="63"/>
                        <a:pt x="965" y="65"/>
                        <a:pt x="969" y="63"/>
                      </a:cubicBezTo>
                      <a:cubicBezTo>
                        <a:pt x="972" y="62"/>
                        <a:pt x="968" y="60"/>
                        <a:pt x="971" y="59"/>
                      </a:cubicBezTo>
                      <a:cubicBezTo>
                        <a:pt x="972" y="59"/>
                        <a:pt x="974" y="60"/>
                        <a:pt x="975" y="59"/>
                      </a:cubicBezTo>
                      <a:cubicBezTo>
                        <a:pt x="975" y="59"/>
                        <a:pt x="976" y="55"/>
                        <a:pt x="977" y="55"/>
                      </a:cubicBezTo>
                      <a:cubicBezTo>
                        <a:pt x="977" y="55"/>
                        <a:pt x="982" y="57"/>
                        <a:pt x="984" y="57"/>
                      </a:cubicBezTo>
                      <a:cubicBezTo>
                        <a:pt x="989" y="57"/>
                        <a:pt x="989" y="56"/>
                        <a:pt x="993" y="55"/>
                      </a:cubicBezTo>
                      <a:cubicBezTo>
                        <a:pt x="993" y="57"/>
                        <a:pt x="993" y="59"/>
                        <a:pt x="993" y="61"/>
                      </a:cubicBezTo>
                      <a:cubicBezTo>
                        <a:pt x="996" y="59"/>
                        <a:pt x="997" y="59"/>
                        <a:pt x="997" y="63"/>
                      </a:cubicBezTo>
                      <a:cubicBezTo>
                        <a:pt x="1007" y="62"/>
                        <a:pt x="1023" y="64"/>
                        <a:pt x="1038" y="63"/>
                      </a:cubicBezTo>
                      <a:cubicBezTo>
                        <a:pt x="1037" y="71"/>
                        <a:pt x="1051" y="65"/>
                        <a:pt x="1049" y="74"/>
                      </a:cubicBezTo>
                      <a:cubicBezTo>
                        <a:pt x="1051" y="71"/>
                        <a:pt x="1054" y="74"/>
                        <a:pt x="1057" y="74"/>
                      </a:cubicBezTo>
                      <a:cubicBezTo>
                        <a:pt x="1062" y="74"/>
                        <a:pt x="1069" y="72"/>
                        <a:pt x="1072" y="74"/>
                      </a:cubicBezTo>
                      <a:cubicBezTo>
                        <a:pt x="1076" y="74"/>
                        <a:pt x="1072" y="66"/>
                        <a:pt x="1076" y="65"/>
                      </a:cubicBezTo>
                      <a:cubicBezTo>
                        <a:pt x="1082" y="66"/>
                        <a:pt x="1088" y="65"/>
                        <a:pt x="1094" y="67"/>
                      </a:cubicBezTo>
                      <a:cubicBezTo>
                        <a:pt x="1094" y="67"/>
                        <a:pt x="1094" y="68"/>
                        <a:pt x="1094" y="68"/>
                      </a:cubicBezTo>
                      <a:cubicBezTo>
                        <a:pt x="1097" y="69"/>
                        <a:pt x="1101" y="68"/>
                        <a:pt x="1103" y="68"/>
                      </a:cubicBezTo>
                      <a:cubicBezTo>
                        <a:pt x="1104" y="69"/>
                        <a:pt x="1105" y="72"/>
                        <a:pt x="1105" y="72"/>
                      </a:cubicBezTo>
                      <a:cubicBezTo>
                        <a:pt x="1108" y="74"/>
                        <a:pt x="1113" y="71"/>
                        <a:pt x="1115" y="74"/>
                      </a:cubicBezTo>
                      <a:cubicBezTo>
                        <a:pt x="1114" y="78"/>
                        <a:pt x="1114" y="82"/>
                        <a:pt x="1109" y="81"/>
                      </a:cubicBezTo>
                      <a:cubicBezTo>
                        <a:pt x="1109" y="85"/>
                        <a:pt x="1112" y="86"/>
                        <a:pt x="1117" y="85"/>
                      </a:cubicBezTo>
                      <a:cubicBezTo>
                        <a:pt x="1115" y="96"/>
                        <a:pt x="1124" y="97"/>
                        <a:pt x="1128" y="102"/>
                      </a:cubicBezTo>
                      <a:cubicBezTo>
                        <a:pt x="1131" y="100"/>
                        <a:pt x="1134" y="99"/>
                        <a:pt x="1137" y="96"/>
                      </a:cubicBezTo>
                      <a:cubicBezTo>
                        <a:pt x="1138" y="95"/>
                        <a:pt x="1138" y="92"/>
                        <a:pt x="1139" y="91"/>
                      </a:cubicBezTo>
                      <a:cubicBezTo>
                        <a:pt x="1140" y="90"/>
                        <a:pt x="1143" y="91"/>
                        <a:pt x="1143" y="89"/>
                      </a:cubicBezTo>
                      <a:cubicBezTo>
                        <a:pt x="1148" y="88"/>
                        <a:pt x="1146" y="93"/>
                        <a:pt x="1148" y="95"/>
                      </a:cubicBezTo>
                      <a:cubicBezTo>
                        <a:pt x="1153" y="95"/>
                        <a:pt x="1157" y="95"/>
                        <a:pt x="1161" y="95"/>
                      </a:cubicBezTo>
                      <a:cubicBezTo>
                        <a:pt x="1163" y="93"/>
                        <a:pt x="1168" y="94"/>
                        <a:pt x="1167" y="89"/>
                      </a:cubicBezTo>
                      <a:cubicBezTo>
                        <a:pt x="1173" y="91"/>
                        <a:pt x="1187" y="85"/>
                        <a:pt x="1187" y="93"/>
                      </a:cubicBezTo>
                      <a:cubicBezTo>
                        <a:pt x="1193" y="93"/>
                        <a:pt x="1191" y="86"/>
                        <a:pt x="1199" y="89"/>
                      </a:cubicBezTo>
                      <a:cubicBezTo>
                        <a:pt x="1198" y="87"/>
                        <a:pt x="1196" y="87"/>
                        <a:pt x="1195" y="87"/>
                      </a:cubicBezTo>
                      <a:cubicBezTo>
                        <a:pt x="1196" y="86"/>
                        <a:pt x="1196" y="82"/>
                        <a:pt x="1199" y="81"/>
                      </a:cubicBezTo>
                      <a:cubicBezTo>
                        <a:pt x="1204" y="82"/>
                        <a:pt x="1202" y="75"/>
                        <a:pt x="1210" y="78"/>
                      </a:cubicBezTo>
                      <a:cubicBezTo>
                        <a:pt x="1212" y="78"/>
                        <a:pt x="1210" y="75"/>
                        <a:pt x="1210" y="76"/>
                      </a:cubicBezTo>
                      <a:cubicBezTo>
                        <a:pt x="1213" y="72"/>
                        <a:pt x="1218" y="75"/>
                        <a:pt x="1225" y="74"/>
                      </a:cubicBezTo>
                      <a:cubicBezTo>
                        <a:pt x="1223" y="84"/>
                        <a:pt x="1235" y="71"/>
                        <a:pt x="1232" y="80"/>
                      </a:cubicBezTo>
                      <a:cubicBezTo>
                        <a:pt x="1240" y="81"/>
                        <a:pt x="1246" y="79"/>
                        <a:pt x="1253" y="78"/>
                      </a:cubicBezTo>
                      <a:cubicBezTo>
                        <a:pt x="1253" y="83"/>
                        <a:pt x="1245" y="79"/>
                        <a:pt x="1247" y="85"/>
                      </a:cubicBezTo>
                      <a:cubicBezTo>
                        <a:pt x="1248" y="89"/>
                        <a:pt x="1254" y="87"/>
                        <a:pt x="1258" y="87"/>
                      </a:cubicBezTo>
                      <a:cubicBezTo>
                        <a:pt x="1265" y="87"/>
                        <a:pt x="1271" y="87"/>
                        <a:pt x="1277" y="85"/>
                      </a:cubicBezTo>
                      <a:cubicBezTo>
                        <a:pt x="1278" y="92"/>
                        <a:pt x="1287" y="92"/>
                        <a:pt x="1290" y="98"/>
                      </a:cubicBezTo>
                      <a:cubicBezTo>
                        <a:pt x="1294" y="97"/>
                        <a:pt x="1296" y="100"/>
                        <a:pt x="1299" y="100"/>
                      </a:cubicBezTo>
                      <a:cubicBezTo>
                        <a:pt x="1311" y="101"/>
                        <a:pt x="1324" y="98"/>
                        <a:pt x="1335" y="100"/>
                      </a:cubicBezTo>
                      <a:cubicBezTo>
                        <a:pt x="1339" y="101"/>
                        <a:pt x="1343" y="106"/>
                        <a:pt x="1348" y="104"/>
                      </a:cubicBezTo>
                      <a:cubicBezTo>
                        <a:pt x="1347" y="107"/>
                        <a:pt x="1349" y="107"/>
                        <a:pt x="1351" y="108"/>
                      </a:cubicBezTo>
                      <a:cubicBezTo>
                        <a:pt x="1351" y="110"/>
                        <a:pt x="1351" y="113"/>
                        <a:pt x="1351" y="115"/>
                      </a:cubicBezTo>
                      <a:cubicBezTo>
                        <a:pt x="1351" y="118"/>
                        <a:pt x="1358" y="115"/>
                        <a:pt x="1359" y="117"/>
                      </a:cubicBezTo>
                      <a:cubicBezTo>
                        <a:pt x="1361" y="120"/>
                        <a:pt x="1360" y="116"/>
                        <a:pt x="1363" y="117"/>
                      </a:cubicBezTo>
                      <a:cubicBezTo>
                        <a:pt x="1363" y="117"/>
                        <a:pt x="1363" y="119"/>
                        <a:pt x="1364" y="119"/>
                      </a:cubicBezTo>
                      <a:cubicBezTo>
                        <a:pt x="1367" y="119"/>
                        <a:pt x="1387" y="121"/>
                        <a:pt x="1389" y="119"/>
                      </a:cubicBezTo>
                      <a:cubicBezTo>
                        <a:pt x="1389" y="119"/>
                        <a:pt x="1389" y="117"/>
                        <a:pt x="1389" y="117"/>
                      </a:cubicBezTo>
                      <a:cubicBezTo>
                        <a:pt x="1390" y="117"/>
                        <a:pt x="1394" y="119"/>
                        <a:pt x="1394" y="119"/>
                      </a:cubicBezTo>
                      <a:cubicBezTo>
                        <a:pt x="1396" y="117"/>
                        <a:pt x="1399" y="116"/>
                        <a:pt x="1400" y="119"/>
                      </a:cubicBezTo>
                      <a:cubicBezTo>
                        <a:pt x="1403" y="115"/>
                        <a:pt x="1409" y="115"/>
                        <a:pt x="1415" y="113"/>
                      </a:cubicBezTo>
                      <a:cubicBezTo>
                        <a:pt x="1414" y="119"/>
                        <a:pt x="1416" y="122"/>
                        <a:pt x="1417" y="126"/>
                      </a:cubicBezTo>
                      <a:cubicBezTo>
                        <a:pt x="1424" y="126"/>
                        <a:pt x="1427" y="130"/>
                        <a:pt x="1433" y="126"/>
                      </a:cubicBezTo>
                      <a:cubicBezTo>
                        <a:pt x="1434" y="123"/>
                        <a:pt x="1432" y="123"/>
                        <a:pt x="1430" y="122"/>
                      </a:cubicBezTo>
                      <a:cubicBezTo>
                        <a:pt x="1431" y="121"/>
                        <a:pt x="1432" y="118"/>
                        <a:pt x="1432" y="115"/>
                      </a:cubicBezTo>
                      <a:cubicBezTo>
                        <a:pt x="1436" y="111"/>
                        <a:pt x="1448" y="113"/>
                        <a:pt x="1450" y="117"/>
                      </a:cubicBezTo>
                      <a:cubicBezTo>
                        <a:pt x="1458" y="117"/>
                        <a:pt x="1466" y="116"/>
                        <a:pt x="1474" y="117"/>
                      </a:cubicBezTo>
                      <a:cubicBezTo>
                        <a:pt x="1477" y="117"/>
                        <a:pt x="1483" y="121"/>
                        <a:pt x="1484" y="117"/>
                      </a:cubicBezTo>
                      <a:cubicBezTo>
                        <a:pt x="1488" y="119"/>
                        <a:pt x="1487" y="121"/>
                        <a:pt x="1493" y="122"/>
                      </a:cubicBezTo>
                      <a:cubicBezTo>
                        <a:pt x="1495" y="123"/>
                        <a:pt x="1496" y="126"/>
                        <a:pt x="1497" y="126"/>
                      </a:cubicBezTo>
                      <a:cubicBezTo>
                        <a:pt x="1498" y="126"/>
                        <a:pt x="1499" y="125"/>
                        <a:pt x="1499" y="124"/>
                      </a:cubicBezTo>
                      <a:cubicBezTo>
                        <a:pt x="1501" y="125"/>
                        <a:pt x="1499" y="127"/>
                        <a:pt x="1500" y="128"/>
                      </a:cubicBezTo>
                      <a:cubicBezTo>
                        <a:pt x="1501" y="129"/>
                        <a:pt x="1504" y="127"/>
                        <a:pt x="1504" y="128"/>
                      </a:cubicBezTo>
                      <a:cubicBezTo>
                        <a:pt x="1505" y="129"/>
                        <a:pt x="1509" y="130"/>
                        <a:pt x="1514" y="132"/>
                      </a:cubicBezTo>
                      <a:cubicBezTo>
                        <a:pt x="1516" y="133"/>
                        <a:pt x="1521" y="134"/>
                        <a:pt x="1525" y="136"/>
                      </a:cubicBezTo>
                      <a:cubicBezTo>
                        <a:pt x="1526" y="136"/>
                        <a:pt x="1526" y="139"/>
                        <a:pt x="1527" y="139"/>
                      </a:cubicBezTo>
                      <a:cubicBezTo>
                        <a:pt x="1527" y="140"/>
                        <a:pt x="1530" y="139"/>
                        <a:pt x="1530" y="139"/>
                      </a:cubicBezTo>
                      <a:cubicBezTo>
                        <a:pt x="1531" y="140"/>
                        <a:pt x="1530" y="142"/>
                        <a:pt x="1530" y="143"/>
                      </a:cubicBezTo>
                      <a:cubicBezTo>
                        <a:pt x="1531" y="144"/>
                        <a:pt x="1534" y="142"/>
                        <a:pt x="1534" y="143"/>
                      </a:cubicBezTo>
                      <a:cubicBezTo>
                        <a:pt x="1535" y="145"/>
                        <a:pt x="1532" y="151"/>
                        <a:pt x="1540" y="149"/>
                      </a:cubicBezTo>
                      <a:cubicBezTo>
                        <a:pt x="1540" y="153"/>
                        <a:pt x="1540" y="157"/>
                        <a:pt x="1540" y="162"/>
                      </a:cubicBezTo>
                      <a:cubicBezTo>
                        <a:pt x="1546" y="161"/>
                        <a:pt x="1551" y="160"/>
                        <a:pt x="1553" y="154"/>
                      </a:cubicBezTo>
                      <a:cubicBezTo>
                        <a:pt x="1558" y="157"/>
                        <a:pt x="1565" y="156"/>
                        <a:pt x="1569" y="158"/>
                      </a:cubicBezTo>
                      <a:cubicBezTo>
                        <a:pt x="1570" y="158"/>
                        <a:pt x="1569" y="161"/>
                        <a:pt x="1569" y="162"/>
                      </a:cubicBezTo>
                      <a:cubicBezTo>
                        <a:pt x="1570" y="163"/>
                        <a:pt x="1574" y="161"/>
                        <a:pt x="1575" y="162"/>
                      </a:cubicBezTo>
                      <a:cubicBezTo>
                        <a:pt x="1574" y="164"/>
                        <a:pt x="1571" y="164"/>
                        <a:pt x="1571" y="167"/>
                      </a:cubicBezTo>
                      <a:cubicBezTo>
                        <a:pt x="1568" y="168"/>
                        <a:pt x="1568" y="165"/>
                        <a:pt x="1566" y="165"/>
                      </a:cubicBezTo>
                      <a:cubicBezTo>
                        <a:pt x="1564" y="167"/>
                        <a:pt x="1564" y="170"/>
                        <a:pt x="1560" y="169"/>
                      </a:cubicBezTo>
                      <a:cubicBezTo>
                        <a:pt x="1561" y="172"/>
                        <a:pt x="1566" y="171"/>
                        <a:pt x="1564" y="177"/>
                      </a:cubicBezTo>
                      <a:cubicBezTo>
                        <a:pt x="1557" y="171"/>
                        <a:pt x="1563" y="179"/>
                        <a:pt x="1558" y="180"/>
                      </a:cubicBezTo>
                      <a:cubicBezTo>
                        <a:pt x="1557" y="181"/>
                        <a:pt x="1555" y="182"/>
                        <a:pt x="1554" y="184"/>
                      </a:cubicBezTo>
                      <a:cubicBezTo>
                        <a:pt x="1552" y="184"/>
                        <a:pt x="1551" y="183"/>
                        <a:pt x="1549" y="182"/>
                      </a:cubicBezTo>
                      <a:cubicBezTo>
                        <a:pt x="1548" y="181"/>
                        <a:pt x="1546" y="179"/>
                        <a:pt x="1545" y="178"/>
                      </a:cubicBezTo>
                      <a:cubicBezTo>
                        <a:pt x="1542" y="177"/>
                        <a:pt x="1540" y="178"/>
                        <a:pt x="1538" y="177"/>
                      </a:cubicBezTo>
                      <a:cubicBezTo>
                        <a:pt x="1536" y="176"/>
                        <a:pt x="1535" y="173"/>
                        <a:pt x="1534" y="173"/>
                      </a:cubicBezTo>
                      <a:cubicBezTo>
                        <a:pt x="1532" y="172"/>
                        <a:pt x="1529" y="173"/>
                        <a:pt x="1527" y="173"/>
                      </a:cubicBezTo>
                      <a:cubicBezTo>
                        <a:pt x="1526" y="173"/>
                        <a:pt x="1526" y="171"/>
                        <a:pt x="1525" y="171"/>
                      </a:cubicBezTo>
                      <a:cubicBezTo>
                        <a:pt x="1522" y="171"/>
                        <a:pt x="1520" y="164"/>
                        <a:pt x="1517" y="169"/>
                      </a:cubicBezTo>
                      <a:cubicBezTo>
                        <a:pt x="1515" y="169"/>
                        <a:pt x="1516" y="166"/>
                        <a:pt x="1515" y="163"/>
                      </a:cubicBezTo>
                      <a:cubicBezTo>
                        <a:pt x="1512" y="163"/>
                        <a:pt x="1508" y="163"/>
                        <a:pt x="1504" y="163"/>
                      </a:cubicBezTo>
                      <a:cubicBezTo>
                        <a:pt x="1500" y="164"/>
                        <a:pt x="1504" y="168"/>
                        <a:pt x="1504" y="167"/>
                      </a:cubicBezTo>
                      <a:cubicBezTo>
                        <a:pt x="1504" y="170"/>
                        <a:pt x="1500" y="170"/>
                        <a:pt x="1500" y="175"/>
                      </a:cubicBezTo>
                      <a:cubicBezTo>
                        <a:pt x="1492" y="174"/>
                        <a:pt x="1491" y="180"/>
                        <a:pt x="1482" y="178"/>
                      </a:cubicBezTo>
                      <a:cubicBezTo>
                        <a:pt x="1480" y="180"/>
                        <a:pt x="1480" y="183"/>
                        <a:pt x="1476" y="182"/>
                      </a:cubicBezTo>
                      <a:cubicBezTo>
                        <a:pt x="1477" y="185"/>
                        <a:pt x="1481" y="184"/>
                        <a:pt x="1484" y="184"/>
                      </a:cubicBezTo>
                      <a:cubicBezTo>
                        <a:pt x="1486" y="185"/>
                        <a:pt x="1487" y="187"/>
                        <a:pt x="1489" y="188"/>
                      </a:cubicBezTo>
                      <a:cubicBezTo>
                        <a:pt x="1488" y="194"/>
                        <a:pt x="1488" y="192"/>
                        <a:pt x="1491" y="195"/>
                      </a:cubicBezTo>
                      <a:cubicBezTo>
                        <a:pt x="1493" y="199"/>
                        <a:pt x="1498" y="200"/>
                        <a:pt x="1500" y="203"/>
                      </a:cubicBezTo>
                      <a:cubicBezTo>
                        <a:pt x="1500" y="203"/>
                        <a:pt x="1495" y="208"/>
                        <a:pt x="1495" y="208"/>
                      </a:cubicBezTo>
                      <a:cubicBezTo>
                        <a:pt x="1490" y="209"/>
                        <a:pt x="1490" y="204"/>
                        <a:pt x="1487" y="204"/>
                      </a:cubicBezTo>
                      <a:cubicBezTo>
                        <a:pt x="1488" y="204"/>
                        <a:pt x="1490" y="208"/>
                        <a:pt x="1487" y="208"/>
                      </a:cubicBezTo>
                      <a:cubicBezTo>
                        <a:pt x="1482" y="209"/>
                        <a:pt x="1473" y="208"/>
                        <a:pt x="1467" y="210"/>
                      </a:cubicBezTo>
                      <a:cubicBezTo>
                        <a:pt x="1464" y="211"/>
                        <a:pt x="1457" y="213"/>
                        <a:pt x="1458" y="218"/>
                      </a:cubicBezTo>
                      <a:cubicBezTo>
                        <a:pt x="1449" y="216"/>
                        <a:pt x="1448" y="222"/>
                        <a:pt x="1443" y="223"/>
                      </a:cubicBezTo>
                      <a:cubicBezTo>
                        <a:pt x="1441" y="225"/>
                        <a:pt x="1441" y="226"/>
                        <a:pt x="1439" y="227"/>
                      </a:cubicBezTo>
                      <a:cubicBezTo>
                        <a:pt x="1438" y="228"/>
                        <a:pt x="1435" y="231"/>
                        <a:pt x="1433" y="231"/>
                      </a:cubicBezTo>
                      <a:cubicBezTo>
                        <a:pt x="1432" y="231"/>
                        <a:pt x="1430" y="233"/>
                        <a:pt x="1430" y="234"/>
                      </a:cubicBezTo>
                      <a:cubicBezTo>
                        <a:pt x="1424" y="233"/>
                        <a:pt x="1414" y="237"/>
                        <a:pt x="1411" y="232"/>
                      </a:cubicBezTo>
                      <a:cubicBezTo>
                        <a:pt x="1409" y="234"/>
                        <a:pt x="1404" y="233"/>
                        <a:pt x="1405" y="238"/>
                      </a:cubicBezTo>
                      <a:cubicBezTo>
                        <a:pt x="1395" y="239"/>
                        <a:pt x="1394" y="239"/>
                        <a:pt x="1383" y="238"/>
                      </a:cubicBezTo>
                      <a:cubicBezTo>
                        <a:pt x="1382" y="238"/>
                        <a:pt x="1381" y="240"/>
                        <a:pt x="1379" y="240"/>
                      </a:cubicBezTo>
                      <a:cubicBezTo>
                        <a:pt x="1378" y="241"/>
                        <a:pt x="1374" y="242"/>
                        <a:pt x="1374" y="246"/>
                      </a:cubicBezTo>
                      <a:cubicBezTo>
                        <a:pt x="1373" y="251"/>
                        <a:pt x="1365" y="248"/>
                        <a:pt x="1366" y="257"/>
                      </a:cubicBezTo>
                      <a:cubicBezTo>
                        <a:pt x="1365" y="263"/>
                        <a:pt x="1371" y="262"/>
                        <a:pt x="1374" y="264"/>
                      </a:cubicBezTo>
                      <a:cubicBezTo>
                        <a:pt x="1373" y="269"/>
                        <a:pt x="1372" y="274"/>
                        <a:pt x="1366" y="273"/>
                      </a:cubicBezTo>
                      <a:cubicBezTo>
                        <a:pt x="1367" y="277"/>
                        <a:pt x="1366" y="279"/>
                        <a:pt x="1363" y="279"/>
                      </a:cubicBezTo>
                      <a:cubicBezTo>
                        <a:pt x="1363" y="282"/>
                        <a:pt x="1363" y="284"/>
                        <a:pt x="1363" y="287"/>
                      </a:cubicBezTo>
                      <a:cubicBezTo>
                        <a:pt x="1363" y="289"/>
                        <a:pt x="1366" y="285"/>
                        <a:pt x="1366" y="288"/>
                      </a:cubicBezTo>
                      <a:cubicBezTo>
                        <a:pt x="1368" y="292"/>
                        <a:pt x="1364" y="291"/>
                        <a:pt x="1363" y="292"/>
                      </a:cubicBezTo>
                      <a:cubicBezTo>
                        <a:pt x="1362" y="293"/>
                        <a:pt x="1361" y="297"/>
                        <a:pt x="1361" y="298"/>
                      </a:cubicBezTo>
                      <a:cubicBezTo>
                        <a:pt x="1359" y="299"/>
                        <a:pt x="1353" y="298"/>
                        <a:pt x="1351" y="300"/>
                      </a:cubicBezTo>
                      <a:cubicBezTo>
                        <a:pt x="1350" y="301"/>
                        <a:pt x="1353" y="306"/>
                        <a:pt x="1351" y="307"/>
                      </a:cubicBezTo>
                      <a:cubicBezTo>
                        <a:pt x="1350" y="308"/>
                        <a:pt x="1350" y="303"/>
                        <a:pt x="1350" y="303"/>
                      </a:cubicBezTo>
                      <a:cubicBezTo>
                        <a:pt x="1348" y="303"/>
                        <a:pt x="1344" y="304"/>
                        <a:pt x="1348" y="313"/>
                      </a:cubicBezTo>
                      <a:cubicBezTo>
                        <a:pt x="1344" y="311"/>
                        <a:pt x="1345" y="315"/>
                        <a:pt x="1344" y="316"/>
                      </a:cubicBezTo>
                      <a:cubicBezTo>
                        <a:pt x="1343" y="317"/>
                        <a:pt x="1341" y="316"/>
                        <a:pt x="1340" y="316"/>
                      </a:cubicBezTo>
                      <a:cubicBezTo>
                        <a:pt x="1339" y="317"/>
                        <a:pt x="1340" y="322"/>
                        <a:pt x="1336" y="320"/>
                      </a:cubicBezTo>
                      <a:cubicBezTo>
                        <a:pt x="1337" y="323"/>
                        <a:pt x="1334" y="324"/>
                        <a:pt x="1335" y="328"/>
                      </a:cubicBezTo>
                      <a:cubicBezTo>
                        <a:pt x="1332" y="328"/>
                        <a:pt x="1327" y="327"/>
                        <a:pt x="1327" y="329"/>
                      </a:cubicBezTo>
                      <a:cubicBezTo>
                        <a:pt x="1325" y="329"/>
                        <a:pt x="1328" y="327"/>
                        <a:pt x="1327" y="324"/>
                      </a:cubicBezTo>
                      <a:cubicBezTo>
                        <a:pt x="1327" y="324"/>
                        <a:pt x="1325" y="323"/>
                        <a:pt x="1325" y="322"/>
                      </a:cubicBezTo>
                      <a:cubicBezTo>
                        <a:pt x="1325" y="321"/>
                        <a:pt x="1325" y="319"/>
                        <a:pt x="1325" y="318"/>
                      </a:cubicBezTo>
                      <a:cubicBezTo>
                        <a:pt x="1324" y="317"/>
                        <a:pt x="1323" y="315"/>
                        <a:pt x="1322" y="314"/>
                      </a:cubicBezTo>
                      <a:cubicBezTo>
                        <a:pt x="1321" y="314"/>
                        <a:pt x="1320" y="312"/>
                        <a:pt x="1318" y="313"/>
                      </a:cubicBezTo>
                      <a:cubicBezTo>
                        <a:pt x="1320" y="310"/>
                        <a:pt x="1320" y="305"/>
                        <a:pt x="1320" y="301"/>
                      </a:cubicBezTo>
                      <a:cubicBezTo>
                        <a:pt x="1320" y="298"/>
                        <a:pt x="1318" y="298"/>
                        <a:pt x="1318" y="296"/>
                      </a:cubicBezTo>
                      <a:cubicBezTo>
                        <a:pt x="1317" y="289"/>
                        <a:pt x="1320" y="281"/>
                        <a:pt x="1318" y="275"/>
                      </a:cubicBezTo>
                      <a:cubicBezTo>
                        <a:pt x="1325" y="281"/>
                        <a:pt x="1319" y="272"/>
                        <a:pt x="1322" y="268"/>
                      </a:cubicBezTo>
                      <a:cubicBezTo>
                        <a:pt x="1322" y="267"/>
                        <a:pt x="1324" y="274"/>
                        <a:pt x="1325" y="270"/>
                      </a:cubicBezTo>
                      <a:cubicBezTo>
                        <a:pt x="1325" y="269"/>
                        <a:pt x="1325" y="267"/>
                        <a:pt x="1325" y="266"/>
                      </a:cubicBezTo>
                      <a:cubicBezTo>
                        <a:pt x="1327" y="263"/>
                        <a:pt x="1335" y="258"/>
                        <a:pt x="1336" y="257"/>
                      </a:cubicBezTo>
                      <a:cubicBezTo>
                        <a:pt x="1336" y="257"/>
                        <a:pt x="1340" y="256"/>
                        <a:pt x="1338" y="255"/>
                      </a:cubicBezTo>
                      <a:cubicBezTo>
                        <a:pt x="1336" y="253"/>
                        <a:pt x="1339" y="253"/>
                        <a:pt x="1342" y="253"/>
                      </a:cubicBezTo>
                      <a:cubicBezTo>
                        <a:pt x="1345" y="251"/>
                        <a:pt x="1346" y="248"/>
                        <a:pt x="1346" y="244"/>
                      </a:cubicBezTo>
                      <a:cubicBezTo>
                        <a:pt x="1346" y="243"/>
                        <a:pt x="1352" y="241"/>
                        <a:pt x="1351" y="240"/>
                      </a:cubicBezTo>
                      <a:cubicBezTo>
                        <a:pt x="1351" y="240"/>
                        <a:pt x="1350" y="240"/>
                        <a:pt x="1350" y="240"/>
                      </a:cubicBezTo>
                      <a:cubicBezTo>
                        <a:pt x="1350" y="240"/>
                        <a:pt x="1351" y="236"/>
                        <a:pt x="1351" y="236"/>
                      </a:cubicBezTo>
                      <a:cubicBezTo>
                        <a:pt x="1353" y="236"/>
                        <a:pt x="1356" y="241"/>
                        <a:pt x="1355" y="232"/>
                      </a:cubicBezTo>
                      <a:cubicBezTo>
                        <a:pt x="1358" y="232"/>
                        <a:pt x="1362" y="232"/>
                        <a:pt x="1364" y="231"/>
                      </a:cubicBezTo>
                      <a:cubicBezTo>
                        <a:pt x="1365" y="230"/>
                        <a:pt x="1366" y="227"/>
                        <a:pt x="1366" y="227"/>
                      </a:cubicBezTo>
                      <a:cubicBezTo>
                        <a:pt x="1367" y="226"/>
                        <a:pt x="1369" y="227"/>
                        <a:pt x="1370" y="227"/>
                      </a:cubicBezTo>
                      <a:cubicBezTo>
                        <a:pt x="1371" y="226"/>
                        <a:pt x="1373" y="224"/>
                        <a:pt x="1374" y="223"/>
                      </a:cubicBezTo>
                      <a:cubicBezTo>
                        <a:pt x="1375" y="222"/>
                        <a:pt x="1375" y="223"/>
                        <a:pt x="1376" y="221"/>
                      </a:cubicBezTo>
                      <a:cubicBezTo>
                        <a:pt x="1376" y="219"/>
                        <a:pt x="1378" y="214"/>
                        <a:pt x="1381" y="218"/>
                      </a:cubicBezTo>
                      <a:cubicBezTo>
                        <a:pt x="1381" y="214"/>
                        <a:pt x="1381" y="211"/>
                        <a:pt x="1381" y="208"/>
                      </a:cubicBezTo>
                      <a:cubicBezTo>
                        <a:pt x="1377" y="208"/>
                        <a:pt x="1374" y="209"/>
                        <a:pt x="1372" y="210"/>
                      </a:cubicBezTo>
                      <a:cubicBezTo>
                        <a:pt x="1371" y="211"/>
                        <a:pt x="1369" y="213"/>
                        <a:pt x="1368" y="214"/>
                      </a:cubicBezTo>
                      <a:cubicBezTo>
                        <a:pt x="1367" y="215"/>
                        <a:pt x="1366" y="214"/>
                        <a:pt x="1366" y="216"/>
                      </a:cubicBezTo>
                      <a:cubicBezTo>
                        <a:pt x="1366" y="219"/>
                        <a:pt x="1359" y="218"/>
                        <a:pt x="1359" y="223"/>
                      </a:cubicBezTo>
                      <a:cubicBezTo>
                        <a:pt x="1355" y="223"/>
                        <a:pt x="1353" y="224"/>
                        <a:pt x="1353" y="227"/>
                      </a:cubicBezTo>
                      <a:cubicBezTo>
                        <a:pt x="1351" y="227"/>
                        <a:pt x="1352" y="224"/>
                        <a:pt x="1351" y="223"/>
                      </a:cubicBezTo>
                      <a:cubicBezTo>
                        <a:pt x="1351" y="223"/>
                        <a:pt x="1348" y="224"/>
                        <a:pt x="1348" y="223"/>
                      </a:cubicBezTo>
                      <a:cubicBezTo>
                        <a:pt x="1347" y="222"/>
                        <a:pt x="1348" y="219"/>
                        <a:pt x="1348" y="218"/>
                      </a:cubicBezTo>
                      <a:cubicBezTo>
                        <a:pt x="1340" y="219"/>
                        <a:pt x="1335" y="216"/>
                        <a:pt x="1329" y="218"/>
                      </a:cubicBezTo>
                      <a:cubicBezTo>
                        <a:pt x="1327" y="218"/>
                        <a:pt x="1329" y="220"/>
                        <a:pt x="1327" y="221"/>
                      </a:cubicBezTo>
                      <a:cubicBezTo>
                        <a:pt x="1325" y="223"/>
                        <a:pt x="1322" y="222"/>
                        <a:pt x="1320" y="223"/>
                      </a:cubicBezTo>
                      <a:cubicBezTo>
                        <a:pt x="1316" y="225"/>
                        <a:pt x="1316" y="226"/>
                        <a:pt x="1314" y="229"/>
                      </a:cubicBezTo>
                      <a:cubicBezTo>
                        <a:pt x="1313" y="230"/>
                        <a:pt x="1312" y="233"/>
                        <a:pt x="1308" y="232"/>
                      </a:cubicBezTo>
                      <a:cubicBezTo>
                        <a:pt x="1307" y="238"/>
                        <a:pt x="1311" y="237"/>
                        <a:pt x="1310" y="242"/>
                      </a:cubicBezTo>
                      <a:cubicBezTo>
                        <a:pt x="1308" y="243"/>
                        <a:pt x="1307" y="244"/>
                        <a:pt x="1307" y="247"/>
                      </a:cubicBezTo>
                      <a:cubicBezTo>
                        <a:pt x="1299" y="246"/>
                        <a:pt x="1297" y="250"/>
                        <a:pt x="1290" y="249"/>
                      </a:cubicBezTo>
                      <a:cubicBezTo>
                        <a:pt x="1288" y="247"/>
                        <a:pt x="1289" y="246"/>
                        <a:pt x="1290" y="244"/>
                      </a:cubicBezTo>
                      <a:cubicBezTo>
                        <a:pt x="1287" y="244"/>
                        <a:pt x="1286" y="242"/>
                        <a:pt x="1286" y="240"/>
                      </a:cubicBezTo>
                      <a:cubicBezTo>
                        <a:pt x="1283" y="240"/>
                        <a:pt x="1279" y="241"/>
                        <a:pt x="1279" y="238"/>
                      </a:cubicBezTo>
                      <a:cubicBezTo>
                        <a:pt x="1270" y="243"/>
                        <a:pt x="1259" y="246"/>
                        <a:pt x="1247" y="247"/>
                      </a:cubicBezTo>
                      <a:cubicBezTo>
                        <a:pt x="1246" y="244"/>
                        <a:pt x="1241" y="246"/>
                        <a:pt x="1243" y="240"/>
                      </a:cubicBezTo>
                      <a:cubicBezTo>
                        <a:pt x="1241" y="240"/>
                        <a:pt x="1238" y="240"/>
                        <a:pt x="1236" y="240"/>
                      </a:cubicBezTo>
                      <a:cubicBezTo>
                        <a:pt x="1228" y="242"/>
                        <a:pt x="1222" y="244"/>
                        <a:pt x="1215" y="247"/>
                      </a:cubicBezTo>
                      <a:cubicBezTo>
                        <a:pt x="1210" y="250"/>
                        <a:pt x="1206" y="255"/>
                        <a:pt x="1200" y="257"/>
                      </a:cubicBezTo>
                      <a:cubicBezTo>
                        <a:pt x="1201" y="260"/>
                        <a:pt x="1200" y="263"/>
                        <a:pt x="1197" y="262"/>
                      </a:cubicBezTo>
                      <a:cubicBezTo>
                        <a:pt x="1198" y="268"/>
                        <a:pt x="1194" y="267"/>
                        <a:pt x="1195" y="272"/>
                      </a:cubicBezTo>
                      <a:cubicBezTo>
                        <a:pt x="1191" y="268"/>
                        <a:pt x="1187" y="279"/>
                        <a:pt x="1185" y="277"/>
                      </a:cubicBezTo>
                      <a:cubicBezTo>
                        <a:pt x="1182" y="274"/>
                        <a:pt x="1185" y="279"/>
                        <a:pt x="1180" y="279"/>
                      </a:cubicBezTo>
                      <a:cubicBezTo>
                        <a:pt x="1177" y="279"/>
                        <a:pt x="1176" y="280"/>
                        <a:pt x="1176" y="283"/>
                      </a:cubicBezTo>
                      <a:cubicBezTo>
                        <a:pt x="1167" y="280"/>
                        <a:pt x="1170" y="289"/>
                        <a:pt x="1163" y="288"/>
                      </a:cubicBezTo>
                      <a:cubicBezTo>
                        <a:pt x="1164" y="290"/>
                        <a:pt x="1169" y="298"/>
                        <a:pt x="1171" y="294"/>
                      </a:cubicBezTo>
                      <a:cubicBezTo>
                        <a:pt x="1173" y="295"/>
                        <a:pt x="1172" y="299"/>
                        <a:pt x="1172" y="301"/>
                      </a:cubicBezTo>
                      <a:cubicBezTo>
                        <a:pt x="1175" y="300"/>
                        <a:pt x="1178" y="303"/>
                        <a:pt x="1178" y="303"/>
                      </a:cubicBezTo>
                      <a:cubicBezTo>
                        <a:pt x="1180" y="303"/>
                        <a:pt x="1182" y="301"/>
                        <a:pt x="1185" y="301"/>
                      </a:cubicBezTo>
                      <a:cubicBezTo>
                        <a:pt x="1186" y="302"/>
                        <a:pt x="1188" y="303"/>
                        <a:pt x="1187" y="303"/>
                      </a:cubicBezTo>
                      <a:cubicBezTo>
                        <a:pt x="1190" y="303"/>
                        <a:pt x="1192" y="298"/>
                        <a:pt x="1193" y="301"/>
                      </a:cubicBezTo>
                      <a:cubicBezTo>
                        <a:pt x="1195" y="301"/>
                        <a:pt x="1194" y="299"/>
                        <a:pt x="1195" y="298"/>
                      </a:cubicBezTo>
                      <a:cubicBezTo>
                        <a:pt x="1198" y="299"/>
                        <a:pt x="1198" y="312"/>
                        <a:pt x="1202" y="305"/>
                      </a:cubicBezTo>
                      <a:cubicBezTo>
                        <a:pt x="1207" y="304"/>
                        <a:pt x="1201" y="314"/>
                        <a:pt x="1208" y="311"/>
                      </a:cubicBezTo>
                      <a:cubicBezTo>
                        <a:pt x="1208" y="313"/>
                        <a:pt x="1205" y="312"/>
                        <a:pt x="1204" y="313"/>
                      </a:cubicBezTo>
                      <a:cubicBezTo>
                        <a:pt x="1204" y="313"/>
                        <a:pt x="1207" y="318"/>
                        <a:pt x="1206" y="320"/>
                      </a:cubicBezTo>
                      <a:cubicBezTo>
                        <a:pt x="1206" y="321"/>
                        <a:pt x="1204" y="320"/>
                        <a:pt x="1204" y="322"/>
                      </a:cubicBezTo>
                      <a:cubicBezTo>
                        <a:pt x="1204" y="323"/>
                        <a:pt x="1202" y="324"/>
                        <a:pt x="1202" y="326"/>
                      </a:cubicBezTo>
                      <a:cubicBezTo>
                        <a:pt x="1201" y="332"/>
                        <a:pt x="1205" y="342"/>
                        <a:pt x="1199" y="337"/>
                      </a:cubicBezTo>
                      <a:cubicBezTo>
                        <a:pt x="1200" y="353"/>
                        <a:pt x="1193" y="361"/>
                        <a:pt x="1189" y="372"/>
                      </a:cubicBezTo>
                      <a:cubicBezTo>
                        <a:pt x="1187" y="374"/>
                        <a:pt x="1186" y="373"/>
                        <a:pt x="1184" y="372"/>
                      </a:cubicBezTo>
                      <a:cubicBezTo>
                        <a:pt x="1183" y="374"/>
                        <a:pt x="1184" y="376"/>
                        <a:pt x="1184" y="378"/>
                      </a:cubicBezTo>
                      <a:cubicBezTo>
                        <a:pt x="1183" y="380"/>
                        <a:pt x="1180" y="378"/>
                        <a:pt x="1178" y="380"/>
                      </a:cubicBezTo>
                      <a:cubicBezTo>
                        <a:pt x="1177" y="380"/>
                        <a:pt x="1179" y="383"/>
                        <a:pt x="1178" y="383"/>
                      </a:cubicBezTo>
                      <a:cubicBezTo>
                        <a:pt x="1177" y="384"/>
                        <a:pt x="1175" y="383"/>
                        <a:pt x="1174" y="383"/>
                      </a:cubicBezTo>
                      <a:cubicBezTo>
                        <a:pt x="1173" y="385"/>
                        <a:pt x="1176" y="386"/>
                        <a:pt x="1176" y="385"/>
                      </a:cubicBezTo>
                      <a:cubicBezTo>
                        <a:pt x="1175" y="387"/>
                        <a:pt x="1172" y="387"/>
                        <a:pt x="1171" y="389"/>
                      </a:cubicBezTo>
                      <a:cubicBezTo>
                        <a:pt x="1170" y="390"/>
                        <a:pt x="1170" y="393"/>
                        <a:pt x="1169" y="395"/>
                      </a:cubicBezTo>
                      <a:cubicBezTo>
                        <a:pt x="1167" y="396"/>
                        <a:pt x="1165" y="395"/>
                        <a:pt x="1163" y="396"/>
                      </a:cubicBezTo>
                      <a:cubicBezTo>
                        <a:pt x="1161" y="398"/>
                        <a:pt x="1163" y="400"/>
                        <a:pt x="1161" y="402"/>
                      </a:cubicBezTo>
                      <a:cubicBezTo>
                        <a:pt x="1161" y="403"/>
                        <a:pt x="1158" y="401"/>
                        <a:pt x="1158" y="402"/>
                      </a:cubicBezTo>
                      <a:cubicBezTo>
                        <a:pt x="1157" y="402"/>
                        <a:pt x="1157" y="407"/>
                        <a:pt x="1156" y="406"/>
                      </a:cubicBezTo>
                      <a:cubicBezTo>
                        <a:pt x="1154" y="404"/>
                        <a:pt x="1152" y="404"/>
                        <a:pt x="1152" y="410"/>
                      </a:cubicBezTo>
                      <a:cubicBezTo>
                        <a:pt x="1143" y="411"/>
                        <a:pt x="1143" y="410"/>
                        <a:pt x="1133" y="410"/>
                      </a:cubicBezTo>
                      <a:cubicBezTo>
                        <a:pt x="1133" y="411"/>
                        <a:pt x="1126" y="414"/>
                        <a:pt x="1130" y="415"/>
                      </a:cubicBezTo>
                      <a:cubicBezTo>
                        <a:pt x="1131" y="419"/>
                        <a:pt x="1117" y="416"/>
                        <a:pt x="1124" y="419"/>
                      </a:cubicBezTo>
                      <a:cubicBezTo>
                        <a:pt x="1123" y="421"/>
                        <a:pt x="1120" y="421"/>
                        <a:pt x="1120" y="419"/>
                      </a:cubicBezTo>
                      <a:cubicBezTo>
                        <a:pt x="1115" y="423"/>
                        <a:pt x="1118" y="427"/>
                        <a:pt x="1118" y="434"/>
                      </a:cubicBezTo>
                      <a:cubicBezTo>
                        <a:pt x="1113" y="435"/>
                        <a:pt x="1115" y="435"/>
                        <a:pt x="1109" y="434"/>
                      </a:cubicBezTo>
                      <a:cubicBezTo>
                        <a:pt x="1111" y="436"/>
                        <a:pt x="1111" y="438"/>
                        <a:pt x="1107" y="438"/>
                      </a:cubicBezTo>
                      <a:cubicBezTo>
                        <a:pt x="1107" y="441"/>
                        <a:pt x="1109" y="457"/>
                        <a:pt x="1111" y="452"/>
                      </a:cubicBezTo>
                      <a:cubicBezTo>
                        <a:pt x="1115" y="452"/>
                        <a:pt x="1111" y="467"/>
                        <a:pt x="1117" y="467"/>
                      </a:cubicBezTo>
                      <a:cubicBezTo>
                        <a:pt x="1121" y="468"/>
                        <a:pt x="1115" y="473"/>
                        <a:pt x="1120" y="475"/>
                      </a:cubicBezTo>
                      <a:cubicBezTo>
                        <a:pt x="1119" y="475"/>
                        <a:pt x="1119" y="478"/>
                        <a:pt x="1118" y="479"/>
                      </a:cubicBezTo>
                      <a:cubicBezTo>
                        <a:pt x="1116" y="479"/>
                        <a:pt x="1114" y="477"/>
                        <a:pt x="1115" y="477"/>
                      </a:cubicBezTo>
                      <a:cubicBezTo>
                        <a:pt x="1113" y="478"/>
                        <a:pt x="1114" y="479"/>
                        <a:pt x="1113" y="480"/>
                      </a:cubicBezTo>
                      <a:cubicBezTo>
                        <a:pt x="1112" y="481"/>
                        <a:pt x="1109" y="480"/>
                        <a:pt x="1107" y="480"/>
                      </a:cubicBezTo>
                      <a:cubicBezTo>
                        <a:pt x="1103" y="482"/>
                        <a:pt x="1098" y="486"/>
                        <a:pt x="1094" y="482"/>
                      </a:cubicBezTo>
                      <a:cubicBezTo>
                        <a:pt x="1093" y="478"/>
                        <a:pt x="1096" y="477"/>
                        <a:pt x="1096" y="475"/>
                      </a:cubicBezTo>
                      <a:cubicBezTo>
                        <a:pt x="1097" y="471"/>
                        <a:pt x="1094" y="465"/>
                        <a:pt x="1098" y="464"/>
                      </a:cubicBezTo>
                      <a:cubicBezTo>
                        <a:pt x="1097" y="461"/>
                        <a:pt x="1092" y="462"/>
                        <a:pt x="1094" y="456"/>
                      </a:cubicBezTo>
                      <a:cubicBezTo>
                        <a:pt x="1090" y="454"/>
                        <a:pt x="1087" y="457"/>
                        <a:pt x="1083" y="452"/>
                      </a:cubicBezTo>
                      <a:cubicBezTo>
                        <a:pt x="1082" y="447"/>
                        <a:pt x="1089" y="450"/>
                        <a:pt x="1087" y="443"/>
                      </a:cubicBezTo>
                      <a:cubicBezTo>
                        <a:pt x="1086" y="441"/>
                        <a:pt x="1085" y="442"/>
                        <a:pt x="1085" y="443"/>
                      </a:cubicBezTo>
                      <a:cubicBezTo>
                        <a:pt x="1082" y="443"/>
                        <a:pt x="1082" y="441"/>
                        <a:pt x="1081" y="439"/>
                      </a:cubicBezTo>
                      <a:cubicBezTo>
                        <a:pt x="1080" y="438"/>
                        <a:pt x="1078" y="438"/>
                        <a:pt x="1077" y="436"/>
                      </a:cubicBezTo>
                      <a:cubicBezTo>
                        <a:pt x="1076" y="437"/>
                        <a:pt x="1074" y="438"/>
                        <a:pt x="1072" y="438"/>
                      </a:cubicBezTo>
                      <a:cubicBezTo>
                        <a:pt x="1070" y="438"/>
                        <a:pt x="1071" y="439"/>
                        <a:pt x="1072" y="439"/>
                      </a:cubicBezTo>
                      <a:cubicBezTo>
                        <a:pt x="1072" y="445"/>
                        <a:pt x="1067" y="435"/>
                        <a:pt x="1068" y="443"/>
                      </a:cubicBezTo>
                      <a:cubicBezTo>
                        <a:pt x="1063" y="439"/>
                        <a:pt x="1063" y="447"/>
                        <a:pt x="1057" y="443"/>
                      </a:cubicBezTo>
                      <a:cubicBezTo>
                        <a:pt x="1062" y="439"/>
                        <a:pt x="1057" y="436"/>
                        <a:pt x="1062" y="432"/>
                      </a:cubicBezTo>
                      <a:cubicBezTo>
                        <a:pt x="1066" y="430"/>
                        <a:pt x="1053" y="431"/>
                        <a:pt x="1053" y="434"/>
                      </a:cubicBezTo>
                      <a:cubicBezTo>
                        <a:pt x="1053" y="438"/>
                        <a:pt x="1050" y="432"/>
                        <a:pt x="1051" y="432"/>
                      </a:cubicBezTo>
                      <a:cubicBezTo>
                        <a:pt x="1048" y="433"/>
                        <a:pt x="1049" y="437"/>
                        <a:pt x="1046" y="438"/>
                      </a:cubicBezTo>
                      <a:cubicBezTo>
                        <a:pt x="1045" y="438"/>
                        <a:pt x="1041" y="440"/>
                        <a:pt x="1040" y="441"/>
                      </a:cubicBezTo>
                      <a:cubicBezTo>
                        <a:pt x="1039" y="442"/>
                        <a:pt x="1038" y="443"/>
                        <a:pt x="1038" y="445"/>
                      </a:cubicBezTo>
                      <a:cubicBezTo>
                        <a:pt x="1031" y="444"/>
                        <a:pt x="1033" y="444"/>
                        <a:pt x="1025" y="445"/>
                      </a:cubicBezTo>
                      <a:cubicBezTo>
                        <a:pt x="1027" y="445"/>
                        <a:pt x="1026" y="450"/>
                        <a:pt x="1027" y="451"/>
                      </a:cubicBezTo>
                      <a:cubicBezTo>
                        <a:pt x="1028" y="451"/>
                        <a:pt x="1031" y="450"/>
                        <a:pt x="1033" y="451"/>
                      </a:cubicBezTo>
                      <a:cubicBezTo>
                        <a:pt x="1033" y="451"/>
                        <a:pt x="1032" y="454"/>
                        <a:pt x="1033" y="454"/>
                      </a:cubicBezTo>
                      <a:cubicBezTo>
                        <a:pt x="1033" y="455"/>
                        <a:pt x="1037" y="454"/>
                        <a:pt x="1038" y="454"/>
                      </a:cubicBezTo>
                      <a:cubicBezTo>
                        <a:pt x="1039" y="455"/>
                        <a:pt x="1038" y="458"/>
                        <a:pt x="1038" y="458"/>
                      </a:cubicBezTo>
                      <a:cubicBezTo>
                        <a:pt x="1040" y="459"/>
                        <a:pt x="1043" y="458"/>
                        <a:pt x="1044" y="460"/>
                      </a:cubicBezTo>
                      <a:cubicBezTo>
                        <a:pt x="1046" y="459"/>
                        <a:pt x="1045" y="456"/>
                        <a:pt x="1048" y="456"/>
                      </a:cubicBezTo>
                      <a:cubicBezTo>
                        <a:pt x="1055" y="455"/>
                        <a:pt x="1061" y="457"/>
                        <a:pt x="1061" y="464"/>
                      </a:cubicBezTo>
                      <a:cubicBezTo>
                        <a:pt x="1058" y="466"/>
                        <a:pt x="1054" y="466"/>
                        <a:pt x="1051" y="464"/>
                      </a:cubicBezTo>
                      <a:cubicBezTo>
                        <a:pt x="1050" y="466"/>
                        <a:pt x="1049" y="469"/>
                        <a:pt x="1049" y="473"/>
                      </a:cubicBezTo>
                      <a:cubicBezTo>
                        <a:pt x="1046" y="472"/>
                        <a:pt x="1046" y="475"/>
                        <a:pt x="1048" y="475"/>
                      </a:cubicBezTo>
                      <a:cubicBezTo>
                        <a:pt x="1047" y="477"/>
                        <a:pt x="1043" y="476"/>
                        <a:pt x="1040" y="477"/>
                      </a:cubicBezTo>
                      <a:cubicBezTo>
                        <a:pt x="1043" y="483"/>
                        <a:pt x="1049" y="486"/>
                        <a:pt x="1049" y="495"/>
                      </a:cubicBezTo>
                      <a:cubicBezTo>
                        <a:pt x="1054" y="490"/>
                        <a:pt x="1051" y="494"/>
                        <a:pt x="1055" y="497"/>
                      </a:cubicBezTo>
                      <a:cubicBezTo>
                        <a:pt x="1054" y="504"/>
                        <a:pt x="1057" y="514"/>
                        <a:pt x="1053" y="518"/>
                      </a:cubicBezTo>
                      <a:cubicBezTo>
                        <a:pt x="1056" y="522"/>
                        <a:pt x="1058" y="528"/>
                        <a:pt x="1057" y="536"/>
                      </a:cubicBezTo>
                      <a:cubicBezTo>
                        <a:pt x="1051" y="532"/>
                        <a:pt x="1054" y="545"/>
                        <a:pt x="1051" y="542"/>
                      </a:cubicBezTo>
                      <a:cubicBezTo>
                        <a:pt x="1049" y="539"/>
                        <a:pt x="1051" y="542"/>
                        <a:pt x="1049" y="544"/>
                      </a:cubicBezTo>
                      <a:cubicBezTo>
                        <a:pt x="1048" y="545"/>
                        <a:pt x="1044" y="545"/>
                        <a:pt x="1046" y="551"/>
                      </a:cubicBezTo>
                      <a:cubicBezTo>
                        <a:pt x="1040" y="549"/>
                        <a:pt x="1044" y="557"/>
                        <a:pt x="1038" y="555"/>
                      </a:cubicBezTo>
                      <a:cubicBezTo>
                        <a:pt x="1043" y="559"/>
                        <a:pt x="1030" y="562"/>
                        <a:pt x="1033" y="564"/>
                      </a:cubicBezTo>
                      <a:cubicBezTo>
                        <a:pt x="1036" y="567"/>
                        <a:pt x="1032" y="565"/>
                        <a:pt x="1029" y="568"/>
                      </a:cubicBezTo>
                      <a:cubicBezTo>
                        <a:pt x="1028" y="569"/>
                        <a:pt x="1028" y="572"/>
                        <a:pt x="1027" y="574"/>
                      </a:cubicBezTo>
                      <a:cubicBezTo>
                        <a:pt x="1027" y="574"/>
                        <a:pt x="1024" y="573"/>
                        <a:pt x="1023" y="574"/>
                      </a:cubicBezTo>
                      <a:cubicBezTo>
                        <a:pt x="1023" y="574"/>
                        <a:pt x="1024" y="577"/>
                        <a:pt x="1023" y="577"/>
                      </a:cubicBezTo>
                      <a:cubicBezTo>
                        <a:pt x="1022" y="579"/>
                        <a:pt x="1016" y="576"/>
                        <a:pt x="1018" y="581"/>
                      </a:cubicBezTo>
                      <a:cubicBezTo>
                        <a:pt x="1006" y="582"/>
                        <a:pt x="1008" y="583"/>
                        <a:pt x="995" y="581"/>
                      </a:cubicBezTo>
                      <a:cubicBezTo>
                        <a:pt x="993" y="581"/>
                        <a:pt x="994" y="584"/>
                        <a:pt x="993" y="587"/>
                      </a:cubicBezTo>
                      <a:cubicBezTo>
                        <a:pt x="989" y="583"/>
                        <a:pt x="983" y="591"/>
                        <a:pt x="982" y="590"/>
                      </a:cubicBezTo>
                      <a:cubicBezTo>
                        <a:pt x="979" y="587"/>
                        <a:pt x="982" y="592"/>
                        <a:pt x="975" y="592"/>
                      </a:cubicBezTo>
                      <a:cubicBezTo>
                        <a:pt x="972" y="593"/>
                        <a:pt x="976" y="595"/>
                        <a:pt x="973" y="596"/>
                      </a:cubicBezTo>
                      <a:cubicBezTo>
                        <a:pt x="969" y="600"/>
                        <a:pt x="967" y="593"/>
                        <a:pt x="962" y="592"/>
                      </a:cubicBezTo>
                      <a:cubicBezTo>
                        <a:pt x="956" y="591"/>
                        <a:pt x="955" y="594"/>
                        <a:pt x="951" y="594"/>
                      </a:cubicBezTo>
                      <a:cubicBezTo>
                        <a:pt x="948" y="595"/>
                        <a:pt x="947" y="598"/>
                        <a:pt x="947" y="602"/>
                      </a:cubicBezTo>
                      <a:cubicBezTo>
                        <a:pt x="941" y="600"/>
                        <a:pt x="941" y="604"/>
                        <a:pt x="938" y="605"/>
                      </a:cubicBezTo>
                      <a:cubicBezTo>
                        <a:pt x="936" y="610"/>
                        <a:pt x="941" y="609"/>
                        <a:pt x="941" y="613"/>
                      </a:cubicBezTo>
                      <a:cubicBezTo>
                        <a:pt x="941" y="615"/>
                        <a:pt x="941" y="616"/>
                        <a:pt x="943" y="616"/>
                      </a:cubicBezTo>
                      <a:cubicBezTo>
                        <a:pt x="946" y="617"/>
                        <a:pt x="944" y="619"/>
                        <a:pt x="945" y="620"/>
                      </a:cubicBezTo>
                      <a:cubicBezTo>
                        <a:pt x="946" y="622"/>
                        <a:pt x="949" y="621"/>
                        <a:pt x="951" y="622"/>
                      </a:cubicBezTo>
                      <a:cubicBezTo>
                        <a:pt x="951" y="622"/>
                        <a:pt x="950" y="625"/>
                        <a:pt x="951" y="626"/>
                      </a:cubicBezTo>
                      <a:cubicBezTo>
                        <a:pt x="951" y="626"/>
                        <a:pt x="954" y="625"/>
                        <a:pt x="954" y="626"/>
                      </a:cubicBezTo>
                      <a:cubicBezTo>
                        <a:pt x="956" y="627"/>
                        <a:pt x="956" y="632"/>
                        <a:pt x="958" y="635"/>
                      </a:cubicBezTo>
                      <a:cubicBezTo>
                        <a:pt x="959" y="637"/>
                        <a:pt x="964" y="641"/>
                        <a:pt x="964" y="641"/>
                      </a:cubicBezTo>
                      <a:cubicBezTo>
                        <a:pt x="964" y="643"/>
                        <a:pt x="963" y="646"/>
                        <a:pt x="964" y="648"/>
                      </a:cubicBezTo>
                      <a:cubicBezTo>
                        <a:pt x="964" y="651"/>
                        <a:pt x="966" y="652"/>
                        <a:pt x="965" y="656"/>
                      </a:cubicBezTo>
                      <a:cubicBezTo>
                        <a:pt x="965" y="659"/>
                        <a:pt x="964" y="659"/>
                        <a:pt x="964" y="661"/>
                      </a:cubicBezTo>
                      <a:cubicBezTo>
                        <a:pt x="963" y="665"/>
                        <a:pt x="965" y="668"/>
                        <a:pt x="960" y="665"/>
                      </a:cubicBezTo>
                      <a:cubicBezTo>
                        <a:pt x="963" y="672"/>
                        <a:pt x="955" y="668"/>
                        <a:pt x="956" y="674"/>
                      </a:cubicBezTo>
                      <a:cubicBezTo>
                        <a:pt x="949" y="672"/>
                        <a:pt x="950" y="678"/>
                        <a:pt x="945" y="678"/>
                      </a:cubicBezTo>
                      <a:cubicBezTo>
                        <a:pt x="943" y="677"/>
                        <a:pt x="944" y="681"/>
                        <a:pt x="943" y="682"/>
                      </a:cubicBezTo>
                      <a:cubicBezTo>
                        <a:pt x="943" y="682"/>
                        <a:pt x="938" y="682"/>
                        <a:pt x="939" y="684"/>
                      </a:cubicBezTo>
                      <a:cubicBezTo>
                        <a:pt x="941" y="685"/>
                        <a:pt x="941" y="684"/>
                        <a:pt x="939" y="685"/>
                      </a:cubicBezTo>
                      <a:cubicBezTo>
                        <a:pt x="938" y="687"/>
                        <a:pt x="937" y="689"/>
                        <a:pt x="934" y="689"/>
                      </a:cubicBezTo>
                      <a:cubicBezTo>
                        <a:pt x="936" y="680"/>
                        <a:pt x="930" y="688"/>
                        <a:pt x="930" y="684"/>
                      </a:cubicBezTo>
                      <a:cubicBezTo>
                        <a:pt x="930" y="682"/>
                        <a:pt x="929" y="678"/>
                        <a:pt x="926" y="676"/>
                      </a:cubicBezTo>
                      <a:cubicBezTo>
                        <a:pt x="926" y="675"/>
                        <a:pt x="923" y="677"/>
                        <a:pt x="923" y="676"/>
                      </a:cubicBezTo>
                      <a:cubicBezTo>
                        <a:pt x="922" y="675"/>
                        <a:pt x="923" y="673"/>
                        <a:pt x="923" y="672"/>
                      </a:cubicBezTo>
                      <a:cubicBezTo>
                        <a:pt x="921" y="671"/>
                        <a:pt x="916" y="672"/>
                        <a:pt x="915" y="670"/>
                      </a:cubicBezTo>
                      <a:cubicBezTo>
                        <a:pt x="915" y="670"/>
                        <a:pt x="916" y="667"/>
                        <a:pt x="915" y="667"/>
                      </a:cubicBezTo>
                      <a:cubicBezTo>
                        <a:pt x="914" y="666"/>
                        <a:pt x="911" y="667"/>
                        <a:pt x="910" y="667"/>
                      </a:cubicBezTo>
                      <a:cubicBezTo>
                        <a:pt x="908" y="667"/>
                        <a:pt x="909" y="662"/>
                        <a:pt x="908" y="661"/>
                      </a:cubicBezTo>
                      <a:cubicBezTo>
                        <a:pt x="907" y="661"/>
                        <a:pt x="905" y="662"/>
                        <a:pt x="906" y="663"/>
                      </a:cubicBezTo>
                      <a:cubicBezTo>
                        <a:pt x="902" y="659"/>
                        <a:pt x="904" y="659"/>
                        <a:pt x="900" y="656"/>
                      </a:cubicBezTo>
                      <a:cubicBezTo>
                        <a:pt x="895" y="653"/>
                        <a:pt x="896" y="662"/>
                        <a:pt x="895" y="665"/>
                      </a:cubicBezTo>
                      <a:cubicBezTo>
                        <a:pt x="894" y="666"/>
                        <a:pt x="891" y="666"/>
                        <a:pt x="891" y="667"/>
                      </a:cubicBezTo>
                      <a:cubicBezTo>
                        <a:pt x="890" y="670"/>
                        <a:pt x="892" y="675"/>
                        <a:pt x="889" y="678"/>
                      </a:cubicBezTo>
                      <a:cubicBezTo>
                        <a:pt x="890" y="679"/>
                        <a:pt x="891" y="681"/>
                        <a:pt x="891" y="684"/>
                      </a:cubicBezTo>
                      <a:cubicBezTo>
                        <a:pt x="892" y="686"/>
                        <a:pt x="894" y="688"/>
                        <a:pt x="895" y="685"/>
                      </a:cubicBezTo>
                      <a:cubicBezTo>
                        <a:pt x="899" y="690"/>
                        <a:pt x="897" y="692"/>
                        <a:pt x="897" y="698"/>
                      </a:cubicBezTo>
                      <a:cubicBezTo>
                        <a:pt x="897" y="700"/>
                        <a:pt x="898" y="700"/>
                        <a:pt x="898" y="702"/>
                      </a:cubicBezTo>
                      <a:cubicBezTo>
                        <a:pt x="900" y="703"/>
                        <a:pt x="901" y="705"/>
                        <a:pt x="902" y="706"/>
                      </a:cubicBezTo>
                      <a:cubicBezTo>
                        <a:pt x="905" y="708"/>
                        <a:pt x="908" y="709"/>
                        <a:pt x="911" y="711"/>
                      </a:cubicBezTo>
                      <a:cubicBezTo>
                        <a:pt x="913" y="712"/>
                        <a:pt x="911" y="713"/>
                        <a:pt x="913" y="713"/>
                      </a:cubicBezTo>
                      <a:cubicBezTo>
                        <a:pt x="915" y="713"/>
                        <a:pt x="915" y="716"/>
                        <a:pt x="915" y="717"/>
                      </a:cubicBezTo>
                      <a:cubicBezTo>
                        <a:pt x="916" y="719"/>
                        <a:pt x="918" y="717"/>
                        <a:pt x="919" y="719"/>
                      </a:cubicBezTo>
                      <a:cubicBezTo>
                        <a:pt x="920" y="721"/>
                        <a:pt x="918" y="724"/>
                        <a:pt x="919" y="726"/>
                      </a:cubicBezTo>
                      <a:cubicBezTo>
                        <a:pt x="919" y="727"/>
                        <a:pt x="923" y="730"/>
                        <a:pt x="923" y="730"/>
                      </a:cubicBezTo>
                      <a:cubicBezTo>
                        <a:pt x="923" y="732"/>
                        <a:pt x="918" y="737"/>
                        <a:pt x="925" y="738"/>
                      </a:cubicBezTo>
                      <a:cubicBezTo>
                        <a:pt x="924" y="742"/>
                        <a:pt x="920" y="740"/>
                        <a:pt x="917" y="739"/>
                      </a:cubicBezTo>
                      <a:cubicBezTo>
                        <a:pt x="914" y="739"/>
                        <a:pt x="909" y="739"/>
                        <a:pt x="908" y="738"/>
                      </a:cubicBezTo>
                      <a:cubicBezTo>
                        <a:pt x="908" y="738"/>
                        <a:pt x="910" y="729"/>
                        <a:pt x="906" y="736"/>
                      </a:cubicBezTo>
                      <a:cubicBezTo>
                        <a:pt x="902" y="734"/>
                        <a:pt x="904" y="729"/>
                        <a:pt x="902" y="726"/>
                      </a:cubicBezTo>
                      <a:cubicBezTo>
                        <a:pt x="901" y="724"/>
                        <a:pt x="899" y="724"/>
                        <a:pt x="897" y="721"/>
                      </a:cubicBezTo>
                      <a:cubicBezTo>
                        <a:pt x="896" y="718"/>
                        <a:pt x="896" y="716"/>
                        <a:pt x="898" y="715"/>
                      </a:cubicBezTo>
                      <a:cubicBezTo>
                        <a:pt x="895" y="712"/>
                        <a:pt x="894" y="706"/>
                        <a:pt x="889" y="704"/>
                      </a:cubicBezTo>
                      <a:cubicBezTo>
                        <a:pt x="889" y="701"/>
                        <a:pt x="886" y="699"/>
                        <a:pt x="889" y="698"/>
                      </a:cubicBezTo>
                      <a:cubicBezTo>
                        <a:pt x="888" y="697"/>
                        <a:pt x="886" y="696"/>
                        <a:pt x="883" y="695"/>
                      </a:cubicBezTo>
                      <a:cubicBezTo>
                        <a:pt x="884" y="692"/>
                        <a:pt x="884" y="689"/>
                        <a:pt x="882" y="689"/>
                      </a:cubicBezTo>
                      <a:cubicBezTo>
                        <a:pt x="881" y="685"/>
                        <a:pt x="883" y="684"/>
                        <a:pt x="883" y="682"/>
                      </a:cubicBezTo>
                      <a:cubicBezTo>
                        <a:pt x="884" y="678"/>
                        <a:pt x="882" y="677"/>
                        <a:pt x="880" y="676"/>
                      </a:cubicBezTo>
                      <a:cubicBezTo>
                        <a:pt x="881" y="674"/>
                        <a:pt x="882" y="673"/>
                        <a:pt x="880" y="672"/>
                      </a:cubicBezTo>
                      <a:cubicBezTo>
                        <a:pt x="880" y="670"/>
                        <a:pt x="884" y="671"/>
                        <a:pt x="887" y="670"/>
                      </a:cubicBezTo>
                      <a:cubicBezTo>
                        <a:pt x="887" y="669"/>
                        <a:pt x="885" y="669"/>
                        <a:pt x="885" y="667"/>
                      </a:cubicBezTo>
                      <a:cubicBezTo>
                        <a:pt x="885" y="665"/>
                        <a:pt x="888" y="665"/>
                        <a:pt x="887" y="663"/>
                      </a:cubicBezTo>
                      <a:cubicBezTo>
                        <a:pt x="887" y="660"/>
                        <a:pt x="884" y="657"/>
                        <a:pt x="883" y="654"/>
                      </a:cubicBezTo>
                      <a:cubicBezTo>
                        <a:pt x="883" y="650"/>
                        <a:pt x="884" y="645"/>
                        <a:pt x="883" y="643"/>
                      </a:cubicBezTo>
                      <a:cubicBezTo>
                        <a:pt x="883" y="640"/>
                        <a:pt x="881" y="640"/>
                        <a:pt x="880" y="639"/>
                      </a:cubicBezTo>
                      <a:cubicBezTo>
                        <a:pt x="879" y="637"/>
                        <a:pt x="879" y="635"/>
                        <a:pt x="878" y="633"/>
                      </a:cubicBezTo>
                      <a:cubicBezTo>
                        <a:pt x="876" y="630"/>
                        <a:pt x="875" y="627"/>
                        <a:pt x="872" y="626"/>
                      </a:cubicBezTo>
                      <a:cubicBezTo>
                        <a:pt x="866" y="625"/>
                        <a:pt x="870" y="632"/>
                        <a:pt x="865" y="628"/>
                      </a:cubicBezTo>
                      <a:cubicBezTo>
                        <a:pt x="862" y="628"/>
                        <a:pt x="864" y="632"/>
                        <a:pt x="863" y="633"/>
                      </a:cubicBezTo>
                      <a:cubicBezTo>
                        <a:pt x="863" y="634"/>
                        <a:pt x="860" y="633"/>
                        <a:pt x="859" y="633"/>
                      </a:cubicBezTo>
                      <a:cubicBezTo>
                        <a:pt x="858" y="634"/>
                        <a:pt x="860" y="637"/>
                        <a:pt x="857" y="637"/>
                      </a:cubicBezTo>
                      <a:cubicBezTo>
                        <a:pt x="853" y="637"/>
                        <a:pt x="853" y="636"/>
                        <a:pt x="852" y="631"/>
                      </a:cubicBezTo>
                      <a:cubicBezTo>
                        <a:pt x="851" y="630"/>
                        <a:pt x="850" y="630"/>
                        <a:pt x="850" y="629"/>
                      </a:cubicBezTo>
                      <a:cubicBezTo>
                        <a:pt x="849" y="627"/>
                        <a:pt x="852" y="627"/>
                        <a:pt x="852" y="626"/>
                      </a:cubicBezTo>
                      <a:cubicBezTo>
                        <a:pt x="852" y="624"/>
                        <a:pt x="847" y="616"/>
                        <a:pt x="852" y="613"/>
                      </a:cubicBezTo>
                      <a:cubicBezTo>
                        <a:pt x="850" y="611"/>
                        <a:pt x="847" y="609"/>
                        <a:pt x="848" y="602"/>
                      </a:cubicBezTo>
                      <a:cubicBezTo>
                        <a:pt x="846" y="602"/>
                        <a:pt x="847" y="604"/>
                        <a:pt x="846" y="605"/>
                      </a:cubicBezTo>
                      <a:cubicBezTo>
                        <a:pt x="843" y="604"/>
                        <a:pt x="845" y="597"/>
                        <a:pt x="843" y="594"/>
                      </a:cubicBezTo>
                      <a:cubicBezTo>
                        <a:pt x="841" y="593"/>
                        <a:pt x="840" y="592"/>
                        <a:pt x="839" y="590"/>
                      </a:cubicBezTo>
                      <a:cubicBezTo>
                        <a:pt x="838" y="589"/>
                        <a:pt x="838" y="587"/>
                        <a:pt x="837" y="587"/>
                      </a:cubicBezTo>
                      <a:cubicBezTo>
                        <a:pt x="835" y="585"/>
                        <a:pt x="830" y="585"/>
                        <a:pt x="831" y="581"/>
                      </a:cubicBezTo>
                      <a:cubicBezTo>
                        <a:pt x="825" y="580"/>
                        <a:pt x="823" y="584"/>
                        <a:pt x="820" y="587"/>
                      </a:cubicBezTo>
                      <a:cubicBezTo>
                        <a:pt x="817" y="586"/>
                        <a:pt x="815" y="586"/>
                        <a:pt x="815" y="588"/>
                      </a:cubicBezTo>
                      <a:cubicBezTo>
                        <a:pt x="810" y="588"/>
                        <a:pt x="806" y="588"/>
                        <a:pt x="801" y="588"/>
                      </a:cubicBezTo>
                      <a:cubicBezTo>
                        <a:pt x="801" y="590"/>
                        <a:pt x="799" y="591"/>
                        <a:pt x="798" y="592"/>
                      </a:cubicBezTo>
                      <a:cubicBezTo>
                        <a:pt x="797" y="593"/>
                        <a:pt x="796" y="592"/>
                        <a:pt x="796" y="594"/>
                      </a:cubicBezTo>
                      <a:cubicBezTo>
                        <a:pt x="796" y="596"/>
                        <a:pt x="791" y="597"/>
                        <a:pt x="790" y="598"/>
                      </a:cubicBezTo>
                      <a:cubicBezTo>
                        <a:pt x="786" y="601"/>
                        <a:pt x="783" y="608"/>
                        <a:pt x="775" y="611"/>
                      </a:cubicBezTo>
                      <a:cubicBezTo>
                        <a:pt x="771" y="614"/>
                        <a:pt x="770" y="621"/>
                        <a:pt x="762" y="622"/>
                      </a:cubicBezTo>
                      <a:cubicBezTo>
                        <a:pt x="765" y="625"/>
                        <a:pt x="764" y="626"/>
                        <a:pt x="759" y="626"/>
                      </a:cubicBezTo>
                      <a:cubicBezTo>
                        <a:pt x="758" y="628"/>
                        <a:pt x="759" y="629"/>
                        <a:pt x="760" y="629"/>
                      </a:cubicBezTo>
                      <a:cubicBezTo>
                        <a:pt x="760" y="632"/>
                        <a:pt x="757" y="631"/>
                        <a:pt x="757" y="629"/>
                      </a:cubicBezTo>
                      <a:cubicBezTo>
                        <a:pt x="754" y="630"/>
                        <a:pt x="755" y="635"/>
                        <a:pt x="749" y="633"/>
                      </a:cubicBezTo>
                      <a:cubicBezTo>
                        <a:pt x="747" y="634"/>
                        <a:pt x="747" y="637"/>
                        <a:pt x="744" y="637"/>
                      </a:cubicBezTo>
                      <a:cubicBezTo>
                        <a:pt x="743" y="640"/>
                        <a:pt x="746" y="640"/>
                        <a:pt x="746" y="643"/>
                      </a:cubicBezTo>
                      <a:cubicBezTo>
                        <a:pt x="745" y="646"/>
                        <a:pt x="743" y="651"/>
                        <a:pt x="742" y="657"/>
                      </a:cubicBezTo>
                      <a:cubicBezTo>
                        <a:pt x="741" y="666"/>
                        <a:pt x="742" y="675"/>
                        <a:pt x="740" y="678"/>
                      </a:cubicBezTo>
                      <a:cubicBezTo>
                        <a:pt x="740" y="678"/>
                        <a:pt x="737" y="677"/>
                        <a:pt x="736" y="678"/>
                      </a:cubicBezTo>
                      <a:cubicBezTo>
                        <a:pt x="735" y="679"/>
                        <a:pt x="736" y="684"/>
                        <a:pt x="734" y="685"/>
                      </a:cubicBezTo>
                      <a:cubicBezTo>
                        <a:pt x="733" y="687"/>
                        <a:pt x="729" y="686"/>
                        <a:pt x="727" y="687"/>
                      </a:cubicBezTo>
                      <a:cubicBezTo>
                        <a:pt x="725" y="688"/>
                        <a:pt x="725" y="692"/>
                        <a:pt x="721" y="691"/>
                      </a:cubicBezTo>
                      <a:cubicBezTo>
                        <a:pt x="717" y="686"/>
                        <a:pt x="714" y="680"/>
                        <a:pt x="712" y="672"/>
                      </a:cubicBezTo>
                      <a:cubicBezTo>
                        <a:pt x="711" y="672"/>
                        <a:pt x="710" y="670"/>
                        <a:pt x="708" y="669"/>
                      </a:cubicBezTo>
                      <a:cubicBezTo>
                        <a:pt x="707" y="668"/>
                        <a:pt x="707" y="666"/>
                        <a:pt x="705" y="667"/>
                      </a:cubicBezTo>
                      <a:cubicBezTo>
                        <a:pt x="703" y="661"/>
                        <a:pt x="707" y="661"/>
                        <a:pt x="708" y="657"/>
                      </a:cubicBezTo>
                      <a:cubicBezTo>
                        <a:pt x="708" y="654"/>
                        <a:pt x="705" y="652"/>
                        <a:pt x="703" y="650"/>
                      </a:cubicBezTo>
                      <a:cubicBezTo>
                        <a:pt x="701" y="648"/>
                        <a:pt x="700" y="645"/>
                        <a:pt x="697" y="644"/>
                      </a:cubicBezTo>
                      <a:cubicBezTo>
                        <a:pt x="696" y="641"/>
                        <a:pt x="696" y="637"/>
                        <a:pt x="693" y="633"/>
                      </a:cubicBezTo>
                      <a:cubicBezTo>
                        <a:pt x="691" y="630"/>
                        <a:pt x="691" y="617"/>
                        <a:pt x="690" y="607"/>
                      </a:cubicBezTo>
                      <a:cubicBezTo>
                        <a:pt x="689" y="603"/>
                        <a:pt x="688" y="592"/>
                        <a:pt x="686" y="585"/>
                      </a:cubicBezTo>
                      <a:cubicBezTo>
                        <a:pt x="683" y="585"/>
                        <a:pt x="678" y="593"/>
                        <a:pt x="682" y="594"/>
                      </a:cubicBezTo>
                      <a:cubicBezTo>
                        <a:pt x="682" y="599"/>
                        <a:pt x="675" y="595"/>
                        <a:pt x="673" y="594"/>
                      </a:cubicBezTo>
                      <a:cubicBezTo>
                        <a:pt x="672" y="594"/>
                        <a:pt x="670" y="595"/>
                        <a:pt x="669" y="594"/>
                      </a:cubicBezTo>
                      <a:cubicBezTo>
                        <a:pt x="667" y="593"/>
                        <a:pt x="665" y="586"/>
                        <a:pt x="662" y="588"/>
                      </a:cubicBezTo>
                      <a:cubicBezTo>
                        <a:pt x="661" y="585"/>
                        <a:pt x="663" y="585"/>
                        <a:pt x="665" y="585"/>
                      </a:cubicBezTo>
                      <a:cubicBezTo>
                        <a:pt x="663" y="582"/>
                        <a:pt x="665" y="582"/>
                        <a:pt x="665" y="579"/>
                      </a:cubicBezTo>
                      <a:cubicBezTo>
                        <a:pt x="665" y="576"/>
                        <a:pt x="660" y="578"/>
                        <a:pt x="658" y="577"/>
                      </a:cubicBezTo>
                      <a:cubicBezTo>
                        <a:pt x="656" y="576"/>
                        <a:pt x="653" y="568"/>
                        <a:pt x="652" y="574"/>
                      </a:cubicBezTo>
                      <a:cubicBezTo>
                        <a:pt x="648" y="573"/>
                        <a:pt x="650" y="567"/>
                        <a:pt x="651" y="568"/>
                      </a:cubicBezTo>
                      <a:cubicBezTo>
                        <a:pt x="650" y="566"/>
                        <a:pt x="646" y="566"/>
                        <a:pt x="647" y="562"/>
                      </a:cubicBezTo>
                      <a:cubicBezTo>
                        <a:pt x="645" y="561"/>
                        <a:pt x="640" y="564"/>
                        <a:pt x="639" y="562"/>
                      </a:cubicBezTo>
                      <a:cubicBezTo>
                        <a:pt x="639" y="562"/>
                        <a:pt x="640" y="559"/>
                        <a:pt x="639" y="559"/>
                      </a:cubicBezTo>
                      <a:cubicBezTo>
                        <a:pt x="635" y="558"/>
                        <a:pt x="632" y="560"/>
                        <a:pt x="628" y="560"/>
                      </a:cubicBezTo>
                      <a:cubicBezTo>
                        <a:pt x="627" y="561"/>
                        <a:pt x="625" y="561"/>
                        <a:pt x="624" y="560"/>
                      </a:cubicBezTo>
                      <a:cubicBezTo>
                        <a:pt x="622" y="560"/>
                        <a:pt x="621" y="558"/>
                        <a:pt x="621" y="562"/>
                      </a:cubicBezTo>
                      <a:cubicBezTo>
                        <a:pt x="603" y="564"/>
                        <a:pt x="589" y="561"/>
                        <a:pt x="576" y="559"/>
                      </a:cubicBezTo>
                      <a:cubicBezTo>
                        <a:pt x="577" y="555"/>
                        <a:pt x="572" y="556"/>
                        <a:pt x="572" y="553"/>
                      </a:cubicBezTo>
                      <a:cubicBezTo>
                        <a:pt x="572" y="549"/>
                        <a:pt x="564" y="557"/>
                        <a:pt x="569" y="549"/>
                      </a:cubicBezTo>
                      <a:cubicBezTo>
                        <a:pt x="566" y="550"/>
                        <a:pt x="565" y="549"/>
                        <a:pt x="565" y="547"/>
                      </a:cubicBezTo>
                      <a:cubicBezTo>
                        <a:pt x="560" y="550"/>
                        <a:pt x="546" y="547"/>
                        <a:pt x="541" y="546"/>
                      </a:cubicBezTo>
                      <a:cubicBezTo>
                        <a:pt x="538" y="545"/>
                        <a:pt x="537" y="545"/>
                        <a:pt x="537" y="542"/>
                      </a:cubicBezTo>
                      <a:cubicBezTo>
                        <a:pt x="529" y="544"/>
                        <a:pt x="531" y="536"/>
                        <a:pt x="524" y="536"/>
                      </a:cubicBezTo>
                      <a:cubicBezTo>
                        <a:pt x="523" y="529"/>
                        <a:pt x="519" y="525"/>
                        <a:pt x="516" y="520"/>
                      </a:cubicBezTo>
                      <a:cubicBezTo>
                        <a:pt x="500" y="517"/>
                        <a:pt x="500" y="525"/>
                        <a:pt x="501" y="534"/>
                      </a:cubicBezTo>
                      <a:cubicBezTo>
                        <a:pt x="502" y="537"/>
                        <a:pt x="509" y="541"/>
                        <a:pt x="514" y="547"/>
                      </a:cubicBezTo>
                      <a:cubicBezTo>
                        <a:pt x="516" y="549"/>
                        <a:pt x="519" y="559"/>
                        <a:pt x="524" y="557"/>
                      </a:cubicBezTo>
                      <a:cubicBezTo>
                        <a:pt x="523" y="561"/>
                        <a:pt x="527" y="561"/>
                        <a:pt x="526" y="566"/>
                      </a:cubicBezTo>
                      <a:cubicBezTo>
                        <a:pt x="530" y="566"/>
                        <a:pt x="540" y="564"/>
                        <a:pt x="535" y="570"/>
                      </a:cubicBezTo>
                      <a:cubicBezTo>
                        <a:pt x="539" y="572"/>
                        <a:pt x="537" y="567"/>
                        <a:pt x="539" y="566"/>
                      </a:cubicBezTo>
                      <a:cubicBezTo>
                        <a:pt x="540" y="565"/>
                        <a:pt x="546" y="566"/>
                        <a:pt x="546" y="562"/>
                      </a:cubicBezTo>
                      <a:cubicBezTo>
                        <a:pt x="546" y="561"/>
                        <a:pt x="548" y="561"/>
                        <a:pt x="550" y="560"/>
                      </a:cubicBezTo>
                      <a:cubicBezTo>
                        <a:pt x="552" y="560"/>
                        <a:pt x="550" y="558"/>
                        <a:pt x="552" y="557"/>
                      </a:cubicBezTo>
                      <a:cubicBezTo>
                        <a:pt x="555" y="555"/>
                        <a:pt x="559" y="556"/>
                        <a:pt x="563" y="555"/>
                      </a:cubicBezTo>
                      <a:cubicBezTo>
                        <a:pt x="563" y="556"/>
                        <a:pt x="560" y="558"/>
                        <a:pt x="561" y="559"/>
                      </a:cubicBezTo>
                      <a:cubicBezTo>
                        <a:pt x="561" y="559"/>
                        <a:pt x="565" y="558"/>
                        <a:pt x="565" y="559"/>
                      </a:cubicBezTo>
                      <a:cubicBezTo>
                        <a:pt x="566" y="562"/>
                        <a:pt x="564" y="564"/>
                        <a:pt x="567" y="566"/>
                      </a:cubicBezTo>
                      <a:cubicBezTo>
                        <a:pt x="566" y="570"/>
                        <a:pt x="572" y="568"/>
                        <a:pt x="572" y="572"/>
                      </a:cubicBezTo>
                      <a:cubicBezTo>
                        <a:pt x="572" y="576"/>
                        <a:pt x="576" y="573"/>
                        <a:pt x="580" y="575"/>
                      </a:cubicBezTo>
                      <a:cubicBezTo>
                        <a:pt x="582" y="577"/>
                        <a:pt x="581" y="580"/>
                        <a:pt x="585" y="581"/>
                      </a:cubicBezTo>
                      <a:cubicBezTo>
                        <a:pt x="581" y="585"/>
                        <a:pt x="586" y="590"/>
                        <a:pt x="585" y="596"/>
                      </a:cubicBezTo>
                      <a:cubicBezTo>
                        <a:pt x="583" y="596"/>
                        <a:pt x="582" y="596"/>
                        <a:pt x="580" y="596"/>
                      </a:cubicBezTo>
                      <a:cubicBezTo>
                        <a:pt x="582" y="603"/>
                        <a:pt x="575" y="601"/>
                        <a:pt x="576" y="607"/>
                      </a:cubicBezTo>
                      <a:cubicBezTo>
                        <a:pt x="572" y="606"/>
                        <a:pt x="570" y="607"/>
                        <a:pt x="570" y="611"/>
                      </a:cubicBezTo>
                      <a:cubicBezTo>
                        <a:pt x="568" y="611"/>
                        <a:pt x="565" y="611"/>
                        <a:pt x="563" y="611"/>
                      </a:cubicBezTo>
                      <a:cubicBezTo>
                        <a:pt x="560" y="611"/>
                        <a:pt x="562" y="615"/>
                        <a:pt x="561" y="616"/>
                      </a:cubicBezTo>
                      <a:cubicBezTo>
                        <a:pt x="561" y="617"/>
                        <a:pt x="558" y="616"/>
                        <a:pt x="557" y="616"/>
                      </a:cubicBezTo>
                      <a:cubicBezTo>
                        <a:pt x="556" y="617"/>
                        <a:pt x="558" y="621"/>
                        <a:pt x="557" y="622"/>
                      </a:cubicBezTo>
                      <a:cubicBezTo>
                        <a:pt x="554" y="621"/>
                        <a:pt x="552" y="622"/>
                        <a:pt x="552" y="626"/>
                      </a:cubicBezTo>
                      <a:cubicBezTo>
                        <a:pt x="548" y="625"/>
                        <a:pt x="546" y="626"/>
                        <a:pt x="544" y="628"/>
                      </a:cubicBezTo>
                      <a:cubicBezTo>
                        <a:pt x="541" y="629"/>
                        <a:pt x="542" y="630"/>
                        <a:pt x="537" y="631"/>
                      </a:cubicBezTo>
                      <a:cubicBezTo>
                        <a:pt x="535" y="632"/>
                        <a:pt x="526" y="635"/>
                        <a:pt x="526" y="641"/>
                      </a:cubicBezTo>
                      <a:cubicBezTo>
                        <a:pt x="523" y="641"/>
                        <a:pt x="520" y="640"/>
                        <a:pt x="518" y="641"/>
                      </a:cubicBezTo>
                      <a:cubicBezTo>
                        <a:pt x="516" y="642"/>
                        <a:pt x="518" y="643"/>
                        <a:pt x="516" y="644"/>
                      </a:cubicBezTo>
                      <a:cubicBezTo>
                        <a:pt x="516" y="645"/>
                        <a:pt x="513" y="644"/>
                        <a:pt x="513" y="644"/>
                      </a:cubicBezTo>
                      <a:cubicBezTo>
                        <a:pt x="513" y="644"/>
                        <a:pt x="507" y="646"/>
                        <a:pt x="507" y="646"/>
                      </a:cubicBezTo>
                      <a:cubicBezTo>
                        <a:pt x="504" y="650"/>
                        <a:pt x="489" y="648"/>
                        <a:pt x="483" y="652"/>
                      </a:cubicBezTo>
                      <a:cubicBezTo>
                        <a:pt x="477" y="653"/>
                        <a:pt x="488" y="655"/>
                        <a:pt x="479" y="656"/>
                      </a:cubicBezTo>
                      <a:cubicBezTo>
                        <a:pt x="478" y="656"/>
                        <a:pt x="476" y="655"/>
                        <a:pt x="475" y="656"/>
                      </a:cubicBezTo>
                      <a:cubicBezTo>
                        <a:pt x="473" y="656"/>
                        <a:pt x="474" y="660"/>
                        <a:pt x="470" y="659"/>
                      </a:cubicBezTo>
                      <a:cubicBezTo>
                        <a:pt x="472" y="655"/>
                        <a:pt x="467" y="657"/>
                        <a:pt x="466" y="656"/>
                      </a:cubicBezTo>
                      <a:cubicBezTo>
                        <a:pt x="465" y="653"/>
                        <a:pt x="467" y="648"/>
                        <a:pt x="462" y="648"/>
                      </a:cubicBezTo>
                      <a:cubicBezTo>
                        <a:pt x="462" y="645"/>
                        <a:pt x="464" y="645"/>
                        <a:pt x="464" y="643"/>
                      </a:cubicBezTo>
                      <a:cubicBezTo>
                        <a:pt x="463" y="641"/>
                        <a:pt x="459" y="640"/>
                        <a:pt x="462" y="639"/>
                      </a:cubicBezTo>
                      <a:cubicBezTo>
                        <a:pt x="461" y="637"/>
                        <a:pt x="460" y="635"/>
                        <a:pt x="457" y="635"/>
                      </a:cubicBezTo>
                      <a:cubicBezTo>
                        <a:pt x="459" y="630"/>
                        <a:pt x="453" y="624"/>
                        <a:pt x="457" y="624"/>
                      </a:cubicBezTo>
                      <a:cubicBezTo>
                        <a:pt x="457" y="622"/>
                        <a:pt x="454" y="623"/>
                        <a:pt x="453" y="622"/>
                      </a:cubicBezTo>
                      <a:cubicBezTo>
                        <a:pt x="451" y="620"/>
                        <a:pt x="452" y="615"/>
                        <a:pt x="453" y="616"/>
                      </a:cubicBezTo>
                      <a:cubicBezTo>
                        <a:pt x="452" y="615"/>
                        <a:pt x="450" y="613"/>
                        <a:pt x="449" y="613"/>
                      </a:cubicBezTo>
                      <a:cubicBezTo>
                        <a:pt x="448" y="612"/>
                        <a:pt x="449" y="611"/>
                        <a:pt x="447" y="611"/>
                      </a:cubicBezTo>
                      <a:cubicBezTo>
                        <a:pt x="446" y="611"/>
                        <a:pt x="444" y="604"/>
                        <a:pt x="444" y="605"/>
                      </a:cubicBezTo>
                      <a:cubicBezTo>
                        <a:pt x="444" y="605"/>
                        <a:pt x="444" y="607"/>
                        <a:pt x="444" y="607"/>
                      </a:cubicBezTo>
                      <a:cubicBezTo>
                        <a:pt x="440" y="604"/>
                        <a:pt x="440" y="598"/>
                        <a:pt x="434" y="598"/>
                      </a:cubicBezTo>
                      <a:cubicBezTo>
                        <a:pt x="439" y="590"/>
                        <a:pt x="430" y="588"/>
                        <a:pt x="431" y="579"/>
                      </a:cubicBezTo>
                      <a:cubicBezTo>
                        <a:pt x="430" y="577"/>
                        <a:pt x="427" y="578"/>
                        <a:pt x="427" y="575"/>
                      </a:cubicBezTo>
                      <a:cubicBezTo>
                        <a:pt x="427" y="572"/>
                        <a:pt x="421" y="574"/>
                        <a:pt x="419" y="572"/>
                      </a:cubicBezTo>
                      <a:cubicBezTo>
                        <a:pt x="421" y="569"/>
                        <a:pt x="421" y="568"/>
                        <a:pt x="418" y="568"/>
                      </a:cubicBezTo>
                      <a:cubicBezTo>
                        <a:pt x="420" y="565"/>
                        <a:pt x="419" y="564"/>
                        <a:pt x="418" y="559"/>
                      </a:cubicBezTo>
                      <a:cubicBezTo>
                        <a:pt x="417" y="558"/>
                        <a:pt x="418" y="555"/>
                        <a:pt x="418" y="555"/>
                      </a:cubicBezTo>
                      <a:cubicBezTo>
                        <a:pt x="417" y="555"/>
                        <a:pt x="416" y="555"/>
                        <a:pt x="416" y="555"/>
                      </a:cubicBezTo>
                      <a:cubicBezTo>
                        <a:pt x="415" y="550"/>
                        <a:pt x="419" y="552"/>
                        <a:pt x="416" y="547"/>
                      </a:cubicBezTo>
                      <a:cubicBezTo>
                        <a:pt x="414" y="545"/>
                        <a:pt x="412" y="557"/>
                        <a:pt x="412" y="547"/>
                      </a:cubicBezTo>
                      <a:cubicBezTo>
                        <a:pt x="412" y="540"/>
                        <a:pt x="406" y="536"/>
                        <a:pt x="399" y="529"/>
                      </a:cubicBezTo>
                      <a:cubicBezTo>
                        <a:pt x="394" y="533"/>
                        <a:pt x="398" y="534"/>
                        <a:pt x="395" y="540"/>
                      </a:cubicBezTo>
                      <a:cubicBezTo>
                        <a:pt x="391" y="541"/>
                        <a:pt x="392" y="536"/>
                        <a:pt x="390" y="536"/>
                      </a:cubicBezTo>
                      <a:cubicBezTo>
                        <a:pt x="387" y="537"/>
                        <a:pt x="386" y="535"/>
                        <a:pt x="384" y="534"/>
                      </a:cubicBezTo>
                      <a:cubicBezTo>
                        <a:pt x="388" y="537"/>
                        <a:pt x="385" y="546"/>
                        <a:pt x="391" y="546"/>
                      </a:cubicBezTo>
                      <a:cubicBezTo>
                        <a:pt x="389" y="550"/>
                        <a:pt x="392" y="555"/>
                        <a:pt x="395" y="562"/>
                      </a:cubicBezTo>
                      <a:cubicBezTo>
                        <a:pt x="395" y="563"/>
                        <a:pt x="395" y="566"/>
                        <a:pt x="395" y="566"/>
                      </a:cubicBezTo>
                      <a:cubicBezTo>
                        <a:pt x="398" y="568"/>
                        <a:pt x="399" y="577"/>
                        <a:pt x="401" y="581"/>
                      </a:cubicBezTo>
                      <a:cubicBezTo>
                        <a:pt x="403" y="581"/>
                        <a:pt x="406" y="581"/>
                        <a:pt x="408" y="581"/>
                      </a:cubicBezTo>
                      <a:cubicBezTo>
                        <a:pt x="407" y="583"/>
                        <a:pt x="406" y="584"/>
                        <a:pt x="406" y="587"/>
                      </a:cubicBezTo>
                      <a:cubicBezTo>
                        <a:pt x="409" y="587"/>
                        <a:pt x="410" y="586"/>
                        <a:pt x="410" y="585"/>
                      </a:cubicBezTo>
                      <a:cubicBezTo>
                        <a:pt x="414" y="587"/>
                        <a:pt x="412" y="590"/>
                        <a:pt x="414" y="594"/>
                      </a:cubicBezTo>
                      <a:cubicBezTo>
                        <a:pt x="414" y="595"/>
                        <a:pt x="417" y="595"/>
                        <a:pt x="418" y="596"/>
                      </a:cubicBezTo>
                      <a:cubicBezTo>
                        <a:pt x="418" y="597"/>
                        <a:pt x="417" y="599"/>
                        <a:pt x="418" y="600"/>
                      </a:cubicBezTo>
                      <a:cubicBezTo>
                        <a:pt x="418" y="600"/>
                        <a:pt x="419" y="599"/>
                        <a:pt x="419" y="600"/>
                      </a:cubicBezTo>
                      <a:cubicBezTo>
                        <a:pt x="420" y="602"/>
                        <a:pt x="418" y="603"/>
                        <a:pt x="418" y="603"/>
                      </a:cubicBezTo>
                      <a:cubicBezTo>
                        <a:pt x="418" y="606"/>
                        <a:pt x="420" y="606"/>
                        <a:pt x="421" y="607"/>
                      </a:cubicBezTo>
                      <a:cubicBezTo>
                        <a:pt x="422" y="608"/>
                        <a:pt x="421" y="610"/>
                        <a:pt x="421" y="611"/>
                      </a:cubicBezTo>
                      <a:cubicBezTo>
                        <a:pt x="421" y="611"/>
                        <a:pt x="423" y="611"/>
                        <a:pt x="423" y="611"/>
                      </a:cubicBezTo>
                      <a:cubicBezTo>
                        <a:pt x="424" y="613"/>
                        <a:pt x="421" y="620"/>
                        <a:pt x="427" y="618"/>
                      </a:cubicBezTo>
                      <a:cubicBezTo>
                        <a:pt x="427" y="622"/>
                        <a:pt x="427" y="626"/>
                        <a:pt x="429" y="629"/>
                      </a:cubicBezTo>
                      <a:cubicBezTo>
                        <a:pt x="429" y="631"/>
                        <a:pt x="432" y="632"/>
                        <a:pt x="432" y="633"/>
                      </a:cubicBezTo>
                      <a:cubicBezTo>
                        <a:pt x="433" y="635"/>
                        <a:pt x="433" y="637"/>
                        <a:pt x="434" y="639"/>
                      </a:cubicBezTo>
                      <a:cubicBezTo>
                        <a:pt x="435" y="640"/>
                        <a:pt x="437" y="640"/>
                        <a:pt x="438" y="641"/>
                      </a:cubicBezTo>
                      <a:cubicBezTo>
                        <a:pt x="440" y="643"/>
                        <a:pt x="436" y="646"/>
                        <a:pt x="440" y="646"/>
                      </a:cubicBezTo>
                      <a:cubicBezTo>
                        <a:pt x="442" y="646"/>
                        <a:pt x="441" y="651"/>
                        <a:pt x="442" y="654"/>
                      </a:cubicBezTo>
                      <a:cubicBezTo>
                        <a:pt x="449" y="650"/>
                        <a:pt x="447" y="657"/>
                        <a:pt x="457" y="656"/>
                      </a:cubicBezTo>
                      <a:cubicBezTo>
                        <a:pt x="457" y="661"/>
                        <a:pt x="460" y="663"/>
                        <a:pt x="460" y="669"/>
                      </a:cubicBezTo>
                      <a:cubicBezTo>
                        <a:pt x="467" y="679"/>
                        <a:pt x="489" y="676"/>
                        <a:pt x="503" y="674"/>
                      </a:cubicBezTo>
                      <a:cubicBezTo>
                        <a:pt x="505" y="675"/>
                        <a:pt x="504" y="671"/>
                        <a:pt x="505" y="670"/>
                      </a:cubicBezTo>
                      <a:cubicBezTo>
                        <a:pt x="509" y="669"/>
                        <a:pt x="518" y="674"/>
                        <a:pt x="516" y="667"/>
                      </a:cubicBezTo>
                      <a:cubicBezTo>
                        <a:pt x="520" y="669"/>
                        <a:pt x="520" y="672"/>
                        <a:pt x="518" y="676"/>
                      </a:cubicBezTo>
                      <a:cubicBezTo>
                        <a:pt x="518" y="677"/>
                        <a:pt x="516" y="678"/>
                        <a:pt x="516" y="678"/>
                      </a:cubicBezTo>
                      <a:cubicBezTo>
                        <a:pt x="516" y="681"/>
                        <a:pt x="517" y="686"/>
                        <a:pt x="516" y="689"/>
                      </a:cubicBezTo>
                      <a:cubicBezTo>
                        <a:pt x="516" y="690"/>
                        <a:pt x="513" y="689"/>
                        <a:pt x="513" y="689"/>
                      </a:cubicBezTo>
                      <a:cubicBezTo>
                        <a:pt x="512" y="690"/>
                        <a:pt x="512" y="698"/>
                        <a:pt x="511" y="700"/>
                      </a:cubicBezTo>
                      <a:cubicBezTo>
                        <a:pt x="510" y="702"/>
                        <a:pt x="505" y="703"/>
                        <a:pt x="507" y="710"/>
                      </a:cubicBezTo>
                      <a:cubicBezTo>
                        <a:pt x="501" y="710"/>
                        <a:pt x="505" y="720"/>
                        <a:pt x="498" y="719"/>
                      </a:cubicBezTo>
                      <a:cubicBezTo>
                        <a:pt x="499" y="725"/>
                        <a:pt x="496" y="726"/>
                        <a:pt x="496" y="730"/>
                      </a:cubicBezTo>
                      <a:cubicBezTo>
                        <a:pt x="489" y="728"/>
                        <a:pt x="493" y="737"/>
                        <a:pt x="486" y="736"/>
                      </a:cubicBezTo>
                      <a:cubicBezTo>
                        <a:pt x="486" y="738"/>
                        <a:pt x="486" y="739"/>
                        <a:pt x="486" y="741"/>
                      </a:cubicBezTo>
                      <a:cubicBezTo>
                        <a:pt x="485" y="741"/>
                        <a:pt x="484" y="739"/>
                        <a:pt x="483" y="739"/>
                      </a:cubicBezTo>
                      <a:cubicBezTo>
                        <a:pt x="479" y="741"/>
                        <a:pt x="481" y="743"/>
                        <a:pt x="475" y="745"/>
                      </a:cubicBezTo>
                      <a:cubicBezTo>
                        <a:pt x="475" y="745"/>
                        <a:pt x="470" y="747"/>
                        <a:pt x="470" y="747"/>
                      </a:cubicBezTo>
                      <a:cubicBezTo>
                        <a:pt x="470" y="747"/>
                        <a:pt x="470" y="749"/>
                        <a:pt x="470" y="749"/>
                      </a:cubicBezTo>
                      <a:cubicBezTo>
                        <a:pt x="468" y="750"/>
                        <a:pt x="464" y="751"/>
                        <a:pt x="462" y="753"/>
                      </a:cubicBezTo>
                      <a:cubicBezTo>
                        <a:pt x="458" y="756"/>
                        <a:pt x="456" y="762"/>
                        <a:pt x="449" y="762"/>
                      </a:cubicBezTo>
                      <a:cubicBezTo>
                        <a:pt x="451" y="767"/>
                        <a:pt x="447" y="767"/>
                        <a:pt x="447" y="771"/>
                      </a:cubicBezTo>
                      <a:cubicBezTo>
                        <a:pt x="445" y="773"/>
                        <a:pt x="444" y="772"/>
                        <a:pt x="442" y="771"/>
                      </a:cubicBezTo>
                      <a:cubicBezTo>
                        <a:pt x="443" y="773"/>
                        <a:pt x="439" y="776"/>
                        <a:pt x="440" y="777"/>
                      </a:cubicBezTo>
                      <a:cubicBezTo>
                        <a:pt x="444" y="780"/>
                        <a:pt x="438" y="777"/>
                        <a:pt x="438" y="782"/>
                      </a:cubicBezTo>
                      <a:cubicBezTo>
                        <a:pt x="438" y="785"/>
                        <a:pt x="435" y="783"/>
                        <a:pt x="434" y="784"/>
                      </a:cubicBezTo>
                      <a:cubicBezTo>
                        <a:pt x="434" y="785"/>
                        <a:pt x="435" y="787"/>
                        <a:pt x="434" y="788"/>
                      </a:cubicBezTo>
                      <a:cubicBezTo>
                        <a:pt x="434" y="790"/>
                        <a:pt x="430" y="804"/>
                        <a:pt x="431" y="808"/>
                      </a:cubicBezTo>
                      <a:cubicBezTo>
                        <a:pt x="431" y="812"/>
                        <a:pt x="432" y="813"/>
                        <a:pt x="434" y="816"/>
                      </a:cubicBezTo>
                      <a:cubicBezTo>
                        <a:pt x="435" y="821"/>
                        <a:pt x="434" y="823"/>
                        <a:pt x="434" y="827"/>
                      </a:cubicBezTo>
                      <a:cubicBezTo>
                        <a:pt x="434" y="828"/>
                        <a:pt x="436" y="834"/>
                        <a:pt x="438" y="835"/>
                      </a:cubicBezTo>
                      <a:cubicBezTo>
                        <a:pt x="443" y="835"/>
                        <a:pt x="432" y="843"/>
                        <a:pt x="442" y="844"/>
                      </a:cubicBezTo>
                      <a:cubicBezTo>
                        <a:pt x="441" y="853"/>
                        <a:pt x="443" y="860"/>
                        <a:pt x="442" y="868"/>
                      </a:cubicBezTo>
                      <a:cubicBezTo>
                        <a:pt x="441" y="873"/>
                        <a:pt x="436" y="878"/>
                        <a:pt x="436" y="883"/>
                      </a:cubicBezTo>
                      <a:cubicBezTo>
                        <a:pt x="432" y="883"/>
                        <a:pt x="425" y="888"/>
                        <a:pt x="423" y="890"/>
                      </a:cubicBezTo>
                      <a:cubicBezTo>
                        <a:pt x="422" y="892"/>
                        <a:pt x="421" y="892"/>
                        <a:pt x="423" y="892"/>
                      </a:cubicBezTo>
                      <a:cubicBezTo>
                        <a:pt x="423" y="895"/>
                        <a:pt x="419" y="893"/>
                        <a:pt x="418" y="894"/>
                      </a:cubicBezTo>
                      <a:cubicBezTo>
                        <a:pt x="416" y="895"/>
                        <a:pt x="417" y="897"/>
                        <a:pt x="416" y="898"/>
                      </a:cubicBezTo>
                      <a:cubicBezTo>
                        <a:pt x="415" y="898"/>
                        <a:pt x="412" y="894"/>
                        <a:pt x="412" y="898"/>
                      </a:cubicBezTo>
                      <a:cubicBezTo>
                        <a:pt x="412" y="900"/>
                        <a:pt x="410" y="899"/>
                        <a:pt x="408" y="900"/>
                      </a:cubicBezTo>
                      <a:cubicBezTo>
                        <a:pt x="406" y="901"/>
                        <a:pt x="406" y="906"/>
                        <a:pt x="401" y="905"/>
                      </a:cubicBezTo>
                      <a:cubicBezTo>
                        <a:pt x="398" y="916"/>
                        <a:pt x="401" y="931"/>
                        <a:pt x="403" y="946"/>
                      </a:cubicBezTo>
                      <a:cubicBezTo>
                        <a:pt x="401" y="948"/>
                        <a:pt x="399" y="949"/>
                        <a:pt x="399" y="946"/>
                      </a:cubicBezTo>
                      <a:cubicBezTo>
                        <a:pt x="397" y="946"/>
                        <a:pt x="398" y="949"/>
                        <a:pt x="397" y="950"/>
                      </a:cubicBezTo>
                      <a:cubicBezTo>
                        <a:pt x="395" y="952"/>
                        <a:pt x="392" y="949"/>
                        <a:pt x="391" y="952"/>
                      </a:cubicBezTo>
                      <a:cubicBezTo>
                        <a:pt x="391" y="955"/>
                        <a:pt x="384" y="954"/>
                        <a:pt x="382" y="958"/>
                      </a:cubicBezTo>
                      <a:cubicBezTo>
                        <a:pt x="382" y="961"/>
                        <a:pt x="382" y="965"/>
                        <a:pt x="382" y="969"/>
                      </a:cubicBezTo>
                      <a:cubicBezTo>
                        <a:pt x="378" y="969"/>
                        <a:pt x="380" y="975"/>
                        <a:pt x="378" y="978"/>
                      </a:cubicBezTo>
                      <a:cubicBezTo>
                        <a:pt x="378" y="979"/>
                        <a:pt x="375" y="979"/>
                        <a:pt x="375" y="980"/>
                      </a:cubicBezTo>
                      <a:cubicBezTo>
                        <a:pt x="373" y="983"/>
                        <a:pt x="374" y="987"/>
                        <a:pt x="371" y="989"/>
                      </a:cubicBezTo>
                      <a:cubicBezTo>
                        <a:pt x="370" y="990"/>
                        <a:pt x="371" y="992"/>
                        <a:pt x="371" y="993"/>
                      </a:cubicBezTo>
                      <a:cubicBezTo>
                        <a:pt x="371" y="993"/>
                        <a:pt x="368" y="992"/>
                        <a:pt x="367" y="993"/>
                      </a:cubicBezTo>
                      <a:cubicBezTo>
                        <a:pt x="367" y="994"/>
                        <a:pt x="368" y="997"/>
                        <a:pt x="367" y="999"/>
                      </a:cubicBezTo>
                      <a:cubicBezTo>
                        <a:pt x="367" y="999"/>
                        <a:pt x="364" y="998"/>
                        <a:pt x="363" y="999"/>
                      </a:cubicBezTo>
                      <a:cubicBezTo>
                        <a:pt x="363" y="999"/>
                        <a:pt x="364" y="1002"/>
                        <a:pt x="363" y="1002"/>
                      </a:cubicBezTo>
                      <a:cubicBezTo>
                        <a:pt x="363" y="1003"/>
                        <a:pt x="360" y="1002"/>
                        <a:pt x="360" y="1002"/>
                      </a:cubicBezTo>
                      <a:cubicBezTo>
                        <a:pt x="359" y="1003"/>
                        <a:pt x="356" y="1006"/>
                        <a:pt x="356" y="1008"/>
                      </a:cubicBezTo>
                      <a:cubicBezTo>
                        <a:pt x="356" y="1010"/>
                        <a:pt x="354" y="1009"/>
                        <a:pt x="352" y="1010"/>
                      </a:cubicBezTo>
                      <a:cubicBezTo>
                        <a:pt x="352" y="1010"/>
                        <a:pt x="353" y="1013"/>
                        <a:pt x="352" y="1013"/>
                      </a:cubicBezTo>
                      <a:cubicBezTo>
                        <a:pt x="352" y="1014"/>
                        <a:pt x="349" y="1013"/>
                        <a:pt x="349" y="1013"/>
                      </a:cubicBezTo>
                      <a:cubicBezTo>
                        <a:pt x="347" y="1015"/>
                        <a:pt x="346" y="1016"/>
                        <a:pt x="345" y="1017"/>
                      </a:cubicBezTo>
                      <a:cubicBezTo>
                        <a:pt x="344" y="1018"/>
                        <a:pt x="342" y="1021"/>
                        <a:pt x="341" y="1021"/>
                      </a:cubicBezTo>
                      <a:cubicBezTo>
                        <a:pt x="340" y="1021"/>
                        <a:pt x="335" y="1023"/>
                        <a:pt x="335" y="1023"/>
                      </a:cubicBezTo>
                      <a:cubicBezTo>
                        <a:pt x="334" y="1022"/>
                        <a:pt x="334" y="1021"/>
                        <a:pt x="332" y="1023"/>
                      </a:cubicBezTo>
                      <a:cubicBezTo>
                        <a:pt x="329" y="1024"/>
                        <a:pt x="328" y="1024"/>
                        <a:pt x="324" y="1025"/>
                      </a:cubicBezTo>
                      <a:cubicBezTo>
                        <a:pt x="323" y="1025"/>
                        <a:pt x="311" y="1030"/>
                        <a:pt x="308" y="1025"/>
                      </a:cubicBezTo>
                      <a:cubicBezTo>
                        <a:pt x="305" y="1025"/>
                        <a:pt x="307" y="1027"/>
                        <a:pt x="308" y="1027"/>
                      </a:cubicBezTo>
                      <a:cubicBezTo>
                        <a:pt x="305" y="1031"/>
                        <a:pt x="301" y="1027"/>
                        <a:pt x="295" y="1028"/>
                      </a:cubicBezTo>
                      <a:cubicBezTo>
                        <a:pt x="292" y="1029"/>
                        <a:pt x="293" y="1030"/>
                        <a:pt x="295" y="1030"/>
                      </a:cubicBezTo>
                      <a:cubicBezTo>
                        <a:pt x="293" y="1033"/>
                        <a:pt x="283" y="1028"/>
                        <a:pt x="278" y="1028"/>
                      </a:cubicBezTo>
                      <a:cubicBezTo>
                        <a:pt x="278" y="1019"/>
                        <a:pt x="269" y="1014"/>
                        <a:pt x="274" y="1006"/>
                      </a:cubicBezTo>
                      <a:cubicBezTo>
                        <a:pt x="270" y="1003"/>
                        <a:pt x="265" y="1000"/>
                        <a:pt x="267" y="991"/>
                      </a:cubicBezTo>
                      <a:cubicBezTo>
                        <a:pt x="261" y="997"/>
                        <a:pt x="265" y="994"/>
                        <a:pt x="263" y="985"/>
                      </a:cubicBezTo>
                      <a:cubicBezTo>
                        <a:pt x="260" y="977"/>
                        <a:pt x="249" y="970"/>
                        <a:pt x="252" y="959"/>
                      </a:cubicBezTo>
                      <a:cubicBezTo>
                        <a:pt x="250" y="958"/>
                        <a:pt x="250" y="963"/>
                        <a:pt x="250" y="963"/>
                      </a:cubicBezTo>
                      <a:cubicBezTo>
                        <a:pt x="246" y="962"/>
                        <a:pt x="250" y="950"/>
                        <a:pt x="246" y="956"/>
                      </a:cubicBezTo>
                      <a:cubicBezTo>
                        <a:pt x="243" y="953"/>
                        <a:pt x="244" y="947"/>
                        <a:pt x="244" y="943"/>
                      </a:cubicBezTo>
                      <a:cubicBezTo>
                        <a:pt x="245" y="937"/>
                        <a:pt x="245" y="933"/>
                        <a:pt x="242" y="926"/>
                      </a:cubicBezTo>
                      <a:cubicBezTo>
                        <a:pt x="243" y="923"/>
                        <a:pt x="238" y="925"/>
                        <a:pt x="237" y="924"/>
                      </a:cubicBezTo>
                      <a:cubicBezTo>
                        <a:pt x="236" y="923"/>
                        <a:pt x="242" y="919"/>
                        <a:pt x="233" y="920"/>
                      </a:cubicBezTo>
                      <a:cubicBezTo>
                        <a:pt x="232" y="919"/>
                        <a:pt x="234" y="915"/>
                        <a:pt x="233" y="915"/>
                      </a:cubicBezTo>
                      <a:cubicBezTo>
                        <a:pt x="233" y="914"/>
                        <a:pt x="229" y="915"/>
                        <a:pt x="229" y="915"/>
                      </a:cubicBezTo>
                      <a:cubicBezTo>
                        <a:pt x="229" y="914"/>
                        <a:pt x="235" y="907"/>
                        <a:pt x="227" y="909"/>
                      </a:cubicBezTo>
                      <a:cubicBezTo>
                        <a:pt x="227" y="906"/>
                        <a:pt x="230" y="905"/>
                        <a:pt x="229" y="902"/>
                      </a:cubicBezTo>
                      <a:cubicBezTo>
                        <a:pt x="226" y="900"/>
                        <a:pt x="230" y="892"/>
                        <a:pt x="224" y="894"/>
                      </a:cubicBezTo>
                      <a:cubicBezTo>
                        <a:pt x="223" y="877"/>
                        <a:pt x="225" y="871"/>
                        <a:pt x="233" y="861"/>
                      </a:cubicBezTo>
                      <a:cubicBezTo>
                        <a:pt x="232" y="858"/>
                        <a:pt x="235" y="851"/>
                        <a:pt x="231" y="851"/>
                      </a:cubicBezTo>
                      <a:cubicBezTo>
                        <a:pt x="231" y="848"/>
                        <a:pt x="235" y="851"/>
                        <a:pt x="237" y="849"/>
                      </a:cubicBezTo>
                      <a:cubicBezTo>
                        <a:pt x="238" y="849"/>
                        <a:pt x="236" y="845"/>
                        <a:pt x="239" y="846"/>
                      </a:cubicBezTo>
                      <a:cubicBezTo>
                        <a:pt x="238" y="843"/>
                        <a:pt x="237" y="826"/>
                        <a:pt x="235" y="831"/>
                      </a:cubicBezTo>
                      <a:cubicBezTo>
                        <a:pt x="231" y="827"/>
                        <a:pt x="233" y="823"/>
                        <a:pt x="233" y="820"/>
                      </a:cubicBezTo>
                      <a:cubicBezTo>
                        <a:pt x="233" y="815"/>
                        <a:pt x="234" y="810"/>
                        <a:pt x="233" y="807"/>
                      </a:cubicBezTo>
                      <a:cubicBezTo>
                        <a:pt x="233" y="804"/>
                        <a:pt x="230" y="806"/>
                        <a:pt x="229" y="805"/>
                      </a:cubicBezTo>
                      <a:cubicBezTo>
                        <a:pt x="229" y="804"/>
                        <a:pt x="231" y="802"/>
                        <a:pt x="231" y="801"/>
                      </a:cubicBezTo>
                      <a:cubicBezTo>
                        <a:pt x="231" y="801"/>
                        <a:pt x="229" y="800"/>
                        <a:pt x="229" y="799"/>
                      </a:cubicBezTo>
                      <a:cubicBezTo>
                        <a:pt x="229" y="795"/>
                        <a:pt x="227" y="796"/>
                        <a:pt x="226" y="794"/>
                      </a:cubicBezTo>
                      <a:cubicBezTo>
                        <a:pt x="225" y="793"/>
                        <a:pt x="226" y="790"/>
                        <a:pt x="226" y="790"/>
                      </a:cubicBezTo>
                      <a:cubicBezTo>
                        <a:pt x="225" y="790"/>
                        <a:pt x="220" y="789"/>
                        <a:pt x="222" y="788"/>
                      </a:cubicBezTo>
                      <a:cubicBezTo>
                        <a:pt x="222" y="788"/>
                        <a:pt x="224" y="788"/>
                        <a:pt x="224" y="788"/>
                      </a:cubicBezTo>
                      <a:cubicBezTo>
                        <a:pt x="221" y="784"/>
                        <a:pt x="219" y="783"/>
                        <a:pt x="214" y="780"/>
                      </a:cubicBezTo>
                      <a:cubicBezTo>
                        <a:pt x="213" y="780"/>
                        <a:pt x="215" y="779"/>
                        <a:pt x="213" y="779"/>
                      </a:cubicBezTo>
                      <a:cubicBezTo>
                        <a:pt x="211" y="779"/>
                        <a:pt x="211" y="773"/>
                        <a:pt x="207" y="775"/>
                      </a:cubicBezTo>
                      <a:cubicBezTo>
                        <a:pt x="203" y="759"/>
                        <a:pt x="207" y="746"/>
                        <a:pt x="207" y="728"/>
                      </a:cubicBezTo>
                      <a:cubicBezTo>
                        <a:pt x="206" y="725"/>
                        <a:pt x="202" y="731"/>
                        <a:pt x="203" y="723"/>
                      </a:cubicBezTo>
                      <a:cubicBezTo>
                        <a:pt x="192" y="724"/>
                        <a:pt x="184" y="722"/>
                        <a:pt x="177" y="719"/>
                      </a:cubicBezTo>
                      <a:cubicBezTo>
                        <a:pt x="179" y="709"/>
                        <a:pt x="172" y="720"/>
                        <a:pt x="173" y="710"/>
                      </a:cubicBezTo>
                      <a:cubicBezTo>
                        <a:pt x="165" y="707"/>
                        <a:pt x="163" y="705"/>
                        <a:pt x="153" y="708"/>
                      </a:cubicBezTo>
                      <a:cubicBezTo>
                        <a:pt x="151" y="708"/>
                        <a:pt x="148" y="709"/>
                        <a:pt x="145" y="710"/>
                      </a:cubicBezTo>
                      <a:cubicBezTo>
                        <a:pt x="144" y="710"/>
                        <a:pt x="140" y="713"/>
                        <a:pt x="134" y="711"/>
                      </a:cubicBezTo>
                      <a:cubicBezTo>
                        <a:pt x="137" y="716"/>
                        <a:pt x="140" y="713"/>
                        <a:pt x="130" y="715"/>
                      </a:cubicBezTo>
                      <a:cubicBezTo>
                        <a:pt x="124" y="717"/>
                        <a:pt x="120" y="718"/>
                        <a:pt x="110" y="719"/>
                      </a:cubicBezTo>
                      <a:cubicBezTo>
                        <a:pt x="107" y="719"/>
                        <a:pt x="107" y="717"/>
                        <a:pt x="104" y="717"/>
                      </a:cubicBezTo>
                      <a:cubicBezTo>
                        <a:pt x="92" y="716"/>
                        <a:pt x="79" y="723"/>
                        <a:pt x="69" y="721"/>
                      </a:cubicBezTo>
                      <a:cubicBezTo>
                        <a:pt x="70" y="714"/>
                        <a:pt x="62" y="716"/>
                        <a:pt x="60" y="715"/>
                      </a:cubicBezTo>
                      <a:cubicBezTo>
                        <a:pt x="59" y="715"/>
                        <a:pt x="60" y="712"/>
                        <a:pt x="60" y="711"/>
                      </a:cubicBezTo>
                      <a:cubicBezTo>
                        <a:pt x="59" y="711"/>
                        <a:pt x="55" y="712"/>
                        <a:pt x="54" y="711"/>
                      </a:cubicBezTo>
                      <a:cubicBezTo>
                        <a:pt x="53" y="711"/>
                        <a:pt x="55" y="708"/>
                        <a:pt x="54" y="708"/>
                      </a:cubicBezTo>
                      <a:cubicBezTo>
                        <a:pt x="53" y="707"/>
                        <a:pt x="50" y="709"/>
                        <a:pt x="50" y="706"/>
                      </a:cubicBezTo>
                      <a:cubicBezTo>
                        <a:pt x="50" y="705"/>
                        <a:pt x="47" y="702"/>
                        <a:pt x="47" y="702"/>
                      </a:cubicBezTo>
                      <a:cubicBezTo>
                        <a:pt x="46" y="701"/>
                        <a:pt x="47" y="700"/>
                        <a:pt x="45" y="700"/>
                      </a:cubicBezTo>
                      <a:cubicBezTo>
                        <a:pt x="43" y="700"/>
                        <a:pt x="43" y="698"/>
                        <a:pt x="43" y="697"/>
                      </a:cubicBezTo>
                      <a:cubicBezTo>
                        <a:pt x="42" y="694"/>
                        <a:pt x="40" y="696"/>
                        <a:pt x="39" y="695"/>
                      </a:cubicBezTo>
                      <a:cubicBezTo>
                        <a:pt x="39" y="694"/>
                        <a:pt x="40" y="692"/>
                        <a:pt x="39" y="691"/>
                      </a:cubicBezTo>
                      <a:cubicBezTo>
                        <a:pt x="38" y="689"/>
                        <a:pt x="35" y="692"/>
                        <a:pt x="35" y="689"/>
                      </a:cubicBezTo>
                      <a:cubicBezTo>
                        <a:pt x="35" y="688"/>
                        <a:pt x="37" y="686"/>
                        <a:pt x="37" y="687"/>
                      </a:cubicBezTo>
                      <a:cubicBezTo>
                        <a:pt x="35" y="681"/>
                        <a:pt x="26" y="682"/>
                        <a:pt x="28" y="676"/>
                      </a:cubicBezTo>
                      <a:cubicBezTo>
                        <a:pt x="19" y="679"/>
                        <a:pt x="23" y="668"/>
                        <a:pt x="15" y="670"/>
                      </a:cubicBezTo>
                      <a:cubicBezTo>
                        <a:pt x="16" y="669"/>
                        <a:pt x="17" y="667"/>
                        <a:pt x="17" y="665"/>
                      </a:cubicBezTo>
                      <a:cubicBezTo>
                        <a:pt x="16" y="662"/>
                        <a:pt x="12" y="663"/>
                        <a:pt x="9" y="663"/>
                      </a:cubicBezTo>
                      <a:cubicBezTo>
                        <a:pt x="11" y="660"/>
                        <a:pt x="6" y="659"/>
                        <a:pt x="6" y="657"/>
                      </a:cubicBezTo>
                      <a:cubicBezTo>
                        <a:pt x="5" y="654"/>
                        <a:pt x="9" y="655"/>
                        <a:pt x="6" y="650"/>
                      </a:cubicBezTo>
                      <a:cubicBezTo>
                        <a:pt x="5" y="649"/>
                        <a:pt x="4" y="650"/>
                        <a:pt x="4" y="648"/>
                      </a:cubicBezTo>
                      <a:cubicBezTo>
                        <a:pt x="4" y="647"/>
                        <a:pt x="2" y="642"/>
                        <a:pt x="0" y="641"/>
                      </a:cubicBezTo>
                      <a:cubicBezTo>
                        <a:pt x="0" y="638"/>
                        <a:pt x="4" y="640"/>
                        <a:pt x="6" y="639"/>
                      </a:cubicBezTo>
                      <a:cubicBezTo>
                        <a:pt x="7" y="638"/>
                        <a:pt x="6" y="632"/>
                        <a:pt x="9" y="633"/>
                      </a:cubicBezTo>
                      <a:cubicBezTo>
                        <a:pt x="9" y="623"/>
                        <a:pt x="9" y="612"/>
                        <a:pt x="9" y="602"/>
                      </a:cubicBezTo>
                      <a:cubicBezTo>
                        <a:pt x="10" y="599"/>
                        <a:pt x="6" y="601"/>
                        <a:pt x="6" y="600"/>
                      </a:cubicBezTo>
                      <a:cubicBezTo>
                        <a:pt x="5" y="599"/>
                        <a:pt x="7" y="597"/>
                        <a:pt x="7" y="596"/>
                      </a:cubicBezTo>
                      <a:cubicBezTo>
                        <a:pt x="8" y="593"/>
                        <a:pt x="5" y="592"/>
                        <a:pt x="6" y="588"/>
                      </a:cubicBezTo>
                      <a:cubicBezTo>
                        <a:pt x="13" y="596"/>
                        <a:pt x="6" y="575"/>
                        <a:pt x="13" y="583"/>
                      </a:cubicBezTo>
                      <a:cubicBezTo>
                        <a:pt x="14" y="581"/>
                        <a:pt x="13" y="574"/>
                        <a:pt x="15" y="572"/>
                      </a:cubicBezTo>
                      <a:cubicBezTo>
                        <a:pt x="15" y="571"/>
                        <a:pt x="19" y="572"/>
                        <a:pt x="19" y="572"/>
                      </a:cubicBezTo>
                      <a:cubicBezTo>
                        <a:pt x="19" y="571"/>
                        <a:pt x="16" y="568"/>
                        <a:pt x="17" y="566"/>
                      </a:cubicBezTo>
                      <a:cubicBezTo>
                        <a:pt x="24" y="564"/>
                        <a:pt x="23" y="554"/>
                        <a:pt x="30" y="553"/>
                      </a:cubicBezTo>
                      <a:cubicBezTo>
                        <a:pt x="30" y="547"/>
                        <a:pt x="36" y="547"/>
                        <a:pt x="35" y="540"/>
                      </a:cubicBezTo>
                      <a:cubicBezTo>
                        <a:pt x="39" y="541"/>
                        <a:pt x="39" y="539"/>
                        <a:pt x="39" y="536"/>
                      </a:cubicBezTo>
                      <a:cubicBezTo>
                        <a:pt x="50" y="535"/>
                        <a:pt x="59" y="531"/>
                        <a:pt x="58" y="518"/>
                      </a:cubicBezTo>
                      <a:cubicBezTo>
                        <a:pt x="65" y="519"/>
                        <a:pt x="59" y="507"/>
                        <a:pt x="65" y="508"/>
                      </a:cubicBezTo>
                      <a:cubicBezTo>
                        <a:pt x="65" y="505"/>
                        <a:pt x="65" y="501"/>
                        <a:pt x="65" y="497"/>
                      </a:cubicBezTo>
                      <a:cubicBezTo>
                        <a:pt x="69" y="497"/>
                        <a:pt x="69" y="495"/>
                        <a:pt x="73" y="495"/>
                      </a:cubicBezTo>
                      <a:cubicBezTo>
                        <a:pt x="76" y="492"/>
                        <a:pt x="79" y="489"/>
                        <a:pt x="82" y="484"/>
                      </a:cubicBezTo>
                      <a:cubicBezTo>
                        <a:pt x="83" y="483"/>
                        <a:pt x="84" y="484"/>
                        <a:pt x="84" y="482"/>
                      </a:cubicBezTo>
                      <a:cubicBezTo>
                        <a:pt x="84" y="480"/>
                        <a:pt x="89" y="480"/>
                        <a:pt x="88" y="477"/>
                      </a:cubicBezTo>
                      <a:cubicBezTo>
                        <a:pt x="96" y="478"/>
                        <a:pt x="97" y="472"/>
                        <a:pt x="104" y="473"/>
                      </a:cubicBezTo>
                      <a:cubicBezTo>
                        <a:pt x="102" y="480"/>
                        <a:pt x="113" y="473"/>
                        <a:pt x="110" y="480"/>
                      </a:cubicBezTo>
                      <a:cubicBezTo>
                        <a:pt x="114" y="476"/>
                        <a:pt x="129" y="483"/>
                        <a:pt x="129" y="475"/>
                      </a:cubicBezTo>
                      <a:cubicBezTo>
                        <a:pt x="137" y="474"/>
                        <a:pt x="145" y="471"/>
                        <a:pt x="149" y="465"/>
                      </a:cubicBezTo>
                      <a:cubicBezTo>
                        <a:pt x="152" y="466"/>
                        <a:pt x="154" y="466"/>
                        <a:pt x="155" y="464"/>
                      </a:cubicBezTo>
                      <a:cubicBezTo>
                        <a:pt x="158" y="464"/>
                        <a:pt x="159" y="465"/>
                        <a:pt x="162" y="465"/>
                      </a:cubicBezTo>
                      <a:cubicBezTo>
                        <a:pt x="166" y="466"/>
                        <a:pt x="170" y="463"/>
                        <a:pt x="173" y="464"/>
                      </a:cubicBezTo>
                      <a:cubicBezTo>
                        <a:pt x="173" y="464"/>
                        <a:pt x="174" y="465"/>
                        <a:pt x="175" y="465"/>
                      </a:cubicBezTo>
                      <a:cubicBezTo>
                        <a:pt x="179" y="466"/>
                        <a:pt x="187" y="469"/>
                        <a:pt x="196" y="467"/>
                      </a:cubicBezTo>
                      <a:cubicBezTo>
                        <a:pt x="199" y="467"/>
                        <a:pt x="205" y="461"/>
                        <a:pt x="209" y="465"/>
                      </a:cubicBezTo>
                      <a:cubicBezTo>
                        <a:pt x="212" y="468"/>
                        <a:pt x="211" y="466"/>
                        <a:pt x="216" y="465"/>
                      </a:cubicBezTo>
                      <a:cubicBezTo>
                        <a:pt x="216" y="467"/>
                        <a:pt x="219" y="467"/>
                        <a:pt x="218" y="469"/>
                      </a:cubicBezTo>
                      <a:cubicBezTo>
                        <a:pt x="218" y="470"/>
                        <a:pt x="214" y="471"/>
                        <a:pt x="214" y="471"/>
                      </a:cubicBezTo>
                      <a:cubicBezTo>
                        <a:pt x="214" y="473"/>
                        <a:pt x="216" y="472"/>
                        <a:pt x="216" y="473"/>
                      </a:cubicBezTo>
                      <a:cubicBezTo>
                        <a:pt x="217" y="475"/>
                        <a:pt x="214" y="475"/>
                        <a:pt x="214" y="475"/>
                      </a:cubicBezTo>
                      <a:cubicBezTo>
                        <a:pt x="215" y="476"/>
                        <a:pt x="216" y="477"/>
                        <a:pt x="216" y="479"/>
                      </a:cubicBezTo>
                      <a:cubicBezTo>
                        <a:pt x="216" y="484"/>
                        <a:pt x="213" y="486"/>
                        <a:pt x="218" y="493"/>
                      </a:cubicBezTo>
                      <a:cubicBezTo>
                        <a:pt x="219" y="498"/>
                        <a:pt x="221" y="491"/>
                        <a:pt x="224" y="495"/>
                      </a:cubicBezTo>
                      <a:cubicBezTo>
                        <a:pt x="223" y="498"/>
                        <a:pt x="227" y="496"/>
                        <a:pt x="227" y="497"/>
                      </a:cubicBezTo>
                      <a:cubicBezTo>
                        <a:pt x="228" y="498"/>
                        <a:pt x="227" y="500"/>
                        <a:pt x="227" y="501"/>
                      </a:cubicBezTo>
                      <a:cubicBezTo>
                        <a:pt x="229" y="502"/>
                        <a:pt x="233" y="500"/>
                        <a:pt x="233" y="503"/>
                      </a:cubicBezTo>
                      <a:cubicBezTo>
                        <a:pt x="239" y="500"/>
                        <a:pt x="243" y="508"/>
                        <a:pt x="246" y="503"/>
                      </a:cubicBezTo>
                      <a:cubicBezTo>
                        <a:pt x="248" y="502"/>
                        <a:pt x="247" y="506"/>
                        <a:pt x="248" y="506"/>
                      </a:cubicBezTo>
                      <a:cubicBezTo>
                        <a:pt x="251" y="508"/>
                        <a:pt x="253" y="506"/>
                        <a:pt x="257" y="508"/>
                      </a:cubicBezTo>
                      <a:cubicBezTo>
                        <a:pt x="258" y="509"/>
                        <a:pt x="258" y="511"/>
                        <a:pt x="259" y="512"/>
                      </a:cubicBezTo>
                      <a:cubicBezTo>
                        <a:pt x="260" y="513"/>
                        <a:pt x="262" y="511"/>
                        <a:pt x="263" y="512"/>
                      </a:cubicBezTo>
                      <a:cubicBezTo>
                        <a:pt x="265" y="514"/>
                        <a:pt x="266" y="513"/>
                        <a:pt x="268" y="514"/>
                      </a:cubicBezTo>
                      <a:cubicBezTo>
                        <a:pt x="269" y="514"/>
                        <a:pt x="270" y="518"/>
                        <a:pt x="270" y="518"/>
                      </a:cubicBezTo>
                      <a:cubicBezTo>
                        <a:pt x="271" y="518"/>
                        <a:pt x="274" y="516"/>
                        <a:pt x="276" y="516"/>
                      </a:cubicBezTo>
                      <a:cubicBezTo>
                        <a:pt x="275" y="516"/>
                        <a:pt x="277" y="517"/>
                        <a:pt x="278" y="518"/>
                      </a:cubicBezTo>
                      <a:cubicBezTo>
                        <a:pt x="279" y="518"/>
                        <a:pt x="280" y="517"/>
                        <a:pt x="281" y="518"/>
                      </a:cubicBezTo>
                      <a:cubicBezTo>
                        <a:pt x="282" y="516"/>
                        <a:pt x="284" y="515"/>
                        <a:pt x="285" y="514"/>
                      </a:cubicBezTo>
                      <a:cubicBezTo>
                        <a:pt x="285" y="514"/>
                        <a:pt x="288" y="513"/>
                        <a:pt x="287" y="512"/>
                      </a:cubicBezTo>
                      <a:cubicBezTo>
                        <a:pt x="282" y="508"/>
                        <a:pt x="292" y="509"/>
                        <a:pt x="293" y="503"/>
                      </a:cubicBezTo>
                      <a:cubicBezTo>
                        <a:pt x="298" y="504"/>
                        <a:pt x="298" y="499"/>
                        <a:pt x="304" y="501"/>
                      </a:cubicBezTo>
                      <a:cubicBezTo>
                        <a:pt x="305" y="501"/>
                        <a:pt x="305" y="503"/>
                        <a:pt x="306" y="503"/>
                      </a:cubicBezTo>
                      <a:cubicBezTo>
                        <a:pt x="308" y="503"/>
                        <a:pt x="311" y="502"/>
                        <a:pt x="313" y="503"/>
                      </a:cubicBezTo>
                      <a:cubicBezTo>
                        <a:pt x="314" y="503"/>
                        <a:pt x="317" y="506"/>
                        <a:pt x="317" y="506"/>
                      </a:cubicBezTo>
                      <a:cubicBezTo>
                        <a:pt x="318" y="507"/>
                        <a:pt x="320" y="504"/>
                        <a:pt x="322" y="505"/>
                      </a:cubicBezTo>
                      <a:cubicBezTo>
                        <a:pt x="323" y="505"/>
                        <a:pt x="322" y="508"/>
                        <a:pt x="322" y="508"/>
                      </a:cubicBezTo>
                      <a:cubicBezTo>
                        <a:pt x="324" y="509"/>
                        <a:pt x="327" y="505"/>
                        <a:pt x="330" y="506"/>
                      </a:cubicBezTo>
                      <a:cubicBezTo>
                        <a:pt x="331" y="508"/>
                        <a:pt x="326" y="508"/>
                        <a:pt x="326" y="508"/>
                      </a:cubicBezTo>
                      <a:cubicBezTo>
                        <a:pt x="327" y="512"/>
                        <a:pt x="339" y="512"/>
                        <a:pt x="345" y="512"/>
                      </a:cubicBezTo>
                      <a:cubicBezTo>
                        <a:pt x="344" y="519"/>
                        <a:pt x="360" y="517"/>
                        <a:pt x="363" y="512"/>
                      </a:cubicBezTo>
                      <a:cubicBezTo>
                        <a:pt x="365" y="514"/>
                        <a:pt x="373" y="510"/>
                        <a:pt x="375" y="512"/>
                      </a:cubicBezTo>
                      <a:cubicBezTo>
                        <a:pt x="377" y="514"/>
                        <a:pt x="375" y="512"/>
                        <a:pt x="378" y="512"/>
                      </a:cubicBezTo>
                      <a:cubicBezTo>
                        <a:pt x="382" y="512"/>
                        <a:pt x="384" y="514"/>
                        <a:pt x="388" y="514"/>
                      </a:cubicBezTo>
                      <a:cubicBezTo>
                        <a:pt x="391" y="513"/>
                        <a:pt x="393" y="511"/>
                        <a:pt x="397" y="510"/>
                      </a:cubicBezTo>
                      <a:cubicBezTo>
                        <a:pt x="398" y="506"/>
                        <a:pt x="398" y="500"/>
                        <a:pt x="403" y="499"/>
                      </a:cubicBezTo>
                      <a:cubicBezTo>
                        <a:pt x="403" y="496"/>
                        <a:pt x="400" y="495"/>
                        <a:pt x="401" y="492"/>
                      </a:cubicBezTo>
                      <a:cubicBezTo>
                        <a:pt x="407" y="492"/>
                        <a:pt x="406" y="480"/>
                        <a:pt x="412" y="486"/>
                      </a:cubicBezTo>
                      <a:cubicBezTo>
                        <a:pt x="413" y="479"/>
                        <a:pt x="410" y="477"/>
                        <a:pt x="404" y="477"/>
                      </a:cubicBezTo>
                      <a:cubicBezTo>
                        <a:pt x="406" y="475"/>
                        <a:pt x="406" y="472"/>
                        <a:pt x="406" y="469"/>
                      </a:cubicBezTo>
                      <a:cubicBezTo>
                        <a:pt x="404" y="464"/>
                        <a:pt x="393" y="467"/>
                        <a:pt x="391" y="462"/>
                      </a:cubicBezTo>
                      <a:cubicBezTo>
                        <a:pt x="388" y="464"/>
                        <a:pt x="382" y="463"/>
                        <a:pt x="380" y="467"/>
                      </a:cubicBezTo>
                      <a:cubicBezTo>
                        <a:pt x="378" y="468"/>
                        <a:pt x="379" y="464"/>
                        <a:pt x="378" y="464"/>
                      </a:cubicBezTo>
                      <a:cubicBezTo>
                        <a:pt x="375" y="462"/>
                        <a:pt x="369" y="465"/>
                        <a:pt x="365" y="464"/>
                      </a:cubicBezTo>
                      <a:cubicBezTo>
                        <a:pt x="363" y="465"/>
                        <a:pt x="363" y="468"/>
                        <a:pt x="360" y="467"/>
                      </a:cubicBezTo>
                      <a:cubicBezTo>
                        <a:pt x="354" y="468"/>
                        <a:pt x="356" y="460"/>
                        <a:pt x="347" y="462"/>
                      </a:cubicBezTo>
                      <a:cubicBezTo>
                        <a:pt x="347" y="458"/>
                        <a:pt x="344" y="458"/>
                        <a:pt x="345" y="454"/>
                      </a:cubicBezTo>
                      <a:cubicBezTo>
                        <a:pt x="343" y="455"/>
                        <a:pt x="342" y="454"/>
                        <a:pt x="341" y="452"/>
                      </a:cubicBezTo>
                      <a:cubicBezTo>
                        <a:pt x="340" y="450"/>
                        <a:pt x="337" y="449"/>
                        <a:pt x="334" y="449"/>
                      </a:cubicBezTo>
                      <a:cubicBezTo>
                        <a:pt x="337" y="444"/>
                        <a:pt x="335" y="433"/>
                        <a:pt x="334" y="428"/>
                      </a:cubicBezTo>
                      <a:cubicBezTo>
                        <a:pt x="329" y="431"/>
                        <a:pt x="323" y="425"/>
                        <a:pt x="322" y="434"/>
                      </a:cubicBezTo>
                      <a:cubicBezTo>
                        <a:pt x="317" y="431"/>
                        <a:pt x="316" y="435"/>
                        <a:pt x="311" y="432"/>
                      </a:cubicBezTo>
                      <a:cubicBezTo>
                        <a:pt x="312" y="434"/>
                        <a:pt x="311" y="435"/>
                        <a:pt x="309" y="436"/>
                      </a:cubicBezTo>
                      <a:cubicBezTo>
                        <a:pt x="311" y="437"/>
                        <a:pt x="312" y="438"/>
                        <a:pt x="313" y="439"/>
                      </a:cubicBezTo>
                      <a:cubicBezTo>
                        <a:pt x="314" y="441"/>
                        <a:pt x="313" y="444"/>
                        <a:pt x="317" y="443"/>
                      </a:cubicBezTo>
                      <a:cubicBezTo>
                        <a:pt x="315" y="449"/>
                        <a:pt x="315" y="447"/>
                        <a:pt x="319" y="451"/>
                      </a:cubicBezTo>
                      <a:cubicBezTo>
                        <a:pt x="320" y="455"/>
                        <a:pt x="316" y="453"/>
                        <a:pt x="315" y="454"/>
                      </a:cubicBezTo>
                      <a:cubicBezTo>
                        <a:pt x="315" y="455"/>
                        <a:pt x="312" y="461"/>
                        <a:pt x="311" y="460"/>
                      </a:cubicBezTo>
                      <a:cubicBezTo>
                        <a:pt x="307" y="456"/>
                        <a:pt x="311" y="465"/>
                        <a:pt x="304" y="464"/>
                      </a:cubicBezTo>
                      <a:cubicBezTo>
                        <a:pt x="303" y="462"/>
                        <a:pt x="302" y="460"/>
                        <a:pt x="300" y="460"/>
                      </a:cubicBezTo>
                      <a:cubicBezTo>
                        <a:pt x="299" y="457"/>
                        <a:pt x="302" y="456"/>
                        <a:pt x="304" y="456"/>
                      </a:cubicBezTo>
                      <a:cubicBezTo>
                        <a:pt x="301" y="453"/>
                        <a:pt x="295" y="451"/>
                        <a:pt x="300" y="447"/>
                      </a:cubicBezTo>
                      <a:cubicBezTo>
                        <a:pt x="298" y="446"/>
                        <a:pt x="294" y="448"/>
                        <a:pt x="293" y="447"/>
                      </a:cubicBezTo>
                      <a:cubicBezTo>
                        <a:pt x="291" y="446"/>
                        <a:pt x="296" y="445"/>
                        <a:pt x="296" y="445"/>
                      </a:cubicBezTo>
                      <a:cubicBezTo>
                        <a:pt x="296" y="445"/>
                        <a:pt x="292" y="440"/>
                        <a:pt x="287" y="438"/>
                      </a:cubicBezTo>
                      <a:cubicBezTo>
                        <a:pt x="288" y="429"/>
                        <a:pt x="283" y="427"/>
                        <a:pt x="283" y="419"/>
                      </a:cubicBezTo>
                      <a:cubicBezTo>
                        <a:pt x="284" y="416"/>
                        <a:pt x="279" y="418"/>
                        <a:pt x="278" y="417"/>
                      </a:cubicBezTo>
                      <a:cubicBezTo>
                        <a:pt x="277" y="416"/>
                        <a:pt x="281" y="414"/>
                        <a:pt x="280" y="413"/>
                      </a:cubicBezTo>
                      <a:cubicBezTo>
                        <a:pt x="276" y="410"/>
                        <a:pt x="275" y="414"/>
                        <a:pt x="272" y="411"/>
                      </a:cubicBezTo>
                      <a:cubicBezTo>
                        <a:pt x="272" y="411"/>
                        <a:pt x="274" y="409"/>
                        <a:pt x="274" y="408"/>
                      </a:cubicBezTo>
                      <a:cubicBezTo>
                        <a:pt x="273" y="406"/>
                        <a:pt x="272" y="410"/>
                        <a:pt x="272" y="410"/>
                      </a:cubicBezTo>
                      <a:cubicBezTo>
                        <a:pt x="270" y="410"/>
                        <a:pt x="271" y="407"/>
                        <a:pt x="270" y="406"/>
                      </a:cubicBezTo>
                      <a:cubicBezTo>
                        <a:pt x="263" y="407"/>
                        <a:pt x="263" y="401"/>
                        <a:pt x="255" y="402"/>
                      </a:cubicBezTo>
                      <a:cubicBezTo>
                        <a:pt x="255" y="400"/>
                        <a:pt x="253" y="400"/>
                        <a:pt x="252" y="398"/>
                      </a:cubicBezTo>
                      <a:cubicBezTo>
                        <a:pt x="251" y="398"/>
                        <a:pt x="252" y="395"/>
                        <a:pt x="252" y="395"/>
                      </a:cubicBezTo>
                      <a:cubicBezTo>
                        <a:pt x="251" y="394"/>
                        <a:pt x="248" y="395"/>
                        <a:pt x="248" y="395"/>
                      </a:cubicBezTo>
                      <a:cubicBezTo>
                        <a:pt x="248" y="394"/>
                        <a:pt x="248" y="387"/>
                        <a:pt x="246" y="389"/>
                      </a:cubicBezTo>
                      <a:cubicBezTo>
                        <a:pt x="245" y="391"/>
                        <a:pt x="244" y="389"/>
                        <a:pt x="242" y="387"/>
                      </a:cubicBezTo>
                      <a:cubicBezTo>
                        <a:pt x="242" y="386"/>
                        <a:pt x="240" y="386"/>
                        <a:pt x="240" y="383"/>
                      </a:cubicBezTo>
                      <a:cubicBezTo>
                        <a:pt x="234" y="384"/>
                        <a:pt x="235" y="386"/>
                        <a:pt x="229" y="383"/>
                      </a:cubicBezTo>
                      <a:cubicBezTo>
                        <a:pt x="227" y="384"/>
                        <a:pt x="228" y="387"/>
                        <a:pt x="226" y="387"/>
                      </a:cubicBezTo>
                      <a:cubicBezTo>
                        <a:pt x="224" y="392"/>
                        <a:pt x="229" y="391"/>
                        <a:pt x="229" y="395"/>
                      </a:cubicBezTo>
                      <a:cubicBezTo>
                        <a:pt x="229" y="396"/>
                        <a:pt x="232" y="399"/>
                        <a:pt x="233" y="400"/>
                      </a:cubicBezTo>
                      <a:cubicBezTo>
                        <a:pt x="234" y="401"/>
                        <a:pt x="235" y="402"/>
                        <a:pt x="237" y="402"/>
                      </a:cubicBezTo>
                      <a:cubicBezTo>
                        <a:pt x="234" y="408"/>
                        <a:pt x="240" y="407"/>
                        <a:pt x="242" y="410"/>
                      </a:cubicBezTo>
                      <a:cubicBezTo>
                        <a:pt x="243" y="410"/>
                        <a:pt x="244" y="417"/>
                        <a:pt x="246" y="415"/>
                      </a:cubicBezTo>
                      <a:cubicBezTo>
                        <a:pt x="249" y="412"/>
                        <a:pt x="246" y="416"/>
                        <a:pt x="248" y="417"/>
                      </a:cubicBezTo>
                      <a:cubicBezTo>
                        <a:pt x="250" y="419"/>
                        <a:pt x="254" y="418"/>
                        <a:pt x="255" y="423"/>
                      </a:cubicBezTo>
                      <a:cubicBezTo>
                        <a:pt x="258" y="421"/>
                        <a:pt x="259" y="424"/>
                        <a:pt x="259" y="424"/>
                      </a:cubicBezTo>
                      <a:cubicBezTo>
                        <a:pt x="260" y="425"/>
                        <a:pt x="262" y="423"/>
                        <a:pt x="261" y="423"/>
                      </a:cubicBezTo>
                      <a:cubicBezTo>
                        <a:pt x="263" y="423"/>
                        <a:pt x="264" y="428"/>
                        <a:pt x="265" y="424"/>
                      </a:cubicBezTo>
                      <a:cubicBezTo>
                        <a:pt x="269" y="424"/>
                        <a:pt x="264" y="433"/>
                        <a:pt x="270" y="430"/>
                      </a:cubicBezTo>
                      <a:cubicBezTo>
                        <a:pt x="270" y="434"/>
                        <a:pt x="262" y="431"/>
                        <a:pt x="259" y="432"/>
                      </a:cubicBezTo>
                      <a:cubicBezTo>
                        <a:pt x="260" y="434"/>
                        <a:pt x="262" y="433"/>
                        <a:pt x="263" y="436"/>
                      </a:cubicBezTo>
                      <a:cubicBezTo>
                        <a:pt x="264" y="439"/>
                        <a:pt x="260" y="445"/>
                        <a:pt x="263" y="445"/>
                      </a:cubicBezTo>
                      <a:cubicBezTo>
                        <a:pt x="261" y="448"/>
                        <a:pt x="257" y="448"/>
                        <a:pt x="253" y="449"/>
                      </a:cubicBezTo>
                      <a:cubicBezTo>
                        <a:pt x="256" y="448"/>
                        <a:pt x="254" y="441"/>
                        <a:pt x="257" y="441"/>
                      </a:cubicBezTo>
                      <a:cubicBezTo>
                        <a:pt x="256" y="440"/>
                        <a:pt x="256" y="436"/>
                        <a:pt x="253" y="436"/>
                      </a:cubicBezTo>
                      <a:cubicBezTo>
                        <a:pt x="251" y="435"/>
                        <a:pt x="255" y="433"/>
                        <a:pt x="250" y="430"/>
                      </a:cubicBezTo>
                      <a:cubicBezTo>
                        <a:pt x="248" y="429"/>
                        <a:pt x="244" y="429"/>
                        <a:pt x="244" y="424"/>
                      </a:cubicBezTo>
                      <a:cubicBezTo>
                        <a:pt x="236" y="426"/>
                        <a:pt x="235" y="421"/>
                        <a:pt x="229" y="421"/>
                      </a:cubicBezTo>
                      <a:cubicBezTo>
                        <a:pt x="228" y="416"/>
                        <a:pt x="225" y="414"/>
                        <a:pt x="222" y="410"/>
                      </a:cubicBezTo>
                      <a:cubicBezTo>
                        <a:pt x="221" y="408"/>
                        <a:pt x="220" y="410"/>
                        <a:pt x="220" y="408"/>
                      </a:cubicBezTo>
                      <a:cubicBezTo>
                        <a:pt x="220" y="405"/>
                        <a:pt x="217" y="407"/>
                        <a:pt x="216" y="406"/>
                      </a:cubicBezTo>
                      <a:cubicBezTo>
                        <a:pt x="216" y="405"/>
                        <a:pt x="217" y="402"/>
                        <a:pt x="216" y="402"/>
                      </a:cubicBezTo>
                      <a:cubicBezTo>
                        <a:pt x="214" y="401"/>
                        <a:pt x="211" y="403"/>
                        <a:pt x="209" y="402"/>
                      </a:cubicBezTo>
                      <a:cubicBezTo>
                        <a:pt x="208" y="401"/>
                        <a:pt x="212" y="400"/>
                        <a:pt x="213" y="400"/>
                      </a:cubicBezTo>
                      <a:cubicBezTo>
                        <a:pt x="210" y="396"/>
                        <a:pt x="199" y="396"/>
                        <a:pt x="194" y="398"/>
                      </a:cubicBezTo>
                      <a:cubicBezTo>
                        <a:pt x="193" y="400"/>
                        <a:pt x="197" y="401"/>
                        <a:pt x="198" y="400"/>
                      </a:cubicBezTo>
                      <a:cubicBezTo>
                        <a:pt x="196" y="403"/>
                        <a:pt x="195" y="401"/>
                        <a:pt x="192" y="402"/>
                      </a:cubicBezTo>
                      <a:cubicBezTo>
                        <a:pt x="188" y="404"/>
                        <a:pt x="188" y="410"/>
                        <a:pt x="185" y="410"/>
                      </a:cubicBezTo>
                      <a:cubicBezTo>
                        <a:pt x="177" y="409"/>
                        <a:pt x="175" y="403"/>
                        <a:pt x="166" y="404"/>
                      </a:cubicBezTo>
                      <a:cubicBezTo>
                        <a:pt x="163" y="405"/>
                        <a:pt x="164" y="410"/>
                        <a:pt x="158" y="408"/>
                      </a:cubicBezTo>
                      <a:cubicBezTo>
                        <a:pt x="158" y="412"/>
                        <a:pt x="158" y="416"/>
                        <a:pt x="158" y="421"/>
                      </a:cubicBezTo>
                      <a:cubicBezTo>
                        <a:pt x="153" y="423"/>
                        <a:pt x="141" y="421"/>
                        <a:pt x="144" y="432"/>
                      </a:cubicBezTo>
                      <a:cubicBezTo>
                        <a:pt x="131" y="429"/>
                        <a:pt x="141" y="439"/>
                        <a:pt x="130" y="439"/>
                      </a:cubicBezTo>
                      <a:cubicBezTo>
                        <a:pt x="130" y="442"/>
                        <a:pt x="137" y="446"/>
                        <a:pt x="132" y="447"/>
                      </a:cubicBezTo>
                      <a:cubicBezTo>
                        <a:pt x="132" y="453"/>
                        <a:pt x="129" y="447"/>
                        <a:pt x="125" y="452"/>
                      </a:cubicBezTo>
                      <a:cubicBezTo>
                        <a:pt x="125" y="455"/>
                        <a:pt x="125" y="456"/>
                        <a:pt x="127" y="456"/>
                      </a:cubicBezTo>
                      <a:cubicBezTo>
                        <a:pt x="127" y="460"/>
                        <a:pt x="120" y="457"/>
                        <a:pt x="117" y="458"/>
                      </a:cubicBezTo>
                      <a:cubicBezTo>
                        <a:pt x="115" y="458"/>
                        <a:pt x="115" y="463"/>
                        <a:pt x="114" y="464"/>
                      </a:cubicBezTo>
                      <a:cubicBezTo>
                        <a:pt x="108" y="466"/>
                        <a:pt x="98" y="462"/>
                        <a:pt x="93" y="469"/>
                      </a:cubicBezTo>
                      <a:cubicBezTo>
                        <a:pt x="91" y="467"/>
                        <a:pt x="89" y="464"/>
                        <a:pt x="88" y="462"/>
                      </a:cubicBezTo>
                      <a:cubicBezTo>
                        <a:pt x="79" y="460"/>
                        <a:pt x="70" y="464"/>
                        <a:pt x="67" y="462"/>
                      </a:cubicBezTo>
                      <a:cubicBezTo>
                        <a:pt x="68" y="455"/>
                        <a:pt x="71" y="447"/>
                        <a:pt x="65" y="443"/>
                      </a:cubicBezTo>
                      <a:cubicBezTo>
                        <a:pt x="64" y="440"/>
                        <a:pt x="68" y="439"/>
                        <a:pt x="69" y="436"/>
                      </a:cubicBezTo>
                      <a:cubicBezTo>
                        <a:pt x="70" y="430"/>
                        <a:pt x="67" y="425"/>
                        <a:pt x="71" y="421"/>
                      </a:cubicBezTo>
                      <a:cubicBezTo>
                        <a:pt x="69" y="417"/>
                        <a:pt x="70" y="411"/>
                        <a:pt x="65" y="410"/>
                      </a:cubicBezTo>
                      <a:cubicBezTo>
                        <a:pt x="66" y="408"/>
                        <a:pt x="70" y="408"/>
                        <a:pt x="69" y="404"/>
                      </a:cubicBezTo>
                      <a:cubicBezTo>
                        <a:pt x="74" y="405"/>
                        <a:pt x="85" y="400"/>
                        <a:pt x="84" y="408"/>
                      </a:cubicBezTo>
                      <a:cubicBezTo>
                        <a:pt x="88" y="404"/>
                        <a:pt x="106" y="412"/>
                        <a:pt x="110" y="408"/>
                      </a:cubicBezTo>
                      <a:cubicBezTo>
                        <a:pt x="112" y="406"/>
                        <a:pt x="111" y="407"/>
                        <a:pt x="114" y="408"/>
                      </a:cubicBezTo>
                      <a:cubicBezTo>
                        <a:pt x="113" y="408"/>
                        <a:pt x="115" y="405"/>
                        <a:pt x="116" y="406"/>
                      </a:cubicBezTo>
                      <a:cubicBezTo>
                        <a:pt x="116" y="406"/>
                        <a:pt x="116" y="408"/>
                        <a:pt x="116" y="408"/>
                      </a:cubicBezTo>
                      <a:cubicBezTo>
                        <a:pt x="121" y="406"/>
                        <a:pt x="124" y="404"/>
                        <a:pt x="125" y="398"/>
                      </a:cubicBezTo>
                      <a:cubicBezTo>
                        <a:pt x="125" y="396"/>
                        <a:pt x="130" y="386"/>
                        <a:pt x="125" y="382"/>
                      </a:cubicBezTo>
                      <a:cubicBezTo>
                        <a:pt x="122" y="379"/>
                        <a:pt x="126" y="379"/>
                        <a:pt x="123" y="374"/>
                      </a:cubicBezTo>
                      <a:cubicBezTo>
                        <a:pt x="123" y="372"/>
                        <a:pt x="120" y="373"/>
                        <a:pt x="117" y="372"/>
                      </a:cubicBezTo>
                      <a:cubicBezTo>
                        <a:pt x="118" y="371"/>
                        <a:pt x="119" y="369"/>
                        <a:pt x="119" y="367"/>
                      </a:cubicBezTo>
                      <a:cubicBezTo>
                        <a:pt x="117" y="365"/>
                        <a:pt x="116" y="369"/>
                        <a:pt x="116" y="369"/>
                      </a:cubicBezTo>
                      <a:cubicBezTo>
                        <a:pt x="113" y="368"/>
                        <a:pt x="115" y="366"/>
                        <a:pt x="114" y="365"/>
                      </a:cubicBezTo>
                      <a:cubicBezTo>
                        <a:pt x="112" y="364"/>
                        <a:pt x="107" y="364"/>
                        <a:pt x="104" y="363"/>
                      </a:cubicBezTo>
                      <a:cubicBezTo>
                        <a:pt x="104" y="363"/>
                        <a:pt x="104" y="361"/>
                        <a:pt x="102" y="361"/>
                      </a:cubicBezTo>
                      <a:cubicBezTo>
                        <a:pt x="100" y="361"/>
                        <a:pt x="99" y="361"/>
                        <a:pt x="99" y="359"/>
                      </a:cubicBezTo>
                      <a:cubicBezTo>
                        <a:pt x="97" y="354"/>
                        <a:pt x="103" y="357"/>
                        <a:pt x="102" y="357"/>
                      </a:cubicBezTo>
                      <a:cubicBezTo>
                        <a:pt x="108" y="356"/>
                        <a:pt x="112" y="352"/>
                        <a:pt x="123" y="354"/>
                      </a:cubicBezTo>
                      <a:cubicBezTo>
                        <a:pt x="124" y="350"/>
                        <a:pt x="122" y="350"/>
                        <a:pt x="119" y="350"/>
                      </a:cubicBezTo>
                      <a:cubicBezTo>
                        <a:pt x="121" y="345"/>
                        <a:pt x="127" y="350"/>
                        <a:pt x="130" y="350"/>
                      </a:cubicBezTo>
                      <a:cubicBezTo>
                        <a:pt x="132" y="350"/>
                        <a:pt x="136" y="346"/>
                        <a:pt x="136" y="350"/>
                      </a:cubicBezTo>
                      <a:cubicBezTo>
                        <a:pt x="140" y="347"/>
                        <a:pt x="140" y="341"/>
                        <a:pt x="147" y="341"/>
                      </a:cubicBezTo>
                      <a:cubicBezTo>
                        <a:pt x="145" y="334"/>
                        <a:pt x="152" y="337"/>
                        <a:pt x="151" y="331"/>
                      </a:cubicBezTo>
                      <a:cubicBezTo>
                        <a:pt x="155" y="331"/>
                        <a:pt x="158" y="331"/>
                        <a:pt x="162" y="331"/>
                      </a:cubicBezTo>
                      <a:cubicBezTo>
                        <a:pt x="162" y="329"/>
                        <a:pt x="160" y="330"/>
                        <a:pt x="158" y="329"/>
                      </a:cubicBezTo>
                      <a:cubicBezTo>
                        <a:pt x="159" y="326"/>
                        <a:pt x="164" y="328"/>
                        <a:pt x="162" y="322"/>
                      </a:cubicBezTo>
                      <a:cubicBezTo>
                        <a:pt x="167" y="322"/>
                        <a:pt x="166" y="325"/>
                        <a:pt x="170" y="322"/>
                      </a:cubicBezTo>
                      <a:cubicBezTo>
                        <a:pt x="165" y="312"/>
                        <a:pt x="173" y="316"/>
                        <a:pt x="173" y="307"/>
                      </a:cubicBezTo>
                      <a:cubicBezTo>
                        <a:pt x="176" y="307"/>
                        <a:pt x="178" y="308"/>
                        <a:pt x="181" y="307"/>
                      </a:cubicBezTo>
                      <a:cubicBezTo>
                        <a:pt x="183" y="306"/>
                        <a:pt x="183" y="304"/>
                        <a:pt x="185" y="303"/>
                      </a:cubicBezTo>
                      <a:cubicBezTo>
                        <a:pt x="187" y="302"/>
                        <a:pt x="186" y="305"/>
                        <a:pt x="186" y="305"/>
                      </a:cubicBezTo>
                      <a:cubicBezTo>
                        <a:pt x="189" y="306"/>
                        <a:pt x="188" y="303"/>
                        <a:pt x="188" y="303"/>
                      </a:cubicBezTo>
                      <a:cubicBezTo>
                        <a:pt x="190" y="303"/>
                        <a:pt x="194" y="304"/>
                        <a:pt x="196" y="303"/>
                      </a:cubicBezTo>
                      <a:cubicBezTo>
                        <a:pt x="198" y="303"/>
                        <a:pt x="199" y="297"/>
                        <a:pt x="203" y="300"/>
                      </a:cubicBezTo>
                      <a:cubicBezTo>
                        <a:pt x="203" y="295"/>
                        <a:pt x="197" y="296"/>
                        <a:pt x="198" y="290"/>
                      </a:cubicBezTo>
                      <a:cubicBezTo>
                        <a:pt x="203" y="289"/>
                        <a:pt x="200" y="288"/>
                        <a:pt x="199" y="281"/>
                      </a:cubicBezTo>
                      <a:cubicBezTo>
                        <a:pt x="199" y="276"/>
                        <a:pt x="202" y="273"/>
                        <a:pt x="201" y="268"/>
                      </a:cubicBezTo>
                      <a:cubicBezTo>
                        <a:pt x="204" y="268"/>
                        <a:pt x="206" y="268"/>
                        <a:pt x="209" y="268"/>
                      </a:cubicBezTo>
                      <a:cubicBezTo>
                        <a:pt x="214" y="268"/>
                        <a:pt x="204" y="263"/>
                        <a:pt x="213" y="264"/>
                      </a:cubicBezTo>
                      <a:cubicBezTo>
                        <a:pt x="213" y="266"/>
                        <a:pt x="215" y="266"/>
                        <a:pt x="216" y="266"/>
                      </a:cubicBezTo>
                      <a:cubicBezTo>
                        <a:pt x="213" y="270"/>
                        <a:pt x="213" y="266"/>
                        <a:pt x="214" y="272"/>
                      </a:cubicBezTo>
                      <a:cubicBezTo>
                        <a:pt x="215" y="275"/>
                        <a:pt x="214" y="278"/>
                        <a:pt x="218" y="277"/>
                      </a:cubicBezTo>
                      <a:cubicBezTo>
                        <a:pt x="218" y="280"/>
                        <a:pt x="218" y="282"/>
                        <a:pt x="216" y="283"/>
                      </a:cubicBezTo>
                      <a:cubicBezTo>
                        <a:pt x="216" y="286"/>
                        <a:pt x="224" y="280"/>
                        <a:pt x="227" y="285"/>
                      </a:cubicBezTo>
                      <a:cubicBezTo>
                        <a:pt x="226" y="290"/>
                        <a:pt x="215" y="286"/>
                        <a:pt x="214" y="292"/>
                      </a:cubicBezTo>
                      <a:cubicBezTo>
                        <a:pt x="213" y="296"/>
                        <a:pt x="219" y="297"/>
                        <a:pt x="220" y="298"/>
                      </a:cubicBezTo>
                      <a:cubicBezTo>
                        <a:pt x="222" y="299"/>
                        <a:pt x="222" y="302"/>
                        <a:pt x="226" y="301"/>
                      </a:cubicBezTo>
                      <a:cubicBezTo>
                        <a:pt x="224" y="298"/>
                        <a:pt x="219" y="298"/>
                        <a:pt x="227" y="298"/>
                      </a:cubicBezTo>
                      <a:cubicBezTo>
                        <a:pt x="230" y="298"/>
                        <a:pt x="233" y="297"/>
                        <a:pt x="235" y="298"/>
                      </a:cubicBezTo>
                      <a:cubicBezTo>
                        <a:pt x="238" y="298"/>
                        <a:pt x="239" y="300"/>
                        <a:pt x="242" y="300"/>
                      </a:cubicBezTo>
                      <a:cubicBezTo>
                        <a:pt x="247" y="300"/>
                        <a:pt x="248" y="296"/>
                        <a:pt x="253" y="298"/>
                      </a:cubicBezTo>
                      <a:cubicBezTo>
                        <a:pt x="254" y="298"/>
                        <a:pt x="260" y="301"/>
                        <a:pt x="263" y="298"/>
                      </a:cubicBezTo>
                      <a:cubicBezTo>
                        <a:pt x="263" y="298"/>
                        <a:pt x="263" y="296"/>
                        <a:pt x="263" y="296"/>
                      </a:cubicBezTo>
                      <a:cubicBezTo>
                        <a:pt x="268" y="294"/>
                        <a:pt x="274" y="296"/>
                        <a:pt x="276" y="292"/>
                      </a:cubicBezTo>
                      <a:cubicBezTo>
                        <a:pt x="283" y="300"/>
                        <a:pt x="288" y="286"/>
                        <a:pt x="293" y="290"/>
                      </a:cubicBezTo>
                      <a:cubicBezTo>
                        <a:pt x="293" y="288"/>
                        <a:pt x="293" y="285"/>
                        <a:pt x="293" y="283"/>
                      </a:cubicBezTo>
                      <a:cubicBezTo>
                        <a:pt x="296" y="284"/>
                        <a:pt x="296" y="281"/>
                        <a:pt x="296" y="279"/>
                      </a:cubicBezTo>
                      <a:cubicBezTo>
                        <a:pt x="296" y="279"/>
                        <a:pt x="298" y="274"/>
                        <a:pt x="298" y="273"/>
                      </a:cubicBezTo>
                      <a:cubicBezTo>
                        <a:pt x="300" y="272"/>
                        <a:pt x="298" y="272"/>
                        <a:pt x="298" y="268"/>
                      </a:cubicBezTo>
                      <a:cubicBezTo>
                        <a:pt x="302" y="268"/>
                        <a:pt x="305" y="267"/>
                        <a:pt x="306" y="264"/>
                      </a:cubicBezTo>
                      <a:cubicBezTo>
                        <a:pt x="308" y="264"/>
                        <a:pt x="307" y="266"/>
                        <a:pt x="308" y="268"/>
                      </a:cubicBezTo>
                      <a:cubicBezTo>
                        <a:pt x="309" y="266"/>
                        <a:pt x="312" y="266"/>
                        <a:pt x="315" y="266"/>
                      </a:cubicBezTo>
                      <a:cubicBezTo>
                        <a:pt x="317" y="266"/>
                        <a:pt x="316" y="262"/>
                        <a:pt x="319" y="262"/>
                      </a:cubicBezTo>
                      <a:cubicBezTo>
                        <a:pt x="319" y="258"/>
                        <a:pt x="318" y="255"/>
                        <a:pt x="315" y="255"/>
                      </a:cubicBezTo>
                      <a:cubicBezTo>
                        <a:pt x="316" y="253"/>
                        <a:pt x="317" y="251"/>
                        <a:pt x="317" y="247"/>
                      </a:cubicBezTo>
                      <a:cubicBezTo>
                        <a:pt x="321" y="248"/>
                        <a:pt x="323" y="247"/>
                        <a:pt x="322" y="244"/>
                      </a:cubicBezTo>
                      <a:cubicBezTo>
                        <a:pt x="327" y="248"/>
                        <a:pt x="328" y="241"/>
                        <a:pt x="335" y="244"/>
                      </a:cubicBezTo>
                      <a:cubicBezTo>
                        <a:pt x="336" y="244"/>
                        <a:pt x="338" y="246"/>
                        <a:pt x="337" y="246"/>
                      </a:cubicBezTo>
                      <a:cubicBezTo>
                        <a:pt x="339" y="246"/>
                        <a:pt x="339" y="244"/>
                        <a:pt x="341" y="244"/>
                      </a:cubicBezTo>
                      <a:cubicBezTo>
                        <a:pt x="343" y="243"/>
                        <a:pt x="345" y="245"/>
                        <a:pt x="345" y="246"/>
                      </a:cubicBezTo>
                      <a:cubicBezTo>
                        <a:pt x="347" y="245"/>
                        <a:pt x="345" y="243"/>
                        <a:pt x="347" y="242"/>
                      </a:cubicBezTo>
                      <a:cubicBezTo>
                        <a:pt x="348" y="241"/>
                        <a:pt x="350" y="242"/>
                        <a:pt x="350" y="242"/>
                      </a:cubicBezTo>
                      <a:cubicBezTo>
                        <a:pt x="353" y="240"/>
                        <a:pt x="353" y="236"/>
                        <a:pt x="358" y="238"/>
                      </a:cubicBezTo>
                      <a:cubicBezTo>
                        <a:pt x="355" y="236"/>
                        <a:pt x="357" y="229"/>
                        <a:pt x="352" y="229"/>
                      </a:cubicBezTo>
                      <a:cubicBezTo>
                        <a:pt x="349" y="226"/>
                        <a:pt x="349" y="232"/>
                        <a:pt x="349" y="232"/>
                      </a:cubicBezTo>
                      <a:cubicBezTo>
                        <a:pt x="347" y="233"/>
                        <a:pt x="346" y="230"/>
                        <a:pt x="345" y="231"/>
                      </a:cubicBezTo>
                      <a:cubicBezTo>
                        <a:pt x="344" y="231"/>
                        <a:pt x="342" y="232"/>
                        <a:pt x="343" y="232"/>
                      </a:cubicBezTo>
                      <a:cubicBezTo>
                        <a:pt x="341" y="232"/>
                        <a:pt x="341" y="230"/>
                        <a:pt x="339" y="231"/>
                      </a:cubicBezTo>
                      <a:cubicBezTo>
                        <a:pt x="336" y="231"/>
                        <a:pt x="334" y="234"/>
                        <a:pt x="330" y="232"/>
                      </a:cubicBezTo>
                      <a:cubicBezTo>
                        <a:pt x="328" y="232"/>
                        <a:pt x="328" y="235"/>
                        <a:pt x="328" y="236"/>
                      </a:cubicBezTo>
                      <a:cubicBezTo>
                        <a:pt x="320" y="235"/>
                        <a:pt x="312" y="237"/>
                        <a:pt x="306" y="234"/>
                      </a:cubicBezTo>
                      <a:cubicBezTo>
                        <a:pt x="305" y="234"/>
                        <a:pt x="306" y="231"/>
                        <a:pt x="306" y="231"/>
                      </a:cubicBezTo>
                      <a:cubicBezTo>
                        <a:pt x="304" y="229"/>
                        <a:pt x="299" y="231"/>
                        <a:pt x="298" y="229"/>
                      </a:cubicBezTo>
                      <a:cubicBezTo>
                        <a:pt x="303" y="218"/>
                        <a:pt x="300" y="213"/>
                        <a:pt x="298" y="201"/>
                      </a:cubicBezTo>
                      <a:cubicBezTo>
                        <a:pt x="303" y="200"/>
                        <a:pt x="311" y="193"/>
                        <a:pt x="313" y="197"/>
                      </a:cubicBezTo>
                      <a:cubicBezTo>
                        <a:pt x="316" y="195"/>
                        <a:pt x="313" y="194"/>
                        <a:pt x="315" y="190"/>
                      </a:cubicBezTo>
                      <a:cubicBezTo>
                        <a:pt x="321" y="190"/>
                        <a:pt x="321" y="179"/>
                        <a:pt x="322" y="177"/>
                      </a:cubicBezTo>
                      <a:cubicBezTo>
                        <a:pt x="323" y="176"/>
                        <a:pt x="326" y="177"/>
                        <a:pt x="326" y="177"/>
                      </a:cubicBezTo>
                      <a:cubicBezTo>
                        <a:pt x="326" y="173"/>
                        <a:pt x="319" y="171"/>
                        <a:pt x="322" y="167"/>
                      </a:cubicBezTo>
                      <a:cubicBezTo>
                        <a:pt x="320" y="169"/>
                        <a:pt x="315" y="167"/>
                        <a:pt x="311" y="167"/>
                      </a:cubicBezTo>
                      <a:cubicBezTo>
                        <a:pt x="307" y="168"/>
                        <a:pt x="303" y="172"/>
                        <a:pt x="298" y="171"/>
                      </a:cubicBezTo>
                      <a:cubicBezTo>
                        <a:pt x="295" y="168"/>
                        <a:pt x="295" y="182"/>
                        <a:pt x="296" y="178"/>
                      </a:cubicBezTo>
                      <a:cubicBezTo>
                        <a:pt x="295" y="182"/>
                        <a:pt x="294" y="177"/>
                        <a:pt x="293" y="178"/>
                      </a:cubicBezTo>
                      <a:cubicBezTo>
                        <a:pt x="291" y="180"/>
                        <a:pt x="294" y="184"/>
                        <a:pt x="293" y="186"/>
                      </a:cubicBezTo>
                      <a:cubicBezTo>
                        <a:pt x="292" y="187"/>
                        <a:pt x="288" y="191"/>
                        <a:pt x="285" y="193"/>
                      </a:cubicBezTo>
                      <a:cubicBezTo>
                        <a:pt x="280" y="199"/>
                        <a:pt x="280" y="203"/>
                        <a:pt x="272" y="203"/>
                      </a:cubicBezTo>
                      <a:cubicBezTo>
                        <a:pt x="272" y="205"/>
                        <a:pt x="275" y="208"/>
                        <a:pt x="272" y="208"/>
                      </a:cubicBezTo>
                      <a:cubicBezTo>
                        <a:pt x="270" y="208"/>
                        <a:pt x="272" y="211"/>
                        <a:pt x="270" y="212"/>
                      </a:cubicBezTo>
                      <a:cubicBezTo>
                        <a:pt x="270" y="212"/>
                        <a:pt x="267" y="211"/>
                        <a:pt x="267" y="212"/>
                      </a:cubicBezTo>
                      <a:cubicBezTo>
                        <a:pt x="266" y="213"/>
                        <a:pt x="267" y="215"/>
                        <a:pt x="267" y="216"/>
                      </a:cubicBezTo>
                      <a:cubicBezTo>
                        <a:pt x="266" y="216"/>
                        <a:pt x="265" y="215"/>
                        <a:pt x="265" y="216"/>
                      </a:cubicBezTo>
                      <a:cubicBezTo>
                        <a:pt x="264" y="218"/>
                        <a:pt x="266" y="223"/>
                        <a:pt x="263" y="223"/>
                      </a:cubicBezTo>
                      <a:cubicBezTo>
                        <a:pt x="264" y="225"/>
                        <a:pt x="268" y="226"/>
                        <a:pt x="265" y="227"/>
                      </a:cubicBezTo>
                      <a:cubicBezTo>
                        <a:pt x="267" y="229"/>
                        <a:pt x="269" y="232"/>
                        <a:pt x="274" y="232"/>
                      </a:cubicBezTo>
                      <a:cubicBezTo>
                        <a:pt x="274" y="236"/>
                        <a:pt x="275" y="237"/>
                        <a:pt x="278" y="238"/>
                      </a:cubicBezTo>
                      <a:cubicBezTo>
                        <a:pt x="276" y="240"/>
                        <a:pt x="275" y="240"/>
                        <a:pt x="274" y="242"/>
                      </a:cubicBezTo>
                      <a:cubicBezTo>
                        <a:pt x="273" y="244"/>
                        <a:pt x="274" y="246"/>
                        <a:pt x="272" y="247"/>
                      </a:cubicBezTo>
                      <a:cubicBezTo>
                        <a:pt x="270" y="249"/>
                        <a:pt x="268" y="249"/>
                        <a:pt x="265" y="249"/>
                      </a:cubicBezTo>
                      <a:cubicBezTo>
                        <a:pt x="264" y="257"/>
                        <a:pt x="257" y="259"/>
                        <a:pt x="259" y="270"/>
                      </a:cubicBezTo>
                      <a:cubicBezTo>
                        <a:pt x="252" y="267"/>
                        <a:pt x="253" y="279"/>
                        <a:pt x="248" y="279"/>
                      </a:cubicBezTo>
                      <a:cubicBezTo>
                        <a:pt x="247" y="279"/>
                        <a:pt x="247" y="279"/>
                        <a:pt x="246" y="279"/>
                      </a:cubicBezTo>
                      <a:cubicBezTo>
                        <a:pt x="244" y="280"/>
                        <a:pt x="245" y="282"/>
                        <a:pt x="244" y="283"/>
                      </a:cubicBezTo>
                      <a:cubicBezTo>
                        <a:pt x="241" y="284"/>
                        <a:pt x="237" y="280"/>
                        <a:pt x="235" y="285"/>
                      </a:cubicBezTo>
                      <a:cubicBezTo>
                        <a:pt x="231" y="284"/>
                        <a:pt x="234" y="277"/>
                        <a:pt x="233" y="273"/>
                      </a:cubicBezTo>
                      <a:cubicBezTo>
                        <a:pt x="231" y="272"/>
                        <a:pt x="232" y="268"/>
                        <a:pt x="229" y="268"/>
                      </a:cubicBezTo>
                      <a:cubicBezTo>
                        <a:pt x="224" y="268"/>
                        <a:pt x="231" y="262"/>
                        <a:pt x="224" y="262"/>
                      </a:cubicBezTo>
                      <a:cubicBezTo>
                        <a:pt x="227" y="258"/>
                        <a:pt x="220" y="257"/>
                        <a:pt x="220" y="255"/>
                      </a:cubicBezTo>
                      <a:cubicBezTo>
                        <a:pt x="220" y="254"/>
                        <a:pt x="222" y="253"/>
                        <a:pt x="222" y="251"/>
                      </a:cubicBezTo>
                      <a:cubicBezTo>
                        <a:pt x="221" y="246"/>
                        <a:pt x="217" y="243"/>
                        <a:pt x="213" y="240"/>
                      </a:cubicBezTo>
                      <a:cubicBezTo>
                        <a:pt x="207" y="242"/>
                        <a:pt x="209" y="251"/>
                        <a:pt x="199" y="249"/>
                      </a:cubicBezTo>
                      <a:cubicBezTo>
                        <a:pt x="200" y="251"/>
                        <a:pt x="202" y="251"/>
                        <a:pt x="203" y="251"/>
                      </a:cubicBezTo>
                      <a:cubicBezTo>
                        <a:pt x="203" y="253"/>
                        <a:pt x="201" y="253"/>
                        <a:pt x="199" y="253"/>
                      </a:cubicBezTo>
                      <a:cubicBezTo>
                        <a:pt x="196" y="253"/>
                        <a:pt x="198" y="259"/>
                        <a:pt x="194" y="259"/>
                      </a:cubicBezTo>
                      <a:cubicBezTo>
                        <a:pt x="185" y="260"/>
                        <a:pt x="188" y="251"/>
                        <a:pt x="179" y="253"/>
                      </a:cubicBezTo>
                      <a:cubicBezTo>
                        <a:pt x="179" y="251"/>
                        <a:pt x="181" y="252"/>
                        <a:pt x="183" y="251"/>
                      </a:cubicBezTo>
                      <a:cubicBezTo>
                        <a:pt x="185" y="246"/>
                        <a:pt x="178" y="242"/>
                        <a:pt x="183" y="240"/>
                      </a:cubicBezTo>
                      <a:cubicBezTo>
                        <a:pt x="181" y="238"/>
                        <a:pt x="179" y="237"/>
                        <a:pt x="177" y="236"/>
                      </a:cubicBezTo>
                      <a:cubicBezTo>
                        <a:pt x="176" y="234"/>
                        <a:pt x="179" y="233"/>
                        <a:pt x="179" y="232"/>
                      </a:cubicBezTo>
                      <a:cubicBezTo>
                        <a:pt x="179" y="231"/>
                        <a:pt x="175" y="229"/>
                        <a:pt x="175" y="229"/>
                      </a:cubicBezTo>
                      <a:cubicBezTo>
                        <a:pt x="175" y="227"/>
                        <a:pt x="178" y="216"/>
                        <a:pt x="175" y="223"/>
                      </a:cubicBezTo>
                      <a:cubicBezTo>
                        <a:pt x="172" y="222"/>
                        <a:pt x="174" y="219"/>
                        <a:pt x="177" y="219"/>
                      </a:cubicBezTo>
                      <a:cubicBezTo>
                        <a:pt x="173" y="213"/>
                        <a:pt x="183" y="211"/>
                        <a:pt x="179" y="210"/>
                      </a:cubicBezTo>
                      <a:cubicBezTo>
                        <a:pt x="179" y="207"/>
                        <a:pt x="184" y="209"/>
                        <a:pt x="185" y="206"/>
                      </a:cubicBezTo>
                      <a:cubicBezTo>
                        <a:pt x="185" y="204"/>
                        <a:pt x="187" y="206"/>
                        <a:pt x="186" y="206"/>
                      </a:cubicBezTo>
                      <a:cubicBezTo>
                        <a:pt x="188" y="205"/>
                        <a:pt x="188" y="203"/>
                        <a:pt x="190" y="203"/>
                      </a:cubicBezTo>
                      <a:cubicBezTo>
                        <a:pt x="192" y="202"/>
                        <a:pt x="192" y="199"/>
                        <a:pt x="192" y="197"/>
                      </a:cubicBezTo>
                      <a:cubicBezTo>
                        <a:pt x="196" y="198"/>
                        <a:pt x="198" y="197"/>
                        <a:pt x="198" y="193"/>
                      </a:cubicBezTo>
                      <a:cubicBezTo>
                        <a:pt x="203" y="192"/>
                        <a:pt x="200" y="200"/>
                        <a:pt x="207" y="197"/>
                      </a:cubicBezTo>
                      <a:cubicBezTo>
                        <a:pt x="207" y="195"/>
                        <a:pt x="205" y="196"/>
                        <a:pt x="203" y="195"/>
                      </a:cubicBezTo>
                      <a:cubicBezTo>
                        <a:pt x="208" y="191"/>
                        <a:pt x="214" y="193"/>
                        <a:pt x="218" y="188"/>
                      </a:cubicBezTo>
                      <a:cubicBezTo>
                        <a:pt x="219" y="187"/>
                        <a:pt x="217" y="185"/>
                        <a:pt x="218" y="184"/>
                      </a:cubicBezTo>
                      <a:cubicBezTo>
                        <a:pt x="219" y="183"/>
                        <a:pt x="221" y="185"/>
                        <a:pt x="222" y="184"/>
                      </a:cubicBezTo>
                      <a:cubicBezTo>
                        <a:pt x="223" y="183"/>
                        <a:pt x="221" y="180"/>
                        <a:pt x="222" y="178"/>
                      </a:cubicBezTo>
                      <a:cubicBezTo>
                        <a:pt x="222" y="177"/>
                        <a:pt x="227" y="176"/>
                        <a:pt x="227" y="175"/>
                      </a:cubicBezTo>
                      <a:cubicBezTo>
                        <a:pt x="228" y="173"/>
                        <a:pt x="226" y="169"/>
                        <a:pt x="227" y="167"/>
                      </a:cubicBezTo>
                      <a:cubicBezTo>
                        <a:pt x="228" y="167"/>
                        <a:pt x="230" y="170"/>
                        <a:pt x="231" y="169"/>
                      </a:cubicBezTo>
                      <a:cubicBezTo>
                        <a:pt x="229" y="170"/>
                        <a:pt x="234" y="160"/>
                        <a:pt x="233" y="160"/>
                      </a:cubicBezTo>
                      <a:cubicBezTo>
                        <a:pt x="237" y="164"/>
                        <a:pt x="238" y="157"/>
                        <a:pt x="242" y="156"/>
                      </a:cubicBezTo>
                      <a:cubicBezTo>
                        <a:pt x="242" y="153"/>
                        <a:pt x="245" y="151"/>
                        <a:pt x="242" y="150"/>
                      </a:cubicBezTo>
                      <a:cubicBezTo>
                        <a:pt x="243" y="147"/>
                        <a:pt x="248" y="150"/>
                        <a:pt x="248" y="145"/>
                      </a:cubicBezTo>
                      <a:cubicBezTo>
                        <a:pt x="248" y="143"/>
                        <a:pt x="251" y="143"/>
                        <a:pt x="253" y="143"/>
                      </a:cubicBezTo>
                      <a:cubicBezTo>
                        <a:pt x="254" y="141"/>
                        <a:pt x="253" y="140"/>
                        <a:pt x="252" y="139"/>
                      </a:cubicBezTo>
                      <a:cubicBezTo>
                        <a:pt x="257" y="135"/>
                        <a:pt x="260" y="135"/>
                        <a:pt x="265" y="134"/>
                      </a:cubicBezTo>
                      <a:cubicBezTo>
                        <a:pt x="267" y="132"/>
                        <a:pt x="264" y="131"/>
                        <a:pt x="267" y="126"/>
                      </a:cubicBezTo>
                      <a:cubicBezTo>
                        <a:pt x="268" y="125"/>
                        <a:pt x="272" y="124"/>
                        <a:pt x="272" y="121"/>
                      </a:cubicBezTo>
                      <a:cubicBezTo>
                        <a:pt x="272" y="116"/>
                        <a:pt x="278" y="123"/>
                        <a:pt x="278" y="115"/>
                      </a:cubicBezTo>
                      <a:cubicBezTo>
                        <a:pt x="285" y="112"/>
                        <a:pt x="292" y="119"/>
                        <a:pt x="293" y="108"/>
                      </a:cubicBezTo>
                      <a:cubicBezTo>
                        <a:pt x="296" y="110"/>
                        <a:pt x="304" y="106"/>
                        <a:pt x="309" y="109"/>
                      </a:cubicBezTo>
                      <a:cubicBezTo>
                        <a:pt x="311" y="108"/>
                        <a:pt x="312" y="106"/>
                        <a:pt x="313" y="104"/>
                      </a:cubicBezTo>
                      <a:cubicBezTo>
                        <a:pt x="318" y="101"/>
                        <a:pt x="323" y="110"/>
                        <a:pt x="322" y="102"/>
                      </a:cubicBezTo>
                      <a:cubicBezTo>
                        <a:pt x="326" y="103"/>
                        <a:pt x="326" y="107"/>
                        <a:pt x="330" y="108"/>
                      </a:cubicBezTo>
                      <a:cubicBezTo>
                        <a:pt x="333" y="107"/>
                        <a:pt x="332" y="102"/>
                        <a:pt x="337" y="104"/>
                      </a:cubicBezTo>
                      <a:cubicBezTo>
                        <a:pt x="338" y="107"/>
                        <a:pt x="336" y="107"/>
                        <a:pt x="335" y="109"/>
                      </a:cubicBezTo>
                      <a:cubicBezTo>
                        <a:pt x="337" y="110"/>
                        <a:pt x="346" y="101"/>
                        <a:pt x="350" y="106"/>
                      </a:cubicBezTo>
                      <a:cubicBezTo>
                        <a:pt x="353" y="108"/>
                        <a:pt x="351" y="105"/>
                        <a:pt x="354" y="106"/>
                      </a:cubicBezTo>
                      <a:cubicBezTo>
                        <a:pt x="358" y="106"/>
                        <a:pt x="362" y="109"/>
                        <a:pt x="367" y="108"/>
                      </a:cubicBezTo>
                      <a:cubicBezTo>
                        <a:pt x="366" y="109"/>
                        <a:pt x="368" y="112"/>
                        <a:pt x="367" y="113"/>
                      </a:cubicBezTo>
                      <a:cubicBezTo>
                        <a:pt x="367" y="114"/>
                        <a:pt x="364" y="113"/>
                        <a:pt x="363" y="113"/>
                      </a:cubicBezTo>
                      <a:cubicBezTo>
                        <a:pt x="362" y="115"/>
                        <a:pt x="364" y="118"/>
                        <a:pt x="360" y="117"/>
                      </a:cubicBezTo>
                      <a:cubicBezTo>
                        <a:pt x="363" y="121"/>
                        <a:pt x="374" y="118"/>
                        <a:pt x="378" y="117"/>
                      </a:cubicBezTo>
                      <a:cubicBezTo>
                        <a:pt x="382" y="115"/>
                        <a:pt x="381" y="120"/>
                        <a:pt x="382" y="121"/>
                      </a:cubicBezTo>
                      <a:cubicBezTo>
                        <a:pt x="384" y="122"/>
                        <a:pt x="388" y="119"/>
                        <a:pt x="388" y="122"/>
                      </a:cubicBezTo>
                      <a:cubicBezTo>
                        <a:pt x="401" y="119"/>
                        <a:pt x="404" y="130"/>
                        <a:pt x="412" y="126"/>
                      </a:cubicBezTo>
                      <a:cubicBezTo>
                        <a:pt x="410" y="132"/>
                        <a:pt x="418" y="129"/>
                        <a:pt x="418" y="134"/>
                      </a:cubicBezTo>
                      <a:cubicBezTo>
                        <a:pt x="422" y="134"/>
                        <a:pt x="430" y="133"/>
                        <a:pt x="425" y="137"/>
                      </a:cubicBezTo>
                      <a:cubicBezTo>
                        <a:pt x="429" y="139"/>
                        <a:pt x="433" y="138"/>
                        <a:pt x="436" y="139"/>
                      </a:cubicBezTo>
                      <a:cubicBezTo>
                        <a:pt x="437" y="139"/>
                        <a:pt x="436" y="143"/>
                        <a:pt x="436" y="143"/>
                      </a:cubicBezTo>
                      <a:cubicBezTo>
                        <a:pt x="437" y="144"/>
                        <a:pt x="441" y="142"/>
                        <a:pt x="442" y="143"/>
                      </a:cubicBezTo>
                      <a:cubicBezTo>
                        <a:pt x="443" y="150"/>
                        <a:pt x="443" y="152"/>
                        <a:pt x="442" y="160"/>
                      </a:cubicBezTo>
                      <a:cubicBezTo>
                        <a:pt x="439" y="155"/>
                        <a:pt x="435" y="161"/>
                        <a:pt x="431" y="162"/>
                      </a:cubicBezTo>
                      <a:cubicBezTo>
                        <a:pt x="425" y="162"/>
                        <a:pt x="419" y="156"/>
                        <a:pt x="414" y="162"/>
                      </a:cubicBezTo>
                      <a:cubicBezTo>
                        <a:pt x="412" y="162"/>
                        <a:pt x="413" y="158"/>
                        <a:pt x="412" y="158"/>
                      </a:cubicBezTo>
                      <a:cubicBezTo>
                        <a:pt x="409" y="157"/>
                        <a:pt x="409" y="160"/>
                        <a:pt x="408" y="160"/>
                      </a:cubicBezTo>
                      <a:cubicBezTo>
                        <a:pt x="406" y="160"/>
                        <a:pt x="405" y="156"/>
                        <a:pt x="404" y="156"/>
                      </a:cubicBezTo>
                      <a:cubicBezTo>
                        <a:pt x="401" y="156"/>
                        <a:pt x="396" y="161"/>
                        <a:pt x="397" y="154"/>
                      </a:cubicBezTo>
                      <a:cubicBezTo>
                        <a:pt x="391" y="156"/>
                        <a:pt x="393" y="154"/>
                        <a:pt x="386" y="154"/>
                      </a:cubicBezTo>
                      <a:cubicBezTo>
                        <a:pt x="385" y="157"/>
                        <a:pt x="387" y="158"/>
                        <a:pt x="390" y="158"/>
                      </a:cubicBezTo>
                      <a:cubicBezTo>
                        <a:pt x="393" y="157"/>
                        <a:pt x="393" y="160"/>
                        <a:pt x="395" y="160"/>
                      </a:cubicBezTo>
                      <a:cubicBezTo>
                        <a:pt x="392" y="163"/>
                        <a:pt x="395" y="162"/>
                        <a:pt x="397" y="163"/>
                      </a:cubicBezTo>
                      <a:cubicBezTo>
                        <a:pt x="398" y="164"/>
                        <a:pt x="397" y="166"/>
                        <a:pt x="397" y="167"/>
                      </a:cubicBezTo>
                      <a:cubicBezTo>
                        <a:pt x="398" y="169"/>
                        <a:pt x="401" y="169"/>
                        <a:pt x="401" y="171"/>
                      </a:cubicBezTo>
                      <a:cubicBezTo>
                        <a:pt x="401" y="173"/>
                        <a:pt x="405" y="178"/>
                        <a:pt x="404" y="184"/>
                      </a:cubicBezTo>
                      <a:cubicBezTo>
                        <a:pt x="405" y="190"/>
                        <a:pt x="416" y="186"/>
                        <a:pt x="418" y="191"/>
                      </a:cubicBezTo>
                      <a:cubicBezTo>
                        <a:pt x="419" y="190"/>
                        <a:pt x="419" y="187"/>
                        <a:pt x="423" y="188"/>
                      </a:cubicBezTo>
                      <a:cubicBezTo>
                        <a:pt x="422" y="182"/>
                        <a:pt x="414" y="184"/>
                        <a:pt x="412" y="180"/>
                      </a:cubicBezTo>
                      <a:cubicBezTo>
                        <a:pt x="411" y="173"/>
                        <a:pt x="422" y="178"/>
                        <a:pt x="427" y="177"/>
                      </a:cubicBezTo>
                      <a:cubicBezTo>
                        <a:pt x="426" y="181"/>
                        <a:pt x="435" y="176"/>
                        <a:pt x="432" y="182"/>
                      </a:cubicBezTo>
                      <a:cubicBezTo>
                        <a:pt x="437" y="184"/>
                        <a:pt x="440" y="176"/>
                        <a:pt x="440" y="184"/>
                      </a:cubicBezTo>
                      <a:cubicBezTo>
                        <a:pt x="445" y="181"/>
                        <a:pt x="440" y="174"/>
                        <a:pt x="436" y="175"/>
                      </a:cubicBezTo>
                      <a:cubicBezTo>
                        <a:pt x="437" y="171"/>
                        <a:pt x="441" y="170"/>
                        <a:pt x="445" y="169"/>
                      </a:cubicBezTo>
                      <a:cubicBezTo>
                        <a:pt x="448" y="167"/>
                        <a:pt x="448" y="162"/>
                        <a:pt x="451" y="160"/>
                      </a:cubicBezTo>
                      <a:cubicBezTo>
                        <a:pt x="459" y="159"/>
                        <a:pt x="463" y="162"/>
                        <a:pt x="468" y="163"/>
                      </a:cubicBezTo>
                      <a:cubicBezTo>
                        <a:pt x="470" y="163"/>
                        <a:pt x="469" y="160"/>
                        <a:pt x="472" y="160"/>
                      </a:cubicBezTo>
                      <a:cubicBezTo>
                        <a:pt x="472" y="157"/>
                        <a:pt x="470" y="155"/>
                        <a:pt x="468" y="154"/>
                      </a:cubicBezTo>
                      <a:cubicBezTo>
                        <a:pt x="471" y="147"/>
                        <a:pt x="471" y="140"/>
                        <a:pt x="470" y="134"/>
                      </a:cubicBezTo>
                      <a:cubicBezTo>
                        <a:pt x="476" y="134"/>
                        <a:pt x="481" y="133"/>
                        <a:pt x="485" y="136"/>
                      </a:cubicBezTo>
                      <a:cubicBezTo>
                        <a:pt x="486" y="136"/>
                        <a:pt x="491" y="136"/>
                        <a:pt x="490" y="141"/>
                      </a:cubicBezTo>
                      <a:cubicBezTo>
                        <a:pt x="486" y="141"/>
                        <a:pt x="483" y="141"/>
                        <a:pt x="479" y="141"/>
                      </a:cubicBezTo>
                      <a:cubicBezTo>
                        <a:pt x="479" y="143"/>
                        <a:pt x="479" y="145"/>
                        <a:pt x="479" y="147"/>
                      </a:cubicBezTo>
                      <a:cubicBezTo>
                        <a:pt x="483" y="152"/>
                        <a:pt x="485" y="146"/>
                        <a:pt x="488" y="149"/>
                      </a:cubicBezTo>
                      <a:cubicBezTo>
                        <a:pt x="490" y="150"/>
                        <a:pt x="483" y="151"/>
                        <a:pt x="483" y="150"/>
                      </a:cubicBezTo>
                      <a:cubicBezTo>
                        <a:pt x="481" y="154"/>
                        <a:pt x="488" y="150"/>
                        <a:pt x="490" y="154"/>
                      </a:cubicBezTo>
                      <a:cubicBezTo>
                        <a:pt x="493" y="152"/>
                        <a:pt x="497" y="150"/>
                        <a:pt x="500" y="147"/>
                      </a:cubicBezTo>
                      <a:cubicBezTo>
                        <a:pt x="500" y="146"/>
                        <a:pt x="502" y="145"/>
                        <a:pt x="501" y="143"/>
                      </a:cubicBezTo>
                      <a:cubicBezTo>
                        <a:pt x="510" y="145"/>
                        <a:pt x="509" y="138"/>
                        <a:pt x="516" y="139"/>
                      </a:cubicBezTo>
                      <a:cubicBezTo>
                        <a:pt x="519" y="138"/>
                        <a:pt x="520" y="137"/>
                        <a:pt x="520" y="134"/>
                      </a:cubicBezTo>
                      <a:cubicBezTo>
                        <a:pt x="523" y="134"/>
                        <a:pt x="525" y="132"/>
                        <a:pt x="526" y="130"/>
                      </a:cubicBezTo>
                      <a:cubicBezTo>
                        <a:pt x="533" y="136"/>
                        <a:pt x="539" y="127"/>
                        <a:pt x="546" y="126"/>
                      </a:cubicBezTo>
                      <a:cubicBezTo>
                        <a:pt x="546" y="129"/>
                        <a:pt x="546" y="131"/>
                        <a:pt x="546" y="134"/>
                      </a:cubicBezTo>
                      <a:cubicBezTo>
                        <a:pt x="553" y="134"/>
                        <a:pt x="559" y="134"/>
                        <a:pt x="563" y="132"/>
                      </a:cubicBezTo>
                      <a:cubicBezTo>
                        <a:pt x="564" y="132"/>
                        <a:pt x="566" y="132"/>
                        <a:pt x="567" y="132"/>
                      </a:cubicBezTo>
                      <a:cubicBezTo>
                        <a:pt x="567" y="132"/>
                        <a:pt x="566" y="130"/>
                        <a:pt x="567" y="130"/>
                      </a:cubicBezTo>
                      <a:cubicBezTo>
                        <a:pt x="570" y="129"/>
                        <a:pt x="576" y="130"/>
                        <a:pt x="576" y="124"/>
                      </a:cubicBezTo>
                      <a:cubicBezTo>
                        <a:pt x="581" y="127"/>
                        <a:pt x="588" y="127"/>
                        <a:pt x="591" y="132"/>
                      </a:cubicBezTo>
                      <a:cubicBezTo>
                        <a:pt x="594" y="131"/>
                        <a:pt x="595" y="129"/>
                        <a:pt x="596" y="126"/>
                      </a:cubicBezTo>
                      <a:cubicBezTo>
                        <a:pt x="597" y="124"/>
                        <a:pt x="588" y="122"/>
                        <a:pt x="595" y="121"/>
                      </a:cubicBezTo>
                      <a:cubicBezTo>
                        <a:pt x="592" y="116"/>
                        <a:pt x="583" y="118"/>
                        <a:pt x="585" y="108"/>
                      </a:cubicBezTo>
                      <a:cubicBezTo>
                        <a:pt x="588" y="109"/>
                        <a:pt x="589" y="112"/>
                        <a:pt x="595" y="113"/>
                      </a:cubicBezTo>
                      <a:cubicBezTo>
                        <a:pt x="597" y="114"/>
                        <a:pt x="600" y="118"/>
                        <a:pt x="606" y="117"/>
                      </a:cubicBezTo>
                      <a:cubicBezTo>
                        <a:pt x="607" y="117"/>
                        <a:pt x="608" y="115"/>
                        <a:pt x="608" y="115"/>
                      </a:cubicBezTo>
                      <a:cubicBezTo>
                        <a:pt x="609" y="115"/>
                        <a:pt x="611" y="118"/>
                        <a:pt x="611" y="115"/>
                      </a:cubicBezTo>
                      <a:cubicBezTo>
                        <a:pt x="614" y="115"/>
                        <a:pt x="614" y="118"/>
                        <a:pt x="615" y="119"/>
                      </a:cubicBezTo>
                      <a:cubicBezTo>
                        <a:pt x="618" y="120"/>
                        <a:pt x="621" y="118"/>
                        <a:pt x="621" y="122"/>
                      </a:cubicBezTo>
                      <a:cubicBezTo>
                        <a:pt x="627" y="120"/>
                        <a:pt x="629" y="124"/>
                        <a:pt x="636" y="121"/>
                      </a:cubicBezTo>
                      <a:cubicBezTo>
                        <a:pt x="633" y="127"/>
                        <a:pt x="642" y="122"/>
                        <a:pt x="639" y="128"/>
                      </a:cubicBezTo>
                      <a:cubicBezTo>
                        <a:pt x="643" y="128"/>
                        <a:pt x="644" y="129"/>
                        <a:pt x="645" y="132"/>
                      </a:cubicBezTo>
                      <a:cubicBezTo>
                        <a:pt x="651" y="131"/>
                        <a:pt x="652" y="135"/>
                        <a:pt x="658" y="134"/>
                      </a:cubicBezTo>
                      <a:cubicBezTo>
                        <a:pt x="661" y="122"/>
                        <a:pt x="647" y="128"/>
                        <a:pt x="651" y="117"/>
                      </a:cubicBezTo>
                      <a:cubicBezTo>
                        <a:pt x="650" y="114"/>
                        <a:pt x="648" y="118"/>
                        <a:pt x="645" y="117"/>
                      </a:cubicBezTo>
                      <a:cubicBezTo>
                        <a:pt x="645" y="113"/>
                        <a:pt x="648" y="111"/>
                        <a:pt x="647" y="106"/>
                      </a:cubicBezTo>
                      <a:cubicBezTo>
                        <a:pt x="647" y="103"/>
                        <a:pt x="644" y="105"/>
                        <a:pt x="643" y="104"/>
                      </a:cubicBezTo>
                      <a:cubicBezTo>
                        <a:pt x="643" y="103"/>
                        <a:pt x="647" y="100"/>
                        <a:pt x="643" y="100"/>
                      </a:cubicBezTo>
                      <a:cubicBezTo>
                        <a:pt x="643" y="96"/>
                        <a:pt x="648" y="98"/>
                        <a:pt x="647" y="93"/>
                      </a:cubicBezTo>
                      <a:cubicBezTo>
                        <a:pt x="651" y="93"/>
                        <a:pt x="649" y="88"/>
                        <a:pt x="654" y="89"/>
                      </a:cubicBezTo>
                      <a:cubicBezTo>
                        <a:pt x="654" y="85"/>
                        <a:pt x="656" y="83"/>
                        <a:pt x="660" y="83"/>
                      </a:cubicBezTo>
                      <a:cubicBezTo>
                        <a:pt x="658" y="75"/>
                        <a:pt x="666" y="77"/>
                        <a:pt x="665" y="70"/>
                      </a:cubicBezTo>
                      <a:cubicBezTo>
                        <a:pt x="674" y="69"/>
                        <a:pt x="678" y="73"/>
                        <a:pt x="684" y="74"/>
                      </a:cubicBezTo>
                      <a:cubicBezTo>
                        <a:pt x="684" y="77"/>
                        <a:pt x="684" y="79"/>
                        <a:pt x="686" y="80"/>
                      </a:cubicBezTo>
                      <a:cubicBezTo>
                        <a:pt x="686" y="82"/>
                        <a:pt x="682" y="81"/>
                        <a:pt x="680" y="81"/>
                      </a:cubicBezTo>
                      <a:cubicBezTo>
                        <a:pt x="680" y="89"/>
                        <a:pt x="684" y="92"/>
                        <a:pt x="680" y="98"/>
                      </a:cubicBezTo>
                      <a:cubicBezTo>
                        <a:pt x="682" y="99"/>
                        <a:pt x="683" y="101"/>
                        <a:pt x="684" y="102"/>
                      </a:cubicBezTo>
                      <a:cubicBezTo>
                        <a:pt x="685" y="103"/>
                        <a:pt x="686" y="104"/>
                        <a:pt x="688" y="104"/>
                      </a:cubicBezTo>
                      <a:cubicBezTo>
                        <a:pt x="685" y="108"/>
                        <a:pt x="687" y="118"/>
                        <a:pt x="684" y="122"/>
                      </a:cubicBezTo>
                      <a:cubicBezTo>
                        <a:pt x="682" y="128"/>
                        <a:pt x="689" y="126"/>
                        <a:pt x="690" y="130"/>
                      </a:cubicBezTo>
                      <a:cubicBezTo>
                        <a:pt x="688" y="145"/>
                        <a:pt x="682" y="154"/>
                        <a:pt x="669" y="158"/>
                      </a:cubicBezTo>
                      <a:cubicBezTo>
                        <a:pt x="670" y="162"/>
                        <a:pt x="677" y="158"/>
                        <a:pt x="678" y="162"/>
                      </a:cubicBezTo>
                      <a:cubicBezTo>
                        <a:pt x="683" y="161"/>
                        <a:pt x="682" y="155"/>
                        <a:pt x="688" y="156"/>
                      </a:cubicBezTo>
                      <a:cubicBezTo>
                        <a:pt x="687" y="158"/>
                        <a:pt x="686" y="159"/>
                        <a:pt x="686" y="162"/>
                      </a:cubicBezTo>
                      <a:cubicBezTo>
                        <a:pt x="688" y="161"/>
                        <a:pt x="687" y="158"/>
                        <a:pt x="690" y="158"/>
                      </a:cubicBezTo>
                      <a:cubicBezTo>
                        <a:pt x="692" y="158"/>
                        <a:pt x="691" y="155"/>
                        <a:pt x="692" y="154"/>
                      </a:cubicBezTo>
                      <a:cubicBezTo>
                        <a:pt x="692" y="154"/>
                        <a:pt x="695" y="155"/>
                        <a:pt x="695" y="154"/>
                      </a:cubicBezTo>
                      <a:cubicBezTo>
                        <a:pt x="696" y="153"/>
                        <a:pt x="695" y="150"/>
                        <a:pt x="695" y="149"/>
                      </a:cubicBezTo>
                      <a:cubicBezTo>
                        <a:pt x="697" y="149"/>
                        <a:pt x="699" y="149"/>
                        <a:pt x="701" y="149"/>
                      </a:cubicBezTo>
                      <a:cubicBezTo>
                        <a:pt x="699" y="143"/>
                        <a:pt x="707" y="137"/>
                        <a:pt x="701" y="134"/>
                      </a:cubicBezTo>
                      <a:cubicBezTo>
                        <a:pt x="701" y="132"/>
                        <a:pt x="705" y="132"/>
                        <a:pt x="705" y="130"/>
                      </a:cubicBezTo>
                      <a:cubicBezTo>
                        <a:pt x="705" y="128"/>
                        <a:pt x="702" y="128"/>
                        <a:pt x="701" y="128"/>
                      </a:cubicBezTo>
                      <a:cubicBezTo>
                        <a:pt x="701" y="124"/>
                        <a:pt x="707" y="127"/>
                        <a:pt x="710" y="126"/>
                      </a:cubicBezTo>
                      <a:cubicBezTo>
                        <a:pt x="708" y="124"/>
                        <a:pt x="710" y="119"/>
                        <a:pt x="705" y="121"/>
                      </a:cubicBezTo>
                      <a:cubicBezTo>
                        <a:pt x="700" y="123"/>
                        <a:pt x="698" y="116"/>
                        <a:pt x="697" y="121"/>
                      </a:cubicBezTo>
                      <a:cubicBezTo>
                        <a:pt x="694" y="117"/>
                        <a:pt x="694" y="113"/>
                        <a:pt x="695" y="109"/>
                      </a:cubicBezTo>
                      <a:cubicBezTo>
                        <a:pt x="695" y="109"/>
                        <a:pt x="699" y="110"/>
                        <a:pt x="699" y="109"/>
                      </a:cubicBezTo>
                      <a:cubicBezTo>
                        <a:pt x="701" y="108"/>
                        <a:pt x="698" y="102"/>
                        <a:pt x="699" y="100"/>
                      </a:cubicBezTo>
                      <a:cubicBezTo>
                        <a:pt x="699" y="97"/>
                        <a:pt x="697" y="100"/>
                        <a:pt x="697" y="100"/>
                      </a:cubicBezTo>
                      <a:cubicBezTo>
                        <a:pt x="693" y="97"/>
                        <a:pt x="696" y="93"/>
                        <a:pt x="693" y="89"/>
                      </a:cubicBezTo>
                      <a:cubicBezTo>
                        <a:pt x="701" y="91"/>
                        <a:pt x="698" y="84"/>
                        <a:pt x="703" y="83"/>
                      </a:cubicBezTo>
                      <a:cubicBezTo>
                        <a:pt x="703" y="80"/>
                        <a:pt x="703" y="77"/>
                        <a:pt x="703" y="74"/>
                      </a:cubicBezTo>
                      <a:cubicBezTo>
                        <a:pt x="709" y="72"/>
                        <a:pt x="706" y="80"/>
                        <a:pt x="706" y="83"/>
                      </a:cubicBezTo>
                      <a:cubicBezTo>
                        <a:pt x="707" y="86"/>
                        <a:pt x="710" y="82"/>
                        <a:pt x="710" y="85"/>
                      </a:cubicBezTo>
                      <a:cubicBezTo>
                        <a:pt x="710" y="86"/>
                        <a:pt x="708" y="88"/>
                        <a:pt x="708" y="87"/>
                      </a:cubicBezTo>
                      <a:cubicBezTo>
                        <a:pt x="710" y="92"/>
                        <a:pt x="714" y="93"/>
                        <a:pt x="719" y="96"/>
                      </a:cubicBezTo>
                      <a:cubicBezTo>
                        <a:pt x="723" y="97"/>
                        <a:pt x="719" y="91"/>
                        <a:pt x="718" y="91"/>
                      </a:cubicBezTo>
                      <a:cubicBezTo>
                        <a:pt x="720" y="88"/>
                        <a:pt x="726" y="88"/>
                        <a:pt x="731" y="87"/>
                      </a:cubicBezTo>
                      <a:cubicBezTo>
                        <a:pt x="730" y="85"/>
                        <a:pt x="727" y="85"/>
                        <a:pt x="725" y="85"/>
                      </a:cubicBezTo>
                      <a:cubicBezTo>
                        <a:pt x="727" y="80"/>
                        <a:pt x="722" y="80"/>
                        <a:pt x="723" y="76"/>
                      </a:cubicBezTo>
                      <a:cubicBezTo>
                        <a:pt x="725" y="80"/>
                        <a:pt x="736" y="74"/>
                        <a:pt x="734" y="81"/>
                      </a:cubicBezTo>
                      <a:cubicBezTo>
                        <a:pt x="736" y="83"/>
                        <a:pt x="738" y="80"/>
                        <a:pt x="738" y="80"/>
                      </a:cubicBezTo>
                      <a:cubicBezTo>
                        <a:pt x="741" y="80"/>
                        <a:pt x="739" y="82"/>
                        <a:pt x="740" y="83"/>
                      </a:cubicBezTo>
                      <a:cubicBezTo>
                        <a:pt x="741" y="84"/>
                        <a:pt x="743" y="83"/>
                        <a:pt x="744" y="83"/>
                      </a:cubicBezTo>
                      <a:cubicBezTo>
                        <a:pt x="747" y="87"/>
                        <a:pt x="754" y="83"/>
                        <a:pt x="749" y="89"/>
                      </a:cubicBezTo>
                      <a:cubicBezTo>
                        <a:pt x="752" y="89"/>
                        <a:pt x="756" y="89"/>
                        <a:pt x="759" y="89"/>
                      </a:cubicBezTo>
                      <a:cubicBezTo>
                        <a:pt x="759" y="87"/>
                        <a:pt x="751" y="85"/>
                        <a:pt x="757" y="83"/>
                      </a:cubicBezTo>
                      <a:cubicBezTo>
                        <a:pt x="755" y="82"/>
                        <a:pt x="753" y="81"/>
                        <a:pt x="751" y="80"/>
                      </a:cubicBezTo>
                      <a:cubicBezTo>
                        <a:pt x="750" y="70"/>
                        <a:pt x="751" y="70"/>
                        <a:pt x="751" y="59"/>
                      </a:cubicBezTo>
                      <a:cubicBezTo>
                        <a:pt x="761" y="58"/>
                        <a:pt x="775" y="61"/>
                        <a:pt x="783" y="59"/>
                      </a:cubicBezTo>
                      <a:cubicBezTo>
                        <a:pt x="786" y="58"/>
                        <a:pt x="784" y="53"/>
                        <a:pt x="788" y="57"/>
                      </a:cubicBezTo>
                      <a:cubicBezTo>
                        <a:pt x="794" y="53"/>
                        <a:pt x="790" y="50"/>
                        <a:pt x="792" y="44"/>
                      </a:cubicBezTo>
                      <a:cubicBezTo>
                        <a:pt x="797" y="45"/>
                        <a:pt x="799" y="44"/>
                        <a:pt x="801" y="42"/>
                      </a:cubicBezTo>
                      <a:cubicBezTo>
                        <a:pt x="804" y="38"/>
                        <a:pt x="809" y="37"/>
                        <a:pt x="813" y="33"/>
                      </a:cubicBezTo>
                      <a:cubicBezTo>
                        <a:pt x="832" y="30"/>
                        <a:pt x="851" y="28"/>
                        <a:pt x="867" y="22"/>
                      </a:cubicBezTo>
                      <a:cubicBezTo>
                        <a:pt x="870" y="19"/>
                        <a:pt x="870" y="26"/>
                        <a:pt x="870" y="26"/>
                      </a:cubicBezTo>
                      <a:cubicBezTo>
                        <a:pt x="871" y="25"/>
                        <a:pt x="874" y="21"/>
                        <a:pt x="872" y="20"/>
                      </a:cubicBezTo>
                      <a:cubicBezTo>
                        <a:pt x="875" y="21"/>
                        <a:pt x="872" y="23"/>
                        <a:pt x="874" y="26"/>
                      </a:cubicBezTo>
                      <a:cubicBezTo>
                        <a:pt x="875" y="26"/>
                        <a:pt x="879" y="25"/>
                        <a:pt x="878" y="27"/>
                      </a:cubicBezTo>
                      <a:cubicBezTo>
                        <a:pt x="881" y="26"/>
                        <a:pt x="876" y="25"/>
                        <a:pt x="880" y="24"/>
                      </a:cubicBezTo>
                      <a:cubicBezTo>
                        <a:pt x="883" y="23"/>
                        <a:pt x="889" y="24"/>
                        <a:pt x="889" y="18"/>
                      </a:cubicBezTo>
                      <a:cubicBezTo>
                        <a:pt x="893" y="19"/>
                        <a:pt x="895" y="18"/>
                        <a:pt x="895" y="14"/>
                      </a:cubicBezTo>
                      <a:cubicBezTo>
                        <a:pt x="897" y="15"/>
                        <a:pt x="898" y="18"/>
                        <a:pt x="900" y="18"/>
                      </a:cubicBezTo>
                      <a:cubicBezTo>
                        <a:pt x="905" y="18"/>
                        <a:pt x="904" y="12"/>
                        <a:pt x="904" y="7"/>
                      </a:cubicBezTo>
                      <a:cubicBezTo>
                        <a:pt x="913" y="4"/>
                        <a:pt x="922" y="0"/>
                        <a:pt x="936" y="1"/>
                      </a:cubicBezTo>
                      <a:cubicBezTo>
                        <a:pt x="934" y="3"/>
                        <a:pt x="934" y="6"/>
                        <a:pt x="934" y="9"/>
                      </a:cubicBezTo>
                      <a:cubicBezTo>
                        <a:pt x="937" y="13"/>
                        <a:pt x="945" y="13"/>
                        <a:pt x="949" y="9"/>
                      </a:cubicBezTo>
                      <a:cubicBezTo>
                        <a:pt x="951" y="9"/>
                        <a:pt x="950" y="11"/>
                        <a:pt x="949" y="11"/>
                      </a:cubicBezTo>
                      <a:close/>
                      <a:moveTo>
                        <a:pt x="1396" y="238"/>
                      </a:moveTo>
                      <a:cubicBezTo>
                        <a:pt x="1396" y="236"/>
                        <a:pt x="1393" y="236"/>
                        <a:pt x="1392" y="234"/>
                      </a:cubicBezTo>
                      <a:cubicBezTo>
                        <a:pt x="1386" y="233"/>
                        <a:pt x="1386" y="238"/>
                        <a:pt x="1392" y="236"/>
                      </a:cubicBezTo>
                      <a:cubicBezTo>
                        <a:pt x="1393" y="238"/>
                        <a:pt x="1394" y="238"/>
                        <a:pt x="1396" y="238"/>
                      </a:cubicBezTo>
                      <a:close/>
                      <a:moveTo>
                        <a:pt x="403" y="378"/>
                      </a:moveTo>
                      <a:cubicBezTo>
                        <a:pt x="401" y="384"/>
                        <a:pt x="409" y="380"/>
                        <a:pt x="406" y="387"/>
                      </a:cubicBezTo>
                      <a:cubicBezTo>
                        <a:pt x="410" y="388"/>
                        <a:pt x="411" y="384"/>
                        <a:pt x="412" y="387"/>
                      </a:cubicBezTo>
                      <a:cubicBezTo>
                        <a:pt x="412" y="389"/>
                        <a:pt x="411" y="389"/>
                        <a:pt x="410" y="389"/>
                      </a:cubicBezTo>
                      <a:cubicBezTo>
                        <a:pt x="407" y="390"/>
                        <a:pt x="399" y="393"/>
                        <a:pt x="397" y="393"/>
                      </a:cubicBezTo>
                      <a:cubicBezTo>
                        <a:pt x="392" y="392"/>
                        <a:pt x="391" y="388"/>
                        <a:pt x="388" y="385"/>
                      </a:cubicBezTo>
                      <a:cubicBezTo>
                        <a:pt x="388" y="382"/>
                        <a:pt x="393" y="384"/>
                        <a:pt x="393" y="382"/>
                      </a:cubicBezTo>
                      <a:cubicBezTo>
                        <a:pt x="389" y="378"/>
                        <a:pt x="388" y="377"/>
                        <a:pt x="382" y="380"/>
                      </a:cubicBezTo>
                      <a:cubicBezTo>
                        <a:pt x="380" y="376"/>
                        <a:pt x="379" y="373"/>
                        <a:pt x="373" y="374"/>
                      </a:cubicBezTo>
                      <a:cubicBezTo>
                        <a:pt x="370" y="374"/>
                        <a:pt x="372" y="377"/>
                        <a:pt x="371" y="378"/>
                      </a:cubicBezTo>
                      <a:cubicBezTo>
                        <a:pt x="370" y="379"/>
                        <a:pt x="367" y="379"/>
                        <a:pt x="365" y="380"/>
                      </a:cubicBezTo>
                      <a:cubicBezTo>
                        <a:pt x="363" y="381"/>
                        <a:pt x="362" y="387"/>
                        <a:pt x="358" y="385"/>
                      </a:cubicBezTo>
                      <a:cubicBezTo>
                        <a:pt x="360" y="392"/>
                        <a:pt x="354" y="394"/>
                        <a:pt x="354" y="395"/>
                      </a:cubicBezTo>
                      <a:cubicBezTo>
                        <a:pt x="353" y="399"/>
                        <a:pt x="354" y="403"/>
                        <a:pt x="352" y="408"/>
                      </a:cubicBezTo>
                      <a:cubicBezTo>
                        <a:pt x="350" y="408"/>
                        <a:pt x="350" y="406"/>
                        <a:pt x="349" y="406"/>
                      </a:cubicBezTo>
                      <a:cubicBezTo>
                        <a:pt x="347" y="412"/>
                        <a:pt x="353" y="415"/>
                        <a:pt x="349" y="419"/>
                      </a:cubicBezTo>
                      <a:cubicBezTo>
                        <a:pt x="352" y="417"/>
                        <a:pt x="351" y="422"/>
                        <a:pt x="352" y="423"/>
                      </a:cubicBezTo>
                      <a:cubicBezTo>
                        <a:pt x="353" y="423"/>
                        <a:pt x="355" y="422"/>
                        <a:pt x="356" y="423"/>
                      </a:cubicBezTo>
                      <a:cubicBezTo>
                        <a:pt x="360" y="424"/>
                        <a:pt x="361" y="427"/>
                        <a:pt x="363" y="424"/>
                      </a:cubicBezTo>
                      <a:cubicBezTo>
                        <a:pt x="364" y="424"/>
                        <a:pt x="367" y="425"/>
                        <a:pt x="367" y="424"/>
                      </a:cubicBezTo>
                      <a:cubicBezTo>
                        <a:pt x="374" y="424"/>
                        <a:pt x="372" y="423"/>
                        <a:pt x="375" y="421"/>
                      </a:cubicBezTo>
                      <a:cubicBezTo>
                        <a:pt x="378" y="420"/>
                        <a:pt x="379" y="423"/>
                        <a:pt x="382" y="423"/>
                      </a:cubicBezTo>
                      <a:cubicBezTo>
                        <a:pt x="382" y="421"/>
                        <a:pt x="382" y="419"/>
                        <a:pt x="384" y="419"/>
                      </a:cubicBezTo>
                      <a:cubicBezTo>
                        <a:pt x="388" y="418"/>
                        <a:pt x="397" y="418"/>
                        <a:pt x="401" y="419"/>
                      </a:cubicBezTo>
                      <a:cubicBezTo>
                        <a:pt x="404" y="420"/>
                        <a:pt x="405" y="422"/>
                        <a:pt x="408" y="423"/>
                      </a:cubicBezTo>
                      <a:cubicBezTo>
                        <a:pt x="410" y="423"/>
                        <a:pt x="410" y="421"/>
                        <a:pt x="412" y="421"/>
                      </a:cubicBezTo>
                      <a:cubicBezTo>
                        <a:pt x="411" y="421"/>
                        <a:pt x="413" y="422"/>
                        <a:pt x="414" y="423"/>
                      </a:cubicBezTo>
                      <a:cubicBezTo>
                        <a:pt x="419" y="424"/>
                        <a:pt x="419" y="424"/>
                        <a:pt x="423" y="424"/>
                      </a:cubicBezTo>
                      <a:cubicBezTo>
                        <a:pt x="431" y="425"/>
                        <a:pt x="441" y="423"/>
                        <a:pt x="449" y="424"/>
                      </a:cubicBezTo>
                      <a:cubicBezTo>
                        <a:pt x="449" y="420"/>
                        <a:pt x="449" y="417"/>
                        <a:pt x="451" y="415"/>
                      </a:cubicBezTo>
                      <a:cubicBezTo>
                        <a:pt x="445" y="407"/>
                        <a:pt x="439" y="398"/>
                        <a:pt x="427" y="396"/>
                      </a:cubicBezTo>
                      <a:cubicBezTo>
                        <a:pt x="427" y="393"/>
                        <a:pt x="424" y="393"/>
                        <a:pt x="423" y="391"/>
                      </a:cubicBezTo>
                      <a:cubicBezTo>
                        <a:pt x="423" y="388"/>
                        <a:pt x="422" y="387"/>
                        <a:pt x="421" y="385"/>
                      </a:cubicBezTo>
                      <a:cubicBezTo>
                        <a:pt x="422" y="380"/>
                        <a:pt x="428" y="379"/>
                        <a:pt x="427" y="372"/>
                      </a:cubicBezTo>
                      <a:cubicBezTo>
                        <a:pt x="416" y="371"/>
                        <a:pt x="411" y="376"/>
                        <a:pt x="403" y="378"/>
                      </a:cubicBezTo>
                      <a:close/>
                      <a:moveTo>
                        <a:pt x="531" y="464"/>
                      </a:moveTo>
                      <a:cubicBezTo>
                        <a:pt x="529" y="464"/>
                        <a:pt x="526" y="464"/>
                        <a:pt x="529" y="465"/>
                      </a:cubicBezTo>
                      <a:cubicBezTo>
                        <a:pt x="532" y="463"/>
                        <a:pt x="539" y="463"/>
                        <a:pt x="542" y="462"/>
                      </a:cubicBezTo>
                      <a:cubicBezTo>
                        <a:pt x="543" y="462"/>
                        <a:pt x="542" y="458"/>
                        <a:pt x="542" y="458"/>
                      </a:cubicBezTo>
                      <a:cubicBezTo>
                        <a:pt x="543" y="457"/>
                        <a:pt x="545" y="460"/>
                        <a:pt x="546" y="460"/>
                      </a:cubicBezTo>
                      <a:cubicBezTo>
                        <a:pt x="546" y="456"/>
                        <a:pt x="546" y="451"/>
                        <a:pt x="546" y="447"/>
                      </a:cubicBezTo>
                      <a:cubicBezTo>
                        <a:pt x="544" y="444"/>
                        <a:pt x="542" y="443"/>
                        <a:pt x="541" y="441"/>
                      </a:cubicBezTo>
                      <a:cubicBezTo>
                        <a:pt x="540" y="440"/>
                        <a:pt x="541" y="438"/>
                        <a:pt x="541" y="438"/>
                      </a:cubicBezTo>
                      <a:cubicBezTo>
                        <a:pt x="540" y="435"/>
                        <a:pt x="534" y="433"/>
                        <a:pt x="539" y="432"/>
                      </a:cubicBezTo>
                      <a:cubicBezTo>
                        <a:pt x="542" y="432"/>
                        <a:pt x="546" y="432"/>
                        <a:pt x="550" y="432"/>
                      </a:cubicBezTo>
                      <a:cubicBezTo>
                        <a:pt x="551" y="425"/>
                        <a:pt x="546" y="425"/>
                        <a:pt x="546" y="423"/>
                      </a:cubicBezTo>
                      <a:cubicBezTo>
                        <a:pt x="546" y="419"/>
                        <a:pt x="542" y="419"/>
                        <a:pt x="541" y="417"/>
                      </a:cubicBezTo>
                      <a:cubicBezTo>
                        <a:pt x="541" y="417"/>
                        <a:pt x="544" y="415"/>
                        <a:pt x="542" y="413"/>
                      </a:cubicBezTo>
                      <a:cubicBezTo>
                        <a:pt x="537" y="415"/>
                        <a:pt x="536" y="411"/>
                        <a:pt x="531" y="411"/>
                      </a:cubicBezTo>
                      <a:cubicBezTo>
                        <a:pt x="533" y="401"/>
                        <a:pt x="520" y="404"/>
                        <a:pt x="520" y="395"/>
                      </a:cubicBezTo>
                      <a:cubicBezTo>
                        <a:pt x="525" y="391"/>
                        <a:pt x="528" y="385"/>
                        <a:pt x="539" y="387"/>
                      </a:cubicBezTo>
                      <a:cubicBezTo>
                        <a:pt x="539" y="386"/>
                        <a:pt x="539" y="384"/>
                        <a:pt x="541" y="383"/>
                      </a:cubicBezTo>
                      <a:cubicBezTo>
                        <a:pt x="541" y="378"/>
                        <a:pt x="535" y="379"/>
                        <a:pt x="535" y="374"/>
                      </a:cubicBezTo>
                      <a:cubicBezTo>
                        <a:pt x="526" y="373"/>
                        <a:pt x="522" y="377"/>
                        <a:pt x="516" y="374"/>
                      </a:cubicBezTo>
                      <a:cubicBezTo>
                        <a:pt x="516" y="377"/>
                        <a:pt x="516" y="378"/>
                        <a:pt x="514" y="376"/>
                      </a:cubicBezTo>
                      <a:cubicBezTo>
                        <a:pt x="513" y="375"/>
                        <a:pt x="512" y="378"/>
                        <a:pt x="513" y="378"/>
                      </a:cubicBezTo>
                      <a:cubicBezTo>
                        <a:pt x="508" y="380"/>
                        <a:pt x="502" y="383"/>
                        <a:pt x="500" y="383"/>
                      </a:cubicBezTo>
                      <a:cubicBezTo>
                        <a:pt x="494" y="385"/>
                        <a:pt x="496" y="386"/>
                        <a:pt x="494" y="389"/>
                      </a:cubicBezTo>
                      <a:cubicBezTo>
                        <a:pt x="493" y="390"/>
                        <a:pt x="491" y="388"/>
                        <a:pt x="490" y="389"/>
                      </a:cubicBezTo>
                      <a:cubicBezTo>
                        <a:pt x="489" y="390"/>
                        <a:pt x="491" y="394"/>
                        <a:pt x="490" y="395"/>
                      </a:cubicBezTo>
                      <a:cubicBezTo>
                        <a:pt x="491" y="399"/>
                        <a:pt x="495" y="392"/>
                        <a:pt x="496" y="398"/>
                      </a:cubicBezTo>
                      <a:cubicBezTo>
                        <a:pt x="496" y="400"/>
                        <a:pt x="497" y="401"/>
                        <a:pt x="498" y="402"/>
                      </a:cubicBezTo>
                      <a:cubicBezTo>
                        <a:pt x="496" y="408"/>
                        <a:pt x="499" y="412"/>
                        <a:pt x="500" y="413"/>
                      </a:cubicBezTo>
                      <a:cubicBezTo>
                        <a:pt x="500" y="416"/>
                        <a:pt x="500" y="416"/>
                        <a:pt x="501" y="417"/>
                      </a:cubicBezTo>
                      <a:cubicBezTo>
                        <a:pt x="502" y="417"/>
                        <a:pt x="503" y="423"/>
                        <a:pt x="503" y="423"/>
                      </a:cubicBezTo>
                      <a:cubicBezTo>
                        <a:pt x="505" y="428"/>
                        <a:pt x="505" y="427"/>
                        <a:pt x="507" y="430"/>
                      </a:cubicBezTo>
                      <a:cubicBezTo>
                        <a:pt x="508" y="432"/>
                        <a:pt x="506" y="434"/>
                        <a:pt x="507" y="436"/>
                      </a:cubicBezTo>
                      <a:cubicBezTo>
                        <a:pt x="508" y="437"/>
                        <a:pt x="512" y="438"/>
                        <a:pt x="511" y="441"/>
                      </a:cubicBezTo>
                      <a:cubicBezTo>
                        <a:pt x="504" y="439"/>
                        <a:pt x="509" y="449"/>
                        <a:pt x="505" y="451"/>
                      </a:cubicBezTo>
                      <a:cubicBezTo>
                        <a:pt x="513" y="452"/>
                        <a:pt x="513" y="463"/>
                        <a:pt x="522" y="458"/>
                      </a:cubicBezTo>
                      <a:cubicBezTo>
                        <a:pt x="515" y="465"/>
                        <a:pt x="531" y="459"/>
                        <a:pt x="531" y="464"/>
                      </a:cubicBezTo>
                      <a:close/>
                      <a:moveTo>
                        <a:pt x="587" y="378"/>
                      </a:moveTo>
                      <a:cubicBezTo>
                        <a:pt x="586" y="379"/>
                        <a:pt x="587" y="382"/>
                        <a:pt x="585" y="383"/>
                      </a:cubicBezTo>
                      <a:cubicBezTo>
                        <a:pt x="584" y="385"/>
                        <a:pt x="580" y="385"/>
                        <a:pt x="580" y="387"/>
                      </a:cubicBezTo>
                      <a:cubicBezTo>
                        <a:pt x="581" y="389"/>
                        <a:pt x="585" y="392"/>
                        <a:pt x="585" y="395"/>
                      </a:cubicBezTo>
                      <a:cubicBezTo>
                        <a:pt x="585" y="395"/>
                        <a:pt x="582" y="395"/>
                        <a:pt x="583" y="396"/>
                      </a:cubicBezTo>
                      <a:cubicBezTo>
                        <a:pt x="585" y="398"/>
                        <a:pt x="589" y="397"/>
                        <a:pt x="591" y="400"/>
                      </a:cubicBezTo>
                      <a:cubicBezTo>
                        <a:pt x="591" y="398"/>
                        <a:pt x="593" y="397"/>
                        <a:pt x="595" y="396"/>
                      </a:cubicBezTo>
                      <a:cubicBezTo>
                        <a:pt x="596" y="391"/>
                        <a:pt x="592" y="391"/>
                        <a:pt x="591" y="387"/>
                      </a:cubicBezTo>
                      <a:cubicBezTo>
                        <a:pt x="594" y="386"/>
                        <a:pt x="597" y="384"/>
                        <a:pt x="596" y="380"/>
                      </a:cubicBezTo>
                      <a:cubicBezTo>
                        <a:pt x="593" y="380"/>
                        <a:pt x="592" y="378"/>
                        <a:pt x="595" y="376"/>
                      </a:cubicBezTo>
                      <a:cubicBezTo>
                        <a:pt x="592" y="377"/>
                        <a:pt x="589" y="376"/>
                        <a:pt x="587" y="378"/>
                      </a:cubicBezTo>
                      <a:close/>
                      <a:moveTo>
                        <a:pt x="343" y="428"/>
                      </a:moveTo>
                      <a:cubicBezTo>
                        <a:pt x="342" y="436"/>
                        <a:pt x="356" y="431"/>
                        <a:pt x="356" y="428"/>
                      </a:cubicBezTo>
                      <a:cubicBezTo>
                        <a:pt x="351" y="426"/>
                        <a:pt x="348" y="426"/>
                        <a:pt x="343" y="428"/>
                      </a:cubicBezTo>
                      <a:close/>
                      <a:moveTo>
                        <a:pt x="386" y="775"/>
                      </a:moveTo>
                      <a:cubicBezTo>
                        <a:pt x="388" y="768"/>
                        <a:pt x="399" y="768"/>
                        <a:pt x="397" y="756"/>
                      </a:cubicBezTo>
                      <a:cubicBezTo>
                        <a:pt x="392" y="761"/>
                        <a:pt x="382" y="752"/>
                        <a:pt x="377" y="758"/>
                      </a:cubicBezTo>
                      <a:cubicBezTo>
                        <a:pt x="385" y="759"/>
                        <a:pt x="375" y="760"/>
                        <a:pt x="375" y="762"/>
                      </a:cubicBezTo>
                      <a:cubicBezTo>
                        <a:pt x="375" y="760"/>
                        <a:pt x="377" y="766"/>
                        <a:pt x="377" y="767"/>
                      </a:cubicBezTo>
                      <a:cubicBezTo>
                        <a:pt x="377" y="770"/>
                        <a:pt x="377" y="773"/>
                        <a:pt x="375" y="773"/>
                      </a:cubicBezTo>
                      <a:cubicBezTo>
                        <a:pt x="375" y="772"/>
                        <a:pt x="373" y="771"/>
                        <a:pt x="373" y="773"/>
                      </a:cubicBezTo>
                      <a:cubicBezTo>
                        <a:pt x="375" y="776"/>
                        <a:pt x="381" y="775"/>
                        <a:pt x="386" y="7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7" name="îślïḍè">
                  <a:extLst>
                    <a:ext uri="{FF2B5EF4-FFF2-40B4-BE49-F238E27FC236}">
                      <a16:creationId xmlns:a16="http://schemas.microsoft.com/office/drawing/2014/main" id="{2C54102A-7373-48D6-93FC-A8B39DD5907C}"/>
                    </a:ext>
                  </a:extLst>
                </p:cNvPr>
                <p:cNvSpPr/>
                <p:nvPr/>
              </p:nvSpPr>
              <p:spPr bwMode="auto">
                <a:xfrm>
                  <a:off x="4137527" y="707649"/>
                  <a:ext cx="47627" cy="25214"/>
                </a:xfrm>
                <a:custGeom>
                  <a:avLst/>
                  <a:gdLst>
                    <a:gd name="T0" fmla="*/ 16 w 23"/>
                    <a:gd name="T1" fmla="*/ 0 h 12"/>
                    <a:gd name="T2" fmla="*/ 20 w 23"/>
                    <a:gd name="T3" fmla="*/ 11 h 12"/>
                    <a:gd name="T4" fmla="*/ 0 w 23"/>
                    <a:gd name="T5" fmla="*/ 6 h 12"/>
                    <a:gd name="T6" fmla="*/ 16 w 23"/>
                    <a:gd name="T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2">
                      <a:moveTo>
                        <a:pt x="16" y="0"/>
                      </a:moveTo>
                      <a:cubicBezTo>
                        <a:pt x="16" y="5"/>
                        <a:pt x="23" y="4"/>
                        <a:pt x="20" y="11"/>
                      </a:cubicBezTo>
                      <a:cubicBezTo>
                        <a:pt x="10" y="12"/>
                        <a:pt x="4" y="10"/>
                        <a:pt x="0" y="6"/>
                      </a:cubicBezTo>
                      <a:cubicBezTo>
                        <a:pt x="3" y="1"/>
                        <a:pt x="10" y="1"/>
                        <a:pt x="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8" name="iṩļidê">
                  <a:extLst>
                    <a:ext uri="{FF2B5EF4-FFF2-40B4-BE49-F238E27FC236}">
                      <a16:creationId xmlns:a16="http://schemas.microsoft.com/office/drawing/2014/main" id="{73B0AC69-9E95-472B-83CE-5D4AD4E3245B}"/>
                    </a:ext>
                  </a:extLst>
                </p:cNvPr>
                <p:cNvSpPr/>
                <p:nvPr/>
              </p:nvSpPr>
              <p:spPr bwMode="auto">
                <a:xfrm>
                  <a:off x="4234180" y="755276"/>
                  <a:ext cx="466461" cy="326383"/>
                </a:xfrm>
                <a:custGeom>
                  <a:avLst/>
                  <a:gdLst>
                    <a:gd name="T0" fmla="*/ 22 w 224"/>
                    <a:gd name="T1" fmla="*/ 9 h 157"/>
                    <a:gd name="T2" fmla="*/ 29 w 224"/>
                    <a:gd name="T3" fmla="*/ 7 h 157"/>
                    <a:gd name="T4" fmla="*/ 29 w 224"/>
                    <a:gd name="T5" fmla="*/ 11 h 157"/>
                    <a:gd name="T6" fmla="*/ 29 w 224"/>
                    <a:gd name="T7" fmla="*/ 18 h 157"/>
                    <a:gd name="T8" fmla="*/ 35 w 224"/>
                    <a:gd name="T9" fmla="*/ 33 h 157"/>
                    <a:gd name="T10" fmla="*/ 48 w 224"/>
                    <a:gd name="T11" fmla="*/ 9 h 157"/>
                    <a:gd name="T12" fmla="*/ 65 w 224"/>
                    <a:gd name="T13" fmla="*/ 7 h 157"/>
                    <a:gd name="T14" fmla="*/ 76 w 224"/>
                    <a:gd name="T15" fmla="*/ 25 h 157"/>
                    <a:gd name="T16" fmla="*/ 89 w 224"/>
                    <a:gd name="T17" fmla="*/ 22 h 157"/>
                    <a:gd name="T18" fmla="*/ 107 w 224"/>
                    <a:gd name="T19" fmla="*/ 20 h 157"/>
                    <a:gd name="T20" fmla="*/ 115 w 224"/>
                    <a:gd name="T21" fmla="*/ 27 h 157"/>
                    <a:gd name="T22" fmla="*/ 122 w 224"/>
                    <a:gd name="T23" fmla="*/ 31 h 157"/>
                    <a:gd name="T24" fmla="*/ 126 w 224"/>
                    <a:gd name="T25" fmla="*/ 33 h 157"/>
                    <a:gd name="T26" fmla="*/ 143 w 224"/>
                    <a:gd name="T27" fmla="*/ 37 h 157"/>
                    <a:gd name="T28" fmla="*/ 158 w 224"/>
                    <a:gd name="T29" fmla="*/ 44 h 157"/>
                    <a:gd name="T30" fmla="*/ 163 w 224"/>
                    <a:gd name="T31" fmla="*/ 50 h 157"/>
                    <a:gd name="T32" fmla="*/ 174 w 224"/>
                    <a:gd name="T33" fmla="*/ 59 h 157"/>
                    <a:gd name="T34" fmla="*/ 167 w 224"/>
                    <a:gd name="T35" fmla="*/ 74 h 157"/>
                    <a:gd name="T36" fmla="*/ 184 w 224"/>
                    <a:gd name="T37" fmla="*/ 76 h 157"/>
                    <a:gd name="T38" fmla="*/ 188 w 224"/>
                    <a:gd name="T39" fmla="*/ 85 h 157"/>
                    <a:gd name="T40" fmla="*/ 202 w 224"/>
                    <a:gd name="T41" fmla="*/ 87 h 157"/>
                    <a:gd name="T42" fmla="*/ 212 w 224"/>
                    <a:gd name="T43" fmla="*/ 96 h 157"/>
                    <a:gd name="T44" fmla="*/ 216 w 224"/>
                    <a:gd name="T45" fmla="*/ 104 h 157"/>
                    <a:gd name="T46" fmla="*/ 206 w 224"/>
                    <a:gd name="T47" fmla="*/ 117 h 157"/>
                    <a:gd name="T48" fmla="*/ 193 w 224"/>
                    <a:gd name="T49" fmla="*/ 115 h 157"/>
                    <a:gd name="T50" fmla="*/ 182 w 224"/>
                    <a:gd name="T51" fmla="*/ 104 h 157"/>
                    <a:gd name="T52" fmla="*/ 173 w 224"/>
                    <a:gd name="T53" fmla="*/ 113 h 157"/>
                    <a:gd name="T54" fmla="*/ 186 w 224"/>
                    <a:gd name="T55" fmla="*/ 121 h 157"/>
                    <a:gd name="T56" fmla="*/ 193 w 224"/>
                    <a:gd name="T57" fmla="*/ 134 h 157"/>
                    <a:gd name="T58" fmla="*/ 188 w 224"/>
                    <a:gd name="T59" fmla="*/ 147 h 157"/>
                    <a:gd name="T60" fmla="*/ 163 w 224"/>
                    <a:gd name="T61" fmla="*/ 137 h 157"/>
                    <a:gd name="T62" fmla="*/ 171 w 224"/>
                    <a:gd name="T63" fmla="*/ 147 h 157"/>
                    <a:gd name="T64" fmla="*/ 180 w 224"/>
                    <a:gd name="T65" fmla="*/ 152 h 157"/>
                    <a:gd name="T66" fmla="*/ 171 w 224"/>
                    <a:gd name="T67" fmla="*/ 152 h 157"/>
                    <a:gd name="T68" fmla="*/ 150 w 224"/>
                    <a:gd name="T69" fmla="*/ 145 h 157"/>
                    <a:gd name="T70" fmla="*/ 139 w 224"/>
                    <a:gd name="T71" fmla="*/ 139 h 157"/>
                    <a:gd name="T72" fmla="*/ 133 w 224"/>
                    <a:gd name="T73" fmla="*/ 130 h 157"/>
                    <a:gd name="T74" fmla="*/ 122 w 224"/>
                    <a:gd name="T75" fmla="*/ 109 h 157"/>
                    <a:gd name="T76" fmla="*/ 124 w 224"/>
                    <a:gd name="T77" fmla="*/ 104 h 157"/>
                    <a:gd name="T78" fmla="*/ 128 w 224"/>
                    <a:gd name="T79" fmla="*/ 96 h 157"/>
                    <a:gd name="T80" fmla="*/ 133 w 224"/>
                    <a:gd name="T81" fmla="*/ 87 h 157"/>
                    <a:gd name="T82" fmla="*/ 128 w 224"/>
                    <a:gd name="T83" fmla="*/ 76 h 157"/>
                    <a:gd name="T84" fmla="*/ 120 w 224"/>
                    <a:gd name="T85" fmla="*/ 70 h 157"/>
                    <a:gd name="T86" fmla="*/ 115 w 224"/>
                    <a:gd name="T87" fmla="*/ 70 h 157"/>
                    <a:gd name="T88" fmla="*/ 107 w 224"/>
                    <a:gd name="T89" fmla="*/ 68 h 157"/>
                    <a:gd name="T90" fmla="*/ 92 w 224"/>
                    <a:gd name="T91" fmla="*/ 52 h 157"/>
                    <a:gd name="T92" fmla="*/ 78 w 224"/>
                    <a:gd name="T93" fmla="*/ 55 h 157"/>
                    <a:gd name="T94" fmla="*/ 65 w 224"/>
                    <a:gd name="T95" fmla="*/ 55 h 157"/>
                    <a:gd name="T96" fmla="*/ 50 w 224"/>
                    <a:gd name="T97" fmla="*/ 55 h 157"/>
                    <a:gd name="T98" fmla="*/ 22 w 224"/>
                    <a:gd name="T99" fmla="*/ 50 h 157"/>
                    <a:gd name="T100" fmla="*/ 9 w 224"/>
                    <a:gd name="T101" fmla="*/ 42 h 157"/>
                    <a:gd name="T102" fmla="*/ 5 w 224"/>
                    <a:gd name="T103" fmla="*/ 33 h 157"/>
                    <a:gd name="T104" fmla="*/ 7 w 224"/>
                    <a:gd name="T105" fmla="*/ 25 h 157"/>
                    <a:gd name="T106" fmla="*/ 145 w 224"/>
                    <a:gd name="T107" fmla="*/ 107 h 157"/>
                    <a:gd name="T108" fmla="*/ 154 w 224"/>
                    <a:gd name="T109" fmla="*/ 100 h 157"/>
                    <a:gd name="T110" fmla="*/ 145 w 224"/>
                    <a:gd name="T111" fmla="*/ 10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24" h="157">
                      <a:moveTo>
                        <a:pt x="9" y="11"/>
                      </a:moveTo>
                      <a:cubicBezTo>
                        <a:pt x="12" y="16"/>
                        <a:pt x="19" y="4"/>
                        <a:pt x="22" y="9"/>
                      </a:cubicBezTo>
                      <a:cubicBezTo>
                        <a:pt x="24" y="9"/>
                        <a:pt x="23" y="5"/>
                        <a:pt x="24" y="5"/>
                      </a:cubicBezTo>
                      <a:cubicBezTo>
                        <a:pt x="26" y="4"/>
                        <a:pt x="27" y="7"/>
                        <a:pt x="29" y="7"/>
                      </a:cubicBezTo>
                      <a:cubicBezTo>
                        <a:pt x="32" y="7"/>
                        <a:pt x="32" y="0"/>
                        <a:pt x="37" y="5"/>
                      </a:cubicBezTo>
                      <a:cubicBezTo>
                        <a:pt x="36" y="13"/>
                        <a:pt x="32" y="7"/>
                        <a:pt x="29" y="11"/>
                      </a:cubicBezTo>
                      <a:cubicBezTo>
                        <a:pt x="28" y="12"/>
                        <a:pt x="33" y="12"/>
                        <a:pt x="33" y="12"/>
                      </a:cubicBezTo>
                      <a:cubicBezTo>
                        <a:pt x="32" y="15"/>
                        <a:pt x="30" y="15"/>
                        <a:pt x="29" y="18"/>
                      </a:cubicBezTo>
                      <a:cubicBezTo>
                        <a:pt x="29" y="21"/>
                        <a:pt x="31" y="22"/>
                        <a:pt x="31" y="24"/>
                      </a:cubicBezTo>
                      <a:cubicBezTo>
                        <a:pt x="32" y="27"/>
                        <a:pt x="30" y="33"/>
                        <a:pt x="35" y="33"/>
                      </a:cubicBezTo>
                      <a:cubicBezTo>
                        <a:pt x="39" y="32"/>
                        <a:pt x="35" y="22"/>
                        <a:pt x="37" y="18"/>
                      </a:cubicBezTo>
                      <a:cubicBezTo>
                        <a:pt x="46" y="20"/>
                        <a:pt x="45" y="13"/>
                        <a:pt x="48" y="9"/>
                      </a:cubicBezTo>
                      <a:cubicBezTo>
                        <a:pt x="50" y="13"/>
                        <a:pt x="55" y="5"/>
                        <a:pt x="57" y="11"/>
                      </a:cubicBezTo>
                      <a:cubicBezTo>
                        <a:pt x="61" y="11"/>
                        <a:pt x="59" y="5"/>
                        <a:pt x="65" y="7"/>
                      </a:cubicBezTo>
                      <a:cubicBezTo>
                        <a:pt x="64" y="14"/>
                        <a:pt x="69" y="15"/>
                        <a:pt x="74" y="16"/>
                      </a:cubicBezTo>
                      <a:cubicBezTo>
                        <a:pt x="72" y="22"/>
                        <a:pt x="73" y="21"/>
                        <a:pt x="76" y="25"/>
                      </a:cubicBezTo>
                      <a:cubicBezTo>
                        <a:pt x="78" y="23"/>
                        <a:pt x="80" y="23"/>
                        <a:pt x="83" y="25"/>
                      </a:cubicBezTo>
                      <a:cubicBezTo>
                        <a:pt x="87" y="27"/>
                        <a:pt x="87" y="23"/>
                        <a:pt x="89" y="22"/>
                      </a:cubicBezTo>
                      <a:cubicBezTo>
                        <a:pt x="91" y="21"/>
                        <a:pt x="94" y="23"/>
                        <a:pt x="94" y="20"/>
                      </a:cubicBezTo>
                      <a:cubicBezTo>
                        <a:pt x="100" y="22"/>
                        <a:pt x="102" y="22"/>
                        <a:pt x="107" y="20"/>
                      </a:cubicBezTo>
                      <a:cubicBezTo>
                        <a:pt x="107" y="24"/>
                        <a:pt x="112" y="22"/>
                        <a:pt x="111" y="22"/>
                      </a:cubicBezTo>
                      <a:cubicBezTo>
                        <a:pt x="113" y="23"/>
                        <a:pt x="113" y="26"/>
                        <a:pt x="115" y="27"/>
                      </a:cubicBezTo>
                      <a:cubicBezTo>
                        <a:pt x="116" y="28"/>
                        <a:pt x="119" y="29"/>
                        <a:pt x="120" y="29"/>
                      </a:cubicBezTo>
                      <a:cubicBezTo>
                        <a:pt x="121" y="30"/>
                        <a:pt x="120" y="31"/>
                        <a:pt x="122" y="31"/>
                      </a:cubicBezTo>
                      <a:cubicBezTo>
                        <a:pt x="126" y="31"/>
                        <a:pt x="121" y="34"/>
                        <a:pt x="124" y="37"/>
                      </a:cubicBezTo>
                      <a:cubicBezTo>
                        <a:pt x="125" y="38"/>
                        <a:pt x="126" y="34"/>
                        <a:pt x="126" y="33"/>
                      </a:cubicBezTo>
                      <a:cubicBezTo>
                        <a:pt x="129" y="35"/>
                        <a:pt x="129" y="38"/>
                        <a:pt x="133" y="39"/>
                      </a:cubicBezTo>
                      <a:cubicBezTo>
                        <a:pt x="137" y="39"/>
                        <a:pt x="139" y="37"/>
                        <a:pt x="143" y="37"/>
                      </a:cubicBezTo>
                      <a:cubicBezTo>
                        <a:pt x="142" y="44"/>
                        <a:pt x="154" y="40"/>
                        <a:pt x="154" y="46"/>
                      </a:cubicBezTo>
                      <a:cubicBezTo>
                        <a:pt x="156" y="46"/>
                        <a:pt x="157" y="46"/>
                        <a:pt x="158" y="44"/>
                      </a:cubicBezTo>
                      <a:cubicBezTo>
                        <a:pt x="160" y="45"/>
                        <a:pt x="161" y="48"/>
                        <a:pt x="161" y="52"/>
                      </a:cubicBezTo>
                      <a:cubicBezTo>
                        <a:pt x="163" y="52"/>
                        <a:pt x="163" y="51"/>
                        <a:pt x="163" y="50"/>
                      </a:cubicBezTo>
                      <a:cubicBezTo>
                        <a:pt x="166" y="52"/>
                        <a:pt x="168" y="56"/>
                        <a:pt x="174" y="55"/>
                      </a:cubicBezTo>
                      <a:cubicBezTo>
                        <a:pt x="173" y="57"/>
                        <a:pt x="172" y="59"/>
                        <a:pt x="174" y="59"/>
                      </a:cubicBezTo>
                      <a:cubicBezTo>
                        <a:pt x="176" y="62"/>
                        <a:pt x="169" y="65"/>
                        <a:pt x="174" y="66"/>
                      </a:cubicBezTo>
                      <a:cubicBezTo>
                        <a:pt x="172" y="69"/>
                        <a:pt x="167" y="69"/>
                        <a:pt x="167" y="74"/>
                      </a:cubicBezTo>
                      <a:cubicBezTo>
                        <a:pt x="171" y="81"/>
                        <a:pt x="180" y="72"/>
                        <a:pt x="182" y="80"/>
                      </a:cubicBezTo>
                      <a:cubicBezTo>
                        <a:pt x="184" y="79"/>
                        <a:pt x="183" y="77"/>
                        <a:pt x="184" y="76"/>
                      </a:cubicBezTo>
                      <a:cubicBezTo>
                        <a:pt x="186" y="76"/>
                        <a:pt x="185" y="80"/>
                        <a:pt x="186" y="81"/>
                      </a:cubicBezTo>
                      <a:cubicBezTo>
                        <a:pt x="186" y="81"/>
                        <a:pt x="188" y="85"/>
                        <a:pt x="188" y="85"/>
                      </a:cubicBezTo>
                      <a:cubicBezTo>
                        <a:pt x="190" y="85"/>
                        <a:pt x="192" y="81"/>
                        <a:pt x="191" y="89"/>
                      </a:cubicBezTo>
                      <a:cubicBezTo>
                        <a:pt x="196" y="89"/>
                        <a:pt x="197" y="86"/>
                        <a:pt x="202" y="87"/>
                      </a:cubicBezTo>
                      <a:cubicBezTo>
                        <a:pt x="203" y="88"/>
                        <a:pt x="204" y="90"/>
                        <a:pt x="204" y="93"/>
                      </a:cubicBezTo>
                      <a:cubicBezTo>
                        <a:pt x="208" y="93"/>
                        <a:pt x="214" y="91"/>
                        <a:pt x="212" y="96"/>
                      </a:cubicBezTo>
                      <a:cubicBezTo>
                        <a:pt x="219" y="93"/>
                        <a:pt x="215" y="97"/>
                        <a:pt x="221" y="98"/>
                      </a:cubicBezTo>
                      <a:cubicBezTo>
                        <a:pt x="224" y="102"/>
                        <a:pt x="215" y="104"/>
                        <a:pt x="216" y="104"/>
                      </a:cubicBezTo>
                      <a:cubicBezTo>
                        <a:pt x="214" y="105"/>
                        <a:pt x="217" y="106"/>
                        <a:pt x="217" y="106"/>
                      </a:cubicBezTo>
                      <a:cubicBezTo>
                        <a:pt x="213" y="111"/>
                        <a:pt x="209" y="110"/>
                        <a:pt x="206" y="117"/>
                      </a:cubicBezTo>
                      <a:cubicBezTo>
                        <a:pt x="204" y="117"/>
                        <a:pt x="203" y="117"/>
                        <a:pt x="202" y="119"/>
                      </a:cubicBezTo>
                      <a:cubicBezTo>
                        <a:pt x="201" y="118"/>
                        <a:pt x="193" y="118"/>
                        <a:pt x="193" y="115"/>
                      </a:cubicBezTo>
                      <a:cubicBezTo>
                        <a:pt x="193" y="111"/>
                        <a:pt x="184" y="115"/>
                        <a:pt x="186" y="107"/>
                      </a:cubicBezTo>
                      <a:cubicBezTo>
                        <a:pt x="182" y="108"/>
                        <a:pt x="182" y="106"/>
                        <a:pt x="182" y="104"/>
                      </a:cubicBezTo>
                      <a:cubicBezTo>
                        <a:pt x="179" y="104"/>
                        <a:pt x="177" y="104"/>
                        <a:pt x="174" y="104"/>
                      </a:cubicBezTo>
                      <a:cubicBezTo>
                        <a:pt x="170" y="103"/>
                        <a:pt x="174" y="110"/>
                        <a:pt x="173" y="113"/>
                      </a:cubicBezTo>
                      <a:cubicBezTo>
                        <a:pt x="173" y="117"/>
                        <a:pt x="178" y="117"/>
                        <a:pt x="178" y="121"/>
                      </a:cubicBezTo>
                      <a:cubicBezTo>
                        <a:pt x="182" y="118"/>
                        <a:pt x="185" y="125"/>
                        <a:pt x="186" y="121"/>
                      </a:cubicBezTo>
                      <a:cubicBezTo>
                        <a:pt x="188" y="123"/>
                        <a:pt x="189" y="127"/>
                        <a:pt x="189" y="132"/>
                      </a:cubicBezTo>
                      <a:cubicBezTo>
                        <a:pt x="189" y="134"/>
                        <a:pt x="193" y="133"/>
                        <a:pt x="193" y="134"/>
                      </a:cubicBezTo>
                      <a:cubicBezTo>
                        <a:pt x="196" y="138"/>
                        <a:pt x="191" y="147"/>
                        <a:pt x="191" y="150"/>
                      </a:cubicBezTo>
                      <a:cubicBezTo>
                        <a:pt x="187" y="152"/>
                        <a:pt x="189" y="148"/>
                        <a:pt x="188" y="147"/>
                      </a:cubicBezTo>
                      <a:cubicBezTo>
                        <a:pt x="185" y="145"/>
                        <a:pt x="179" y="146"/>
                        <a:pt x="178" y="141"/>
                      </a:cubicBezTo>
                      <a:cubicBezTo>
                        <a:pt x="171" y="142"/>
                        <a:pt x="172" y="135"/>
                        <a:pt x="163" y="137"/>
                      </a:cubicBezTo>
                      <a:cubicBezTo>
                        <a:pt x="164" y="141"/>
                        <a:pt x="170" y="138"/>
                        <a:pt x="171" y="141"/>
                      </a:cubicBezTo>
                      <a:cubicBezTo>
                        <a:pt x="164" y="147"/>
                        <a:pt x="177" y="144"/>
                        <a:pt x="171" y="147"/>
                      </a:cubicBezTo>
                      <a:cubicBezTo>
                        <a:pt x="171" y="149"/>
                        <a:pt x="176" y="149"/>
                        <a:pt x="178" y="150"/>
                      </a:cubicBezTo>
                      <a:cubicBezTo>
                        <a:pt x="179" y="151"/>
                        <a:pt x="178" y="152"/>
                        <a:pt x="180" y="152"/>
                      </a:cubicBezTo>
                      <a:cubicBezTo>
                        <a:pt x="183" y="152"/>
                        <a:pt x="184" y="153"/>
                        <a:pt x="184" y="156"/>
                      </a:cubicBezTo>
                      <a:cubicBezTo>
                        <a:pt x="178" y="157"/>
                        <a:pt x="175" y="155"/>
                        <a:pt x="171" y="152"/>
                      </a:cubicBezTo>
                      <a:cubicBezTo>
                        <a:pt x="168" y="151"/>
                        <a:pt x="163" y="151"/>
                        <a:pt x="160" y="148"/>
                      </a:cubicBezTo>
                      <a:cubicBezTo>
                        <a:pt x="157" y="147"/>
                        <a:pt x="153" y="145"/>
                        <a:pt x="150" y="145"/>
                      </a:cubicBezTo>
                      <a:cubicBezTo>
                        <a:pt x="148" y="145"/>
                        <a:pt x="148" y="142"/>
                        <a:pt x="147" y="141"/>
                      </a:cubicBezTo>
                      <a:cubicBezTo>
                        <a:pt x="144" y="140"/>
                        <a:pt x="141" y="141"/>
                        <a:pt x="139" y="139"/>
                      </a:cubicBezTo>
                      <a:cubicBezTo>
                        <a:pt x="137" y="138"/>
                        <a:pt x="139" y="135"/>
                        <a:pt x="137" y="134"/>
                      </a:cubicBezTo>
                      <a:cubicBezTo>
                        <a:pt x="136" y="132"/>
                        <a:pt x="132" y="134"/>
                        <a:pt x="133" y="130"/>
                      </a:cubicBezTo>
                      <a:cubicBezTo>
                        <a:pt x="125" y="130"/>
                        <a:pt x="125" y="122"/>
                        <a:pt x="120" y="119"/>
                      </a:cubicBezTo>
                      <a:cubicBezTo>
                        <a:pt x="122" y="118"/>
                        <a:pt x="120" y="112"/>
                        <a:pt x="122" y="109"/>
                      </a:cubicBezTo>
                      <a:cubicBezTo>
                        <a:pt x="123" y="109"/>
                        <a:pt x="126" y="110"/>
                        <a:pt x="126" y="109"/>
                      </a:cubicBezTo>
                      <a:cubicBezTo>
                        <a:pt x="126" y="108"/>
                        <a:pt x="123" y="106"/>
                        <a:pt x="124" y="104"/>
                      </a:cubicBezTo>
                      <a:cubicBezTo>
                        <a:pt x="124" y="103"/>
                        <a:pt x="128" y="104"/>
                        <a:pt x="128" y="104"/>
                      </a:cubicBezTo>
                      <a:cubicBezTo>
                        <a:pt x="129" y="103"/>
                        <a:pt x="127" y="98"/>
                        <a:pt x="128" y="96"/>
                      </a:cubicBezTo>
                      <a:cubicBezTo>
                        <a:pt x="128" y="96"/>
                        <a:pt x="131" y="97"/>
                        <a:pt x="132" y="96"/>
                      </a:cubicBezTo>
                      <a:cubicBezTo>
                        <a:pt x="134" y="94"/>
                        <a:pt x="131" y="89"/>
                        <a:pt x="133" y="87"/>
                      </a:cubicBezTo>
                      <a:cubicBezTo>
                        <a:pt x="133" y="85"/>
                        <a:pt x="130" y="85"/>
                        <a:pt x="128" y="85"/>
                      </a:cubicBezTo>
                      <a:cubicBezTo>
                        <a:pt x="128" y="82"/>
                        <a:pt x="128" y="79"/>
                        <a:pt x="128" y="76"/>
                      </a:cubicBezTo>
                      <a:cubicBezTo>
                        <a:pt x="126" y="76"/>
                        <a:pt x="125" y="76"/>
                        <a:pt x="124" y="78"/>
                      </a:cubicBezTo>
                      <a:cubicBezTo>
                        <a:pt x="121" y="76"/>
                        <a:pt x="123" y="72"/>
                        <a:pt x="120" y="70"/>
                      </a:cubicBezTo>
                      <a:cubicBezTo>
                        <a:pt x="120" y="70"/>
                        <a:pt x="118" y="72"/>
                        <a:pt x="117" y="72"/>
                      </a:cubicBezTo>
                      <a:cubicBezTo>
                        <a:pt x="117" y="72"/>
                        <a:pt x="115" y="70"/>
                        <a:pt x="115" y="70"/>
                      </a:cubicBezTo>
                      <a:cubicBezTo>
                        <a:pt x="114" y="70"/>
                        <a:pt x="112" y="67"/>
                        <a:pt x="111" y="66"/>
                      </a:cubicBezTo>
                      <a:cubicBezTo>
                        <a:pt x="110" y="66"/>
                        <a:pt x="109" y="69"/>
                        <a:pt x="107" y="68"/>
                      </a:cubicBezTo>
                      <a:cubicBezTo>
                        <a:pt x="107" y="68"/>
                        <a:pt x="104" y="64"/>
                        <a:pt x="100" y="65"/>
                      </a:cubicBezTo>
                      <a:cubicBezTo>
                        <a:pt x="108" y="56"/>
                        <a:pt x="90" y="61"/>
                        <a:pt x="92" y="52"/>
                      </a:cubicBezTo>
                      <a:cubicBezTo>
                        <a:pt x="88" y="52"/>
                        <a:pt x="83" y="52"/>
                        <a:pt x="83" y="57"/>
                      </a:cubicBezTo>
                      <a:cubicBezTo>
                        <a:pt x="80" y="59"/>
                        <a:pt x="78" y="55"/>
                        <a:pt x="78" y="55"/>
                      </a:cubicBezTo>
                      <a:cubicBezTo>
                        <a:pt x="76" y="55"/>
                        <a:pt x="75" y="57"/>
                        <a:pt x="72" y="57"/>
                      </a:cubicBezTo>
                      <a:cubicBezTo>
                        <a:pt x="69" y="57"/>
                        <a:pt x="68" y="55"/>
                        <a:pt x="65" y="55"/>
                      </a:cubicBezTo>
                      <a:cubicBezTo>
                        <a:pt x="61" y="55"/>
                        <a:pt x="61" y="57"/>
                        <a:pt x="57" y="57"/>
                      </a:cubicBezTo>
                      <a:cubicBezTo>
                        <a:pt x="53" y="57"/>
                        <a:pt x="52" y="56"/>
                        <a:pt x="50" y="55"/>
                      </a:cubicBezTo>
                      <a:cubicBezTo>
                        <a:pt x="41" y="55"/>
                        <a:pt x="34" y="56"/>
                        <a:pt x="25" y="53"/>
                      </a:cubicBezTo>
                      <a:cubicBezTo>
                        <a:pt x="24" y="53"/>
                        <a:pt x="22" y="50"/>
                        <a:pt x="22" y="50"/>
                      </a:cubicBezTo>
                      <a:cubicBezTo>
                        <a:pt x="18" y="49"/>
                        <a:pt x="15" y="51"/>
                        <a:pt x="16" y="46"/>
                      </a:cubicBezTo>
                      <a:cubicBezTo>
                        <a:pt x="13" y="46"/>
                        <a:pt x="7" y="48"/>
                        <a:pt x="9" y="42"/>
                      </a:cubicBezTo>
                      <a:cubicBezTo>
                        <a:pt x="15" y="44"/>
                        <a:pt x="16" y="40"/>
                        <a:pt x="20" y="39"/>
                      </a:cubicBezTo>
                      <a:cubicBezTo>
                        <a:pt x="17" y="35"/>
                        <a:pt x="7" y="38"/>
                        <a:pt x="5" y="33"/>
                      </a:cubicBezTo>
                      <a:cubicBezTo>
                        <a:pt x="3" y="33"/>
                        <a:pt x="3" y="34"/>
                        <a:pt x="3" y="35"/>
                      </a:cubicBezTo>
                      <a:cubicBezTo>
                        <a:pt x="0" y="34"/>
                        <a:pt x="5" y="27"/>
                        <a:pt x="7" y="25"/>
                      </a:cubicBezTo>
                      <a:cubicBezTo>
                        <a:pt x="5" y="19"/>
                        <a:pt x="10" y="17"/>
                        <a:pt x="9" y="11"/>
                      </a:cubicBezTo>
                      <a:close/>
                      <a:moveTo>
                        <a:pt x="145" y="107"/>
                      </a:moveTo>
                      <a:cubicBezTo>
                        <a:pt x="145" y="103"/>
                        <a:pt x="154" y="107"/>
                        <a:pt x="158" y="106"/>
                      </a:cubicBezTo>
                      <a:cubicBezTo>
                        <a:pt x="158" y="102"/>
                        <a:pt x="155" y="102"/>
                        <a:pt x="154" y="100"/>
                      </a:cubicBezTo>
                      <a:cubicBezTo>
                        <a:pt x="152" y="97"/>
                        <a:pt x="147" y="99"/>
                        <a:pt x="143" y="96"/>
                      </a:cubicBezTo>
                      <a:cubicBezTo>
                        <a:pt x="144" y="100"/>
                        <a:pt x="141" y="107"/>
                        <a:pt x="145" y="10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69" name="íšļïḑé">
                  <a:extLst>
                    <a:ext uri="{FF2B5EF4-FFF2-40B4-BE49-F238E27FC236}">
                      <a16:creationId xmlns:a16="http://schemas.microsoft.com/office/drawing/2014/main" id="{7BB1BD1B-4BC0-48C3-AB31-F25BCF9F0379}"/>
                    </a:ext>
                  </a:extLst>
                </p:cNvPr>
                <p:cNvSpPr/>
                <p:nvPr/>
              </p:nvSpPr>
              <p:spPr bwMode="auto">
                <a:xfrm>
                  <a:off x="3778927" y="772085"/>
                  <a:ext cx="287161" cy="145681"/>
                </a:xfrm>
                <a:custGeom>
                  <a:avLst/>
                  <a:gdLst>
                    <a:gd name="T0" fmla="*/ 15 w 138"/>
                    <a:gd name="T1" fmla="*/ 53 h 70"/>
                    <a:gd name="T2" fmla="*/ 17 w 138"/>
                    <a:gd name="T3" fmla="*/ 47 h 70"/>
                    <a:gd name="T4" fmla="*/ 24 w 138"/>
                    <a:gd name="T5" fmla="*/ 45 h 70"/>
                    <a:gd name="T6" fmla="*/ 28 w 138"/>
                    <a:gd name="T7" fmla="*/ 44 h 70"/>
                    <a:gd name="T8" fmla="*/ 49 w 138"/>
                    <a:gd name="T9" fmla="*/ 42 h 70"/>
                    <a:gd name="T10" fmla="*/ 28 w 138"/>
                    <a:gd name="T11" fmla="*/ 40 h 70"/>
                    <a:gd name="T12" fmla="*/ 26 w 138"/>
                    <a:gd name="T13" fmla="*/ 38 h 70"/>
                    <a:gd name="T14" fmla="*/ 21 w 138"/>
                    <a:gd name="T15" fmla="*/ 40 h 70"/>
                    <a:gd name="T16" fmla="*/ 10 w 138"/>
                    <a:gd name="T17" fmla="*/ 38 h 70"/>
                    <a:gd name="T18" fmla="*/ 19 w 138"/>
                    <a:gd name="T19" fmla="*/ 31 h 70"/>
                    <a:gd name="T20" fmla="*/ 24 w 138"/>
                    <a:gd name="T21" fmla="*/ 31 h 70"/>
                    <a:gd name="T22" fmla="*/ 4 w 138"/>
                    <a:gd name="T23" fmla="*/ 27 h 70"/>
                    <a:gd name="T24" fmla="*/ 0 w 138"/>
                    <a:gd name="T25" fmla="*/ 21 h 70"/>
                    <a:gd name="T26" fmla="*/ 10 w 138"/>
                    <a:gd name="T27" fmla="*/ 14 h 70"/>
                    <a:gd name="T28" fmla="*/ 10 w 138"/>
                    <a:gd name="T29" fmla="*/ 12 h 70"/>
                    <a:gd name="T30" fmla="*/ 28 w 138"/>
                    <a:gd name="T31" fmla="*/ 4 h 70"/>
                    <a:gd name="T32" fmla="*/ 34 w 138"/>
                    <a:gd name="T33" fmla="*/ 1 h 70"/>
                    <a:gd name="T34" fmla="*/ 37 w 138"/>
                    <a:gd name="T35" fmla="*/ 3 h 70"/>
                    <a:gd name="T36" fmla="*/ 41 w 138"/>
                    <a:gd name="T37" fmla="*/ 10 h 70"/>
                    <a:gd name="T38" fmla="*/ 37 w 138"/>
                    <a:gd name="T39" fmla="*/ 12 h 70"/>
                    <a:gd name="T40" fmla="*/ 41 w 138"/>
                    <a:gd name="T41" fmla="*/ 14 h 70"/>
                    <a:gd name="T42" fmla="*/ 43 w 138"/>
                    <a:gd name="T43" fmla="*/ 10 h 70"/>
                    <a:gd name="T44" fmla="*/ 54 w 138"/>
                    <a:gd name="T45" fmla="*/ 8 h 70"/>
                    <a:gd name="T46" fmla="*/ 60 w 138"/>
                    <a:gd name="T47" fmla="*/ 17 h 70"/>
                    <a:gd name="T48" fmla="*/ 67 w 138"/>
                    <a:gd name="T49" fmla="*/ 14 h 70"/>
                    <a:gd name="T50" fmla="*/ 73 w 138"/>
                    <a:gd name="T51" fmla="*/ 8 h 70"/>
                    <a:gd name="T52" fmla="*/ 79 w 138"/>
                    <a:gd name="T53" fmla="*/ 10 h 70"/>
                    <a:gd name="T54" fmla="*/ 80 w 138"/>
                    <a:gd name="T55" fmla="*/ 17 h 70"/>
                    <a:gd name="T56" fmla="*/ 84 w 138"/>
                    <a:gd name="T57" fmla="*/ 25 h 70"/>
                    <a:gd name="T58" fmla="*/ 92 w 138"/>
                    <a:gd name="T59" fmla="*/ 19 h 70"/>
                    <a:gd name="T60" fmla="*/ 86 w 138"/>
                    <a:gd name="T61" fmla="*/ 16 h 70"/>
                    <a:gd name="T62" fmla="*/ 86 w 138"/>
                    <a:gd name="T63" fmla="*/ 4 h 70"/>
                    <a:gd name="T64" fmla="*/ 93 w 138"/>
                    <a:gd name="T65" fmla="*/ 3 h 70"/>
                    <a:gd name="T66" fmla="*/ 101 w 138"/>
                    <a:gd name="T67" fmla="*/ 16 h 70"/>
                    <a:gd name="T68" fmla="*/ 106 w 138"/>
                    <a:gd name="T69" fmla="*/ 19 h 70"/>
                    <a:gd name="T70" fmla="*/ 110 w 138"/>
                    <a:gd name="T71" fmla="*/ 25 h 70"/>
                    <a:gd name="T72" fmla="*/ 108 w 138"/>
                    <a:gd name="T73" fmla="*/ 31 h 70"/>
                    <a:gd name="T74" fmla="*/ 114 w 138"/>
                    <a:gd name="T75" fmla="*/ 38 h 70"/>
                    <a:gd name="T76" fmla="*/ 131 w 138"/>
                    <a:gd name="T77" fmla="*/ 40 h 70"/>
                    <a:gd name="T78" fmla="*/ 136 w 138"/>
                    <a:gd name="T79" fmla="*/ 45 h 70"/>
                    <a:gd name="T80" fmla="*/ 138 w 138"/>
                    <a:gd name="T81" fmla="*/ 49 h 70"/>
                    <a:gd name="T82" fmla="*/ 123 w 138"/>
                    <a:gd name="T83" fmla="*/ 49 h 70"/>
                    <a:gd name="T84" fmla="*/ 127 w 138"/>
                    <a:gd name="T85" fmla="*/ 62 h 70"/>
                    <a:gd name="T86" fmla="*/ 106 w 138"/>
                    <a:gd name="T87" fmla="*/ 62 h 70"/>
                    <a:gd name="T88" fmla="*/ 80 w 138"/>
                    <a:gd name="T89" fmla="*/ 62 h 70"/>
                    <a:gd name="T90" fmla="*/ 71 w 138"/>
                    <a:gd name="T91" fmla="*/ 64 h 70"/>
                    <a:gd name="T92" fmla="*/ 69 w 138"/>
                    <a:gd name="T93" fmla="*/ 68 h 70"/>
                    <a:gd name="T94" fmla="*/ 45 w 138"/>
                    <a:gd name="T95" fmla="*/ 68 h 70"/>
                    <a:gd name="T96" fmla="*/ 37 w 138"/>
                    <a:gd name="T97" fmla="*/ 57 h 70"/>
                    <a:gd name="T98" fmla="*/ 23 w 138"/>
                    <a:gd name="T99" fmla="*/ 53 h 70"/>
                    <a:gd name="T100" fmla="*/ 21 w 138"/>
                    <a:gd name="T101" fmla="*/ 55 h 70"/>
                    <a:gd name="T102" fmla="*/ 21 w 138"/>
                    <a:gd name="T103" fmla="*/ 51 h 70"/>
                    <a:gd name="T104" fmla="*/ 15 w 138"/>
                    <a:gd name="T105" fmla="*/ 53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38" h="70">
                      <a:moveTo>
                        <a:pt x="15" y="53"/>
                      </a:moveTo>
                      <a:cubicBezTo>
                        <a:pt x="11" y="53"/>
                        <a:pt x="16" y="48"/>
                        <a:pt x="17" y="47"/>
                      </a:cubicBezTo>
                      <a:cubicBezTo>
                        <a:pt x="17" y="45"/>
                        <a:pt x="22" y="46"/>
                        <a:pt x="24" y="45"/>
                      </a:cubicBezTo>
                      <a:cubicBezTo>
                        <a:pt x="26" y="45"/>
                        <a:pt x="26" y="44"/>
                        <a:pt x="28" y="44"/>
                      </a:cubicBezTo>
                      <a:cubicBezTo>
                        <a:pt x="35" y="43"/>
                        <a:pt x="44" y="46"/>
                        <a:pt x="49" y="42"/>
                      </a:cubicBezTo>
                      <a:cubicBezTo>
                        <a:pt x="47" y="37"/>
                        <a:pt x="35" y="42"/>
                        <a:pt x="28" y="40"/>
                      </a:cubicBezTo>
                      <a:cubicBezTo>
                        <a:pt x="27" y="40"/>
                        <a:pt x="26" y="38"/>
                        <a:pt x="26" y="38"/>
                      </a:cubicBezTo>
                      <a:cubicBezTo>
                        <a:pt x="25" y="38"/>
                        <a:pt x="23" y="40"/>
                        <a:pt x="21" y="40"/>
                      </a:cubicBezTo>
                      <a:cubicBezTo>
                        <a:pt x="17" y="40"/>
                        <a:pt x="13" y="37"/>
                        <a:pt x="10" y="38"/>
                      </a:cubicBezTo>
                      <a:cubicBezTo>
                        <a:pt x="5" y="32"/>
                        <a:pt x="19" y="34"/>
                        <a:pt x="19" y="31"/>
                      </a:cubicBezTo>
                      <a:cubicBezTo>
                        <a:pt x="19" y="27"/>
                        <a:pt x="23" y="30"/>
                        <a:pt x="24" y="31"/>
                      </a:cubicBezTo>
                      <a:cubicBezTo>
                        <a:pt x="24" y="20"/>
                        <a:pt x="13" y="30"/>
                        <a:pt x="4" y="27"/>
                      </a:cubicBezTo>
                      <a:cubicBezTo>
                        <a:pt x="0" y="24"/>
                        <a:pt x="8" y="21"/>
                        <a:pt x="0" y="21"/>
                      </a:cubicBezTo>
                      <a:cubicBezTo>
                        <a:pt x="2" y="18"/>
                        <a:pt x="2" y="12"/>
                        <a:pt x="10" y="14"/>
                      </a:cubicBezTo>
                      <a:cubicBezTo>
                        <a:pt x="12" y="14"/>
                        <a:pt x="10" y="11"/>
                        <a:pt x="10" y="12"/>
                      </a:cubicBezTo>
                      <a:cubicBezTo>
                        <a:pt x="13" y="7"/>
                        <a:pt x="21" y="6"/>
                        <a:pt x="28" y="4"/>
                      </a:cubicBezTo>
                      <a:cubicBezTo>
                        <a:pt x="30" y="3"/>
                        <a:pt x="30" y="0"/>
                        <a:pt x="34" y="1"/>
                      </a:cubicBezTo>
                      <a:cubicBezTo>
                        <a:pt x="34" y="3"/>
                        <a:pt x="36" y="2"/>
                        <a:pt x="37" y="3"/>
                      </a:cubicBezTo>
                      <a:cubicBezTo>
                        <a:pt x="37" y="7"/>
                        <a:pt x="34" y="10"/>
                        <a:pt x="41" y="10"/>
                      </a:cubicBezTo>
                      <a:cubicBezTo>
                        <a:pt x="41" y="12"/>
                        <a:pt x="39" y="11"/>
                        <a:pt x="37" y="12"/>
                      </a:cubicBezTo>
                      <a:cubicBezTo>
                        <a:pt x="37" y="13"/>
                        <a:pt x="40" y="14"/>
                        <a:pt x="41" y="14"/>
                      </a:cubicBezTo>
                      <a:cubicBezTo>
                        <a:pt x="43" y="13"/>
                        <a:pt x="42" y="10"/>
                        <a:pt x="43" y="10"/>
                      </a:cubicBezTo>
                      <a:cubicBezTo>
                        <a:pt x="47" y="8"/>
                        <a:pt x="50" y="9"/>
                        <a:pt x="54" y="8"/>
                      </a:cubicBezTo>
                      <a:cubicBezTo>
                        <a:pt x="56" y="11"/>
                        <a:pt x="60" y="12"/>
                        <a:pt x="60" y="17"/>
                      </a:cubicBezTo>
                      <a:cubicBezTo>
                        <a:pt x="64" y="17"/>
                        <a:pt x="62" y="12"/>
                        <a:pt x="67" y="14"/>
                      </a:cubicBezTo>
                      <a:cubicBezTo>
                        <a:pt x="69" y="12"/>
                        <a:pt x="71" y="10"/>
                        <a:pt x="73" y="8"/>
                      </a:cubicBezTo>
                      <a:cubicBezTo>
                        <a:pt x="74" y="9"/>
                        <a:pt x="76" y="10"/>
                        <a:pt x="79" y="10"/>
                      </a:cubicBezTo>
                      <a:cubicBezTo>
                        <a:pt x="80" y="13"/>
                        <a:pt x="79" y="15"/>
                        <a:pt x="80" y="17"/>
                      </a:cubicBezTo>
                      <a:cubicBezTo>
                        <a:pt x="81" y="20"/>
                        <a:pt x="86" y="20"/>
                        <a:pt x="84" y="25"/>
                      </a:cubicBezTo>
                      <a:cubicBezTo>
                        <a:pt x="88" y="24"/>
                        <a:pt x="88" y="20"/>
                        <a:pt x="92" y="19"/>
                      </a:cubicBezTo>
                      <a:cubicBezTo>
                        <a:pt x="91" y="17"/>
                        <a:pt x="87" y="17"/>
                        <a:pt x="86" y="16"/>
                      </a:cubicBezTo>
                      <a:cubicBezTo>
                        <a:pt x="84" y="12"/>
                        <a:pt x="87" y="9"/>
                        <a:pt x="86" y="4"/>
                      </a:cubicBezTo>
                      <a:cubicBezTo>
                        <a:pt x="89" y="5"/>
                        <a:pt x="90" y="2"/>
                        <a:pt x="93" y="3"/>
                      </a:cubicBezTo>
                      <a:cubicBezTo>
                        <a:pt x="94" y="6"/>
                        <a:pt x="98" y="11"/>
                        <a:pt x="101" y="16"/>
                      </a:cubicBezTo>
                      <a:cubicBezTo>
                        <a:pt x="101" y="16"/>
                        <a:pt x="105" y="24"/>
                        <a:pt x="106" y="19"/>
                      </a:cubicBezTo>
                      <a:cubicBezTo>
                        <a:pt x="109" y="20"/>
                        <a:pt x="107" y="25"/>
                        <a:pt x="110" y="25"/>
                      </a:cubicBezTo>
                      <a:cubicBezTo>
                        <a:pt x="110" y="28"/>
                        <a:pt x="110" y="30"/>
                        <a:pt x="108" y="31"/>
                      </a:cubicBezTo>
                      <a:cubicBezTo>
                        <a:pt x="109" y="34"/>
                        <a:pt x="116" y="32"/>
                        <a:pt x="114" y="38"/>
                      </a:cubicBezTo>
                      <a:cubicBezTo>
                        <a:pt x="121" y="34"/>
                        <a:pt x="121" y="41"/>
                        <a:pt x="131" y="40"/>
                      </a:cubicBezTo>
                      <a:cubicBezTo>
                        <a:pt x="127" y="47"/>
                        <a:pt x="135" y="44"/>
                        <a:pt x="136" y="45"/>
                      </a:cubicBezTo>
                      <a:cubicBezTo>
                        <a:pt x="137" y="46"/>
                        <a:pt x="133" y="51"/>
                        <a:pt x="138" y="49"/>
                      </a:cubicBezTo>
                      <a:cubicBezTo>
                        <a:pt x="135" y="58"/>
                        <a:pt x="131" y="47"/>
                        <a:pt x="123" y="49"/>
                      </a:cubicBezTo>
                      <a:cubicBezTo>
                        <a:pt x="121" y="56"/>
                        <a:pt x="130" y="54"/>
                        <a:pt x="127" y="62"/>
                      </a:cubicBezTo>
                      <a:cubicBezTo>
                        <a:pt x="120" y="64"/>
                        <a:pt x="112" y="66"/>
                        <a:pt x="106" y="62"/>
                      </a:cubicBezTo>
                      <a:cubicBezTo>
                        <a:pt x="100" y="58"/>
                        <a:pt x="88" y="57"/>
                        <a:pt x="80" y="62"/>
                      </a:cubicBezTo>
                      <a:cubicBezTo>
                        <a:pt x="78" y="63"/>
                        <a:pt x="76" y="62"/>
                        <a:pt x="71" y="64"/>
                      </a:cubicBezTo>
                      <a:cubicBezTo>
                        <a:pt x="69" y="65"/>
                        <a:pt x="69" y="66"/>
                        <a:pt x="69" y="68"/>
                      </a:cubicBezTo>
                      <a:cubicBezTo>
                        <a:pt x="64" y="65"/>
                        <a:pt x="54" y="70"/>
                        <a:pt x="45" y="68"/>
                      </a:cubicBezTo>
                      <a:cubicBezTo>
                        <a:pt x="43" y="64"/>
                        <a:pt x="40" y="61"/>
                        <a:pt x="37" y="57"/>
                      </a:cubicBezTo>
                      <a:cubicBezTo>
                        <a:pt x="32" y="56"/>
                        <a:pt x="23" y="59"/>
                        <a:pt x="23" y="53"/>
                      </a:cubicBezTo>
                      <a:cubicBezTo>
                        <a:pt x="21" y="53"/>
                        <a:pt x="21" y="54"/>
                        <a:pt x="21" y="55"/>
                      </a:cubicBezTo>
                      <a:cubicBezTo>
                        <a:pt x="18" y="54"/>
                        <a:pt x="19" y="51"/>
                        <a:pt x="21" y="51"/>
                      </a:cubicBezTo>
                      <a:cubicBezTo>
                        <a:pt x="21" y="47"/>
                        <a:pt x="15" y="51"/>
                        <a:pt x="15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0" name="íṡļïḓê">
                  <a:extLst>
                    <a:ext uri="{FF2B5EF4-FFF2-40B4-BE49-F238E27FC236}">
                      <a16:creationId xmlns:a16="http://schemas.microsoft.com/office/drawing/2014/main" id="{A45A9237-A93E-4367-B5FE-146ACC35751D}"/>
                    </a:ext>
                  </a:extLst>
                </p:cNvPr>
                <p:cNvSpPr/>
                <p:nvPr/>
              </p:nvSpPr>
              <p:spPr bwMode="auto">
                <a:xfrm>
                  <a:off x="3011298" y="807105"/>
                  <a:ext cx="2054948" cy="2382731"/>
                </a:xfrm>
                <a:custGeom>
                  <a:avLst/>
                  <a:gdLst>
                    <a:gd name="T0" fmla="*/ 647 w 988"/>
                    <a:gd name="T1" fmla="*/ 75 h 1146"/>
                    <a:gd name="T2" fmla="*/ 582 w 988"/>
                    <a:gd name="T3" fmla="*/ 120 h 1146"/>
                    <a:gd name="T4" fmla="*/ 574 w 988"/>
                    <a:gd name="T5" fmla="*/ 187 h 1146"/>
                    <a:gd name="T6" fmla="*/ 654 w 988"/>
                    <a:gd name="T7" fmla="*/ 241 h 1146"/>
                    <a:gd name="T8" fmla="*/ 680 w 988"/>
                    <a:gd name="T9" fmla="*/ 168 h 1146"/>
                    <a:gd name="T10" fmla="*/ 748 w 988"/>
                    <a:gd name="T11" fmla="*/ 166 h 1146"/>
                    <a:gd name="T12" fmla="*/ 809 w 988"/>
                    <a:gd name="T13" fmla="*/ 183 h 1146"/>
                    <a:gd name="T14" fmla="*/ 833 w 988"/>
                    <a:gd name="T15" fmla="*/ 247 h 1146"/>
                    <a:gd name="T16" fmla="*/ 757 w 988"/>
                    <a:gd name="T17" fmla="*/ 274 h 1146"/>
                    <a:gd name="T18" fmla="*/ 804 w 988"/>
                    <a:gd name="T19" fmla="*/ 302 h 1146"/>
                    <a:gd name="T20" fmla="*/ 785 w 988"/>
                    <a:gd name="T21" fmla="*/ 312 h 1146"/>
                    <a:gd name="T22" fmla="*/ 701 w 988"/>
                    <a:gd name="T23" fmla="*/ 373 h 1146"/>
                    <a:gd name="T24" fmla="*/ 666 w 988"/>
                    <a:gd name="T25" fmla="*/ 478 h 1146"/>
                    <a:gd name="T26" fmla="*/ 593 w 988"/>
                    <a:gd name="T27" fmla="*/ 437 h 1146"/>
                    <a:gd name="T28" fmla="*/ 535 w 988"/>
                    <a:gd name="T29" fmla="*/ 515 h 1146"/>
                    <a:gd name="T30" fmla="*/ 600 w 988"/>
                    <a:gd name="T31" fmla="*/ 547 h 1146"/>
                    <a:gd name="T32" fmla="*/ 692 w 988"/>
                    <a:gd name="T33" fmla="*/ 608 h 1146"/>
                    <a:gd name="T34" fmla="*/ 766 w 988"/>
                    <a:gd name="T35" fmla="*/ 597 h 1146"/>
                    <a:gd name="T36" fmla="*/ 884 w 988"/>
                    <a:gd name="T37" fmla="*/ 647 h 1146"/>
                    <a:gd name="T38" fmla="*/ 988 w 988"/>
                    <a:gd name="T39" fmla="*/ 711 h 1146"/>
                    <a:gd name="T40" fmla="*/ 943 w 988"/>
                    <a:gd name="T41" fmla="*/ 854 h 1146"/>
                    <a:gd name="T42" fmla="*/ 885 w 988"/>
                    <a:gd name="T43" fmla="*/ 918 h 1146"/>
                    <a:gd name="T44" fmla="*/ 830 w 988"/>
                    <a:gd name="T45" fmla="*/ 979 h 1146"/>
                    <a:gd name="T46" fmla="*/ 779 w 988"/>
                    <a:gd name="T47" fmla="*/ 1037 h 1146"/>
                    <a:gd name="T48" fmla="*/ 757 w 988"/>
                    <a:gd name="T49" fmla="*/ 1082 h 1146"/>
                    <a:gd name="T50" fmla="*/ 716 w 988"/>
                    <a:gd name="T51" fmla="*/ 1126 h 1146"/>
                    <a:gd name="T52" fmla="*/ 703 w 988"/>
                    <a:gd name="T53" fmla="*/ 1065 h 1146"/>
                    <a:gd name="T54" fmla="*/ 735 w 988"/>
                    <a:gd name="T55" fmla="*/ 936 h 1146"/>
                    <a:gd name="T56" fmla="*/ 731 w 988"/>
                    <a:gd name="T57" fmla="*/ 813 h 1146"/>
                    <a:gd name="T58" fmla="*/ 666 w 988"/>
                    <a:gd name="T59" fmla="*/ 729 h 1146"/>
                    <a:gd name="T60" fmla="*/ 679 w 988"/>
                    <a:gd name="T61" fmla="*/ 660 h 1146"/>
                    <a:gd name="T62" fmla="*/ 621 w 988"/>
                    <a:gd name="T63" fmla="*/ 588 h 1146"/>
                    <a:gd name="T64" fmla="*/ 559 w 988"/>
                    <a:gd name="T65" fmla="*/ 550 h 1146"/>
                    <a:gd name="T66" fmla="*/ 464 w 988"/>
                    <a:gd name="T67" fmla="*/ 496 h 1146"/>
                    <a:gd name="T68" fmla="*/ 410 w 988"/>
                    <a:gd name="T69" fmla="*/ 440 h 1146"/>
                    <a:gd name="T70" fmla="*/ 410 w 988"/>
                    <a:gd name="T71" fmla="*/ 463 h 1146"/>
                    <a:gd name="T72" fmla="*/ 354 w 988"/>
                    <a:gd name="T73" fmla="*/ 392 h 1146"/>
                    <a:gd name="T74" fmla="*/ 319 w 988"/>
                    <a:gd name="T75" fmla="*/ 267 h 1146"/>
                    <a:gd name="T76" fmla="*/ 298 w 988"/>
                    <a:gd name="T77" fmla="*/ 233 h 1146"/>
                    <a:gd name="T78" fmla="*/ 244 w 988"/>
                    <a:gd name="T79" fmla="*/ 174 h 1146"/>
                    <a:gd name="T80" fmla="*/ 151 w 988"/>
                    <a:gd name="T81" fmla="*/ 144 h 1146"/>
                    <a:gd name="T82" fmla="*/ 105 w 988"/>
                    <a:gd name="T83" fmla="*/ 168 h 1146"/>
                    <a:gd name="T84" fmla="*/ 58 w 988"/>
                    <a:gd name="T85" fmla="*/ 198 h 1146"/>
                    <a:gd name="T86" fmla="*/ 24 w 988"/>
                    <a:gd name="T87" fmla="*/ 153 h 1146"/>
                    <a:gd name="T88" fmla="*/ 9 w 988"/>
                    <a:gd name="T89" fmla="*/ 97 h 1146"/>
                    <a:gd name="T90" fmla="*/ 28 w 988"/>
                    <a:gd name="T91" fmla="*/ 62 h 1146"/>
                    <a:gd name="T92" fmla="*/ 95 w 988"/>
                    <a:gd name="T93" fmla="*/ 21 h 1146"/>
                    <a:gd name="T94" fmla="*/ 255 w 988"/>
                    <a:gd name="T95" fmla="*/ 38 h 1146"/>
                    <a:gd name="T96" fmla="*/ 332 w 988"/>
                    <a:gd name="T97" fmla="*/ 41 h 1146"/>
                    <a:gd name="T98" fmla="*/ 451 w 988"/>
                    <a:gd name="T99" fmla="*/ 73 h 1146"/>
                    <a:gd name="T100" fmla="*/ 537 w 988"/>
                    <a:gd name="T101" fmla="*/ 53 h 1146"/>
                    <a:gd name="T102" fmla="*/ 561 w 988"/>
                    <a:gd name="T103" fmla="*/ 12 h 1146"/>
                    <a:gd name="T104" fmla="*/ 606 w 988"/>
                    <a:gd name="T105" fmla="*/ 51 h 1146"/>
                    <a:gd name="T106" fmla="*/ 324 w 988"/>
                    <a:gd name="T107" fmla="*/ 86 h 1146"/>
                    <a:gd name="T108" fmla="*/ 418 w 988"/>
                    <a:gd name="T109" fmla="*/ 135 h 1146"/>
                    <a:gd name="T110" fmla="*/ 403 w 988"/>
                    <a:gd name="T111" fmla="*/ 133 h 1146"/>
                    <a:gd name="T112" fmla="*/ 533 w 988"/>
                    <a:gd name="T113" fmla="*/ 250 h 1146"/>
                    <a:gd name="T114" fmla="*/ 576 w 988"/>
                    <a:gd name="T115" fmla="*/ 295 h 1146"/>
                    <a:gd name="T116" fmla="*/ 613 w 988"/>
                    <a:gd name="T117" fmla="*/ 271 h 1146"/>
                    <a:gd name="T118" fmla="*/ 606 w 988"/>
                    <a:gd name="T119" fmla="*/ 340 h 1146"/>
                    <a:gd name="T120" fmla="*/ 671 w 988"/>
                    <a:gd name="T121" fmla="*/ 317 h 1146"/>
                    <a:gd name="T122" fmla="*/ 653 w 988"/>
                    <a:gd name="T123" fmla="*/ 338 h 1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88" h="1146">
                      <a:moveTo>
                        <a:pt x="602" y="62"/>
                      </a:moveTo>
                      <a:cubicBezTo>
                        <a:pt x="603" y="66"/>
                        <a:pt x="608" y="59"/>
                        <a:pt x="606" y="68"/>
                      </a:cubicBezTo>
                      <a:cubicBezTo>
                        <a:pt x="608" y="68"/>
                        <a:pt x="610" y="68"/>
                        <a:pt x="612" y="68"/>
                      </a:cubicBezTo>
                      <a:cubicBezTo>
                        <a:pt x="614" y="66"/>
                        <a:pt x="616" y="63"/>
                        <a:pt x="615" y="58"/>
                      </a:cubicBezTo>
                      <a:cubicBezTo>
                        <a:pt x="618" y="57"/>
                        <a:pt x="619" y="56"/>
                        <a:pt x="619" y="53"/>
                      </a:cubicBezTo>
                      <a:cubicBezTo>
                        <a:pt x="625" y="55"/>
                        <a:pt x="620" y="47"/>
                        <a:pt x="626" y="49"/>
                      </a:cubicBezTo>
                      <a:cubicBezTo>
                        <a:pt x="626" y="45"/>
                        <a:pt x="626" y="40"/>
                        <a:pt x="626" y="36"/>
                      </a:cubicBezTo>
                      <a:cubicBezTo>
                        <a:pt x="633" y="35"/>
                        <a:pt x="636" y="34"/>
                        <a:pt x="641" y="36"/>
                      </a:cubicBezTo>
                      <a:cubicBezTo>
                        <a:pt x="643" y="37"/>
                        <a:pt x="642" y="40"/>
                        <a:pt x="643" y="41"/>
                      </a:cubicBezTo>
                      <a:cubicBezTo>
                        <a:pt x="644" y="42"/>
                        <a:pt x="646" y="41"/>
                        <a:pt x="647" y="41"/>
                      </a:cubicBezTo>
                      <a:cubicBezTo>
                        <a:pt x="649" y="42"/>
                        <a:pt x="650" y="45"/>
                        <a:pt x="653" y="45"/>
                      </a:cubicBezTo>
                      <a:cubicBezTo>
                        <a:pt x="653" y="51"/>
                        <a:pt x="650" y="53"/>
                        <a:pt x="647" y="55"/>
                      </a:cubicBezTo>
                      <a:cubicBezTo>
                        <a:pt x="651" y="57"/>
                        <a:pt x="649" y="64"/>
                        <a:pt x="654" y="66"/>
                      </a:cubicBezTo>
                      <a:cubicBezTo>
                        <a:pt x="653" y="70"/>
                        <a:pt x="648" y="71"/>
                        <a:pt x="647" y="75"/>
                      </a:cubicBezTo>
                      <a:cubicBezTo>
                        <a:pt x="644" y="75"/>
                        <a:pt x="642" y="78"/>
                        <a:pt x="641" y="75"/>
                      </a:cubicBezTo>
                      <a:cubicBezTo>
                        <a:pt x="638" y="77"/>
                        <a:pt x="638" y="82"/>
                        <a:pt x="636" y="84"/>
                      </a:cubicBezTo>
                      <a:cubicBezTo>
                        <a:pt x="634" y="83"/>
                        <a:pt x="637" y="79"/>
                        <a:pt x="628" y="81"/>
                      </a:cubicBezTo>
                      <a:cubicBezTo>
                        <a:pt x="628" y="79"/>
                        <a:pt x="631" y="79"/>
                        <a:pt x="632" y="79"/>
                      </a:cubicBezTo>
                      <a:cubicBezTo>
                        <a:pt x="628" y="73"/>
                        <a:pt x="621" y="81"/>
                        <a:pt x="615" y="79"/>
                      </a:cubicBezTo>
                      <a:cubicBezTo>
                        <a:pt x="617" y="85"/>
                        <a:pt x="615" y="83"/>
                        <a:pt x="615" y="90"/>
                      </a:cubicBezTo>
                      <a:cubicBezTo>
                        <a:pt x="613" y="90"/>
                        <a:pt x="614" y="88"/>
                        <a:pt x="613" y="86"/>
                      </a:cubicBezTo>
                      <a:cubicBezTo>
                        <a:pt x="609" y="87"/>
                        <a:pt x="610" y="93"/>
                        <a:pt x="604" y="92"/>
                      </a:cubicBezTo>
                      <a:cubicBezTo>
                        <a:pt x="605" y="94"/>
                        <a:pt x="608" y="93"/>
                        <a:pt x="608" y="96"/>
                      </a:cubicBezTo>
                      <a:cubicBezTo>
                        <a:pt x="608" y="99"/>
                        <a:pt x="606" y="100"/>
                        <a:pt x="606" y="103"/>
                      </a:cubicBezTo>
                      <a:cubicBezTo>
                        <a:pt x="602" y="99"/>
                        <a:pt x="596" y="110"/>
                        <a:pt x="595" y="109"/>
                      </a:cubicBezTo>
                      <a:cubicBezTo>
                        <a:pt x="594" y="108"/>
                        <a:pt x="591" y="106"/>
                        <a:pt x="591" y="112"/>
                      </a:cubicBezTo>
                      <a:cubicBezTo>
                        <a:pt x="589" y="112"/>
                        <a:pt x="586" y="112"/>
                        <a:pt x="584" y="112"/>
                      </a:cubicBezTo>
                      <a:cubicBezTo>
                        <a:pt x="581" y="113"/>
                        <a:pt x="582" y="117"/>
                        <a:pt x="582" y="120"/>
                      </a:cubicBezTo>
                      <a:cubicBezTo>
                        <a:pt x="579" y="118"/>
                        <a:pt x="578" y="118"/>
                        <a:pt x="578" y="122"/>
                      </a:cubicBezTo>
                      <a:cubicBezTo>
                        <a:pt x="574" y="118"/>
                        <a:pt x="573" y="121"/>
                        <a:pt x="569" y="122"/>
                      </a:cubicBezTo>
                      <a:cubicBezTo>
                        <a:pt x="570" y="123"/>
                        <a:pt x="571" y="126"/>
                        <a:pt x="571" y="129"/>
                      </a:cubicBezTo>
                      <a:cubicBezTo>
                        <a:pt x="566" y="125"/>
                        <a:pt x="568" y="130"/>
                        <a:pt x="565" y="135"/>
                      </a:cubicBezTo>
                      <a:cubicBezTo>
                        <a:pt x="563" y="139"/>
                        <a:pt x="558" y="143"/>
                        <a:pt x="557" y="151"/>
                      </a:cubicBezTo>
                      <a:cubicBezTo>
                        <a:pt x="553" y="154"/>
                        <a:pt x="551" y="159"/>
                        <a:pt x="548" y="163"/>
                      </a:cubicBezTo>
                      <a:cubicBezTo>
                        <a:pt x="548" y="166"/>
                        <a:pt x="550" y="163"/>
                        <a:pt x="550" y="163"/>
                      </a:cubicBezTo>
                      <a:cubicBezTo>
                        <a:pt x="552" y="163"/>
                        <a:pt x="551" y="164"/>
                        <a:pt x="552" y="165"/>
                      </a:cubicBezTo>
                      <a:cubicBezTo>
                        <a:pt x="553" y="165"/>
                        <a:pt x="555" y="168"/>
                        <a:pt x="556" y="168"/>
                      </a:cubicBezTo>
                      <a:cubicBezTo>
                        <a:pt x="557" y="169"/>
                        <a:pt x="559" y="164"/>
                        <a:pt x="563" y="168"/>
                      </a:cubicBezTo>
                      <a:cubicBezTo>
                        <a:pt x="564" y="169"/>
                        <a:pt x="565" y="170"/>
                        <a:pt x="567" y="170"/>
                      </a:cubicBezTo>
                      <a:cubicBezTo>
                        <a:pt x="567" y="173"/>
                        <a:pt x="567" y="175"/>
                        <a:pt x="567" y="178"/>
                      </a:cubicBezTo>
                      <a:cubicBezTo>
                        <a:pt x="567" y="180"/>
                        <a:pt x="570" y="179"/>
                        <a:pt x="571" y="181"/>
                      </a:cubicBezTo>
                      <a:cubicBezTo>
                        <a:pt x="572" y="183"/>
                        <a:pt x="575" y="183"/>
                        <a:pt x="574" y="187"/>
                      </a:cubicBezTo>
                      <a:cubicBezTo>
                        <a:pt x="584" y="186"/>
                        <a:pt x="591" y="189"/>
                        <a:pt x="597" y="187"/>
                      </a:cubicBezTo>
                      <a:cubicBezTo>
                        <a:pt x="598" y="194"/>
                        <a:pt x="606" y="192"/>
                        <a:pt x="610" y="196"/>
                      </a:cubicBezTo>
                      <a:cubicBezTo>
                        <a:pt x="611" y="197"/>
                        <a:pt x="611" y="196"/>
                        <a:pt x="612" y="198"/>
                      </a:cubicBezTo>
                      <a:cubicBezTo>
                        <a:pt x="612" y="201"/>
                        <a:pt x="614" y="198"/>
                        <a:pt x="613" y="198"/>
                      </a:cubicBezTo>
                      <a:cubicBezTo>
                        <a:pt x="616" y="198"/>
                        <a:pt x="616" y="201"/>
                        <a:pt x="617" y="202"/>
                      </a:cubicBezTo>
                      <a:cubicBezTo>
                        <a:pt x="620" y="203"/>
                        <a:pt x="624" y="201"/>
                        <a:pt x="623" y="206"/>
                      </a:cubicBezTo>
                      <a:cubicBezTo>
                        <a:pt x="633" y="205"/>
                        <a:pt x="638" y="209"/>
                        <a:pt x="647" y="209"/>
                      </a:cubicBezTo>
                      <a:cubicBezTo>
                        <a:pt x="647" y="215"/>
                        <a:pt x="646" y="221"/>
                        <a:pt x="649" y="224"/>
                      </a:cubicBezTo>
                      <a:cubicBezTo>
                        <a:pt x="649" y="224"/>
                        <a:pt x="651" y="227"/>
                        <a:pt x="651" y="226"/>
                      </a:cubicBezTo>
                      <a:cubicBezTo>
                        <a:pt x="651" y="228"/>
                        <a:pt x="649" y="230"/>
                        <a:pt x="649" y="230"/>
                      </a:cubicBezTo>
                      <a:cubicBezTo>
                        <a:pt x="650" y="232"/>
                        <a:pt x="651" y="230"/>
                        <a:pt x="653" y="232"/>
                      </a:cubicBezTo>
                      <a:cubicBezTo>
                        <a:pt x="653" y="232"/>
                        <a:pt x="649" y="237"/>
                        <a:pt x="654" y="235"/>
                      </a:cubicBezTo>
                      <a:cubicBezTo>
                        <a:pt x="653" y="237"/>
                        <a:pt x="652" y="238"/>
                        <a:pt x="653" y="241"/>
                      </a:cubicBezTo>
                      <a:cubicBezTo>
                        <a:pt x="653" y="243"/>
                        <a:pt x="654" y="242"/>
                        <a:pt x="654" y="241"/>
                      </a:cubicBezTo>
                      <a:cubicBezTo>
                        <a:pt x="657" y="241"/>
                        <a:pt x="655" y="244"/>
                        <a:pt x="656" y="245"/>
                      </a:cubicBezTo>
                      <a:cubicBezTo>
                        <a:pt x="657" y="245"/>
                        <a:pt x="659" y="244"/>
                        <a:pt x="660" y="245"/>
                      </a:cubicBezTo>
                      <a:cubicBezTo>
                        <a:pt x="662" y="247"/>
                        <a:pt x="669" y="247"/>
                        <a:pt x="675" y="245"/>
                      </a:cubicBezTo>
                      <a:cubicBezTo>
                        <a:pt x="677" y="237"/>
                        <a:pt x="677" y="233"/>
                        <a:pt x="675" y="226"/>
                      </a:cubicBezTo>
                      <a:cubicBezTo>
                        <a:pt x="676" y="224"/>
                        <a:pt x="672" y="225"/>
                        <a:pt x="671" y="224"/>
                      </a:cubicBezTo>
                      <a:cubicBezTo>
                        <a:pt x="669" y="221"/>
                        <a:pt x="674" y="215"/>
                        <a:pt x="667" y="217"/>
                      </a:cubicBezTo>
                      <a:cubicBezTo>
                        <a:pt x="669" y="215"/>
                        <a:pt x="672" y="215"/>
                        <a:pt x="671" y="211"/>
                      </a:cubicBezTo>
                      <a:cubicBezTo>
                        <a:pt x="679" y="213"/>
                        <a:pt x="678" y="207"/>
                        <a:pt x="684" y="207"/>
                      </a:cubicBezTo>
                      <a:cubicBezTo>
                        <a:pt x="687" y="208"/>
                        <a:pt x="685" y="203"/>
                        <a:pt x="686" y="202"/>
                      </a:cubicBezTo>
                      <a:cubicBezTo>
                        <a:pt x="686" y="202"/>
                        <a:pt x="691" y="204"/>
                        <a:pt x="692" y="202"/>
                      </a:cubicBezTo>
                      <a:cubicBezTo>
                        <a:pt x="687" y="194"/>
                        <a:pt x="694" y="186"/>
                        <a:pt x="690" y="181"/>
                      </a:cubicBezTo>
                      <a:cubicBezTo>
                        <a:pt x="690" y="179"/>
                        <a:pt x="687" y="181"/>
                        <a:pt x="688" y="181"/>
                      </a:cubicBezTo>
                      <a:cubicBezTo>
                        <a:pt x="685" y="179"/>
                        <a:pt x="688" y="175"/>
                        <a:pt x="682" y="176"/>
                      </a:cubicBezTo>
                      <a:cubicBezTo>
                        <a:pt x="683" y="172"/>
                        <a:pt x="680" y="172"/>
                        <a:pt x="680" y="168"/>
                      </a:cubicBezTo>
                      <a:cubicBezTo>
                        <a:pt x="680" y="164"/>
                        <a:pt x="682" y="162"/>
                        <a:pt x="686" y="163"/>
                      </a:cubicBezTo>
                      <a:cubicBezTo>
                        <a:pt x="683" y="161"/>
                        <a:pt x="688" y="150"/>
                        <a:pt x="680" y="150"/>
                      </a:cubicBezTo>
                      <a:cubicBezTo>
                        <a:pt x="682" y="148"/>
                        <a:pt x="682" y="147"/>
                        <a:pt x="682" y="144"/>
                      </a:cubicBezTo>
                      <a:cubicBezTo>
                        <a:pt x="682" y="144"/>
                        <a:pt x="680" y="143"/>
                        <a:pt x="680" y="142"/>
                      </a:cubicBezTo>
                      <a:cubicBezTo>
                        <a:pt x="681" y="142"/>
                        <a:pt x="683" y="142"/>
                        <a:pt x="682" y="140"/>
                      </a:cubicBezTo>
                      <a:cubicBezTo>
                        <a:pt x="682" y="139"/>
                        <a:pt x="680" y="138"/>
                        <a:pt x="680" y="137"/>
                      </a:cubicBezTo>
                      <a:cubicBezTo>
                        <a:pt x="680" y="134"/>
                        <a:pt x="684" y="130"/>
                        <a:pt x="680" y="129"/>
                      </a:cubicBezTo>
                      <a:cubicBezTo>
                        <a:pt x="681" y="126"/>
                        <a:pt x="696" y="125"/>
                        <a:pt x="694" y="131"/>
                      </a:cubicBezTo>
                      <a:cubicBezTo>
                        <a:pt x="701" y="131"/>
                        <a:pt x="711" y="133"/>
                        <a:pt x="714" y="127"/>
                      </a:cubicBezTo>
                      <a:cubicBezTo>
                        <a:pt x="718" y="132"/>
                        <a:pt x="728" y="132"/>
                        <a:pt x="727" y="142"/>
                      </a:cubicBezTo>
                      <a:cubicBezTo>
                        <a:pt x="732" y="142"/>
                        <a:pt x="737" y="142"/>
                        <a:pt x="742" y="142"/>
                      </a:cubicBezTo>
                      <a:cubicBezTo>
                        <a:pt x="741" y="145"/>
                        <a:pt x="743" y="146"/>
                        <a:pt x="746" y="146"/>
                      </a:cubicBezTo>
                      <a:cubicBezTo>
                        <a:pt x="746" y="150"/>
                        <a:pt x="745" y="153"/>
                        <a:pt x="746" y="157"/>
                      </a:cubicBezTo>
                      <a:cubicBezTo>
                        <a:pt x="746" y="161"/>
                        <a:pt x="751" y="165"/>
                        <a:pt x="748" y="166"/>
                      </a:cubicBezTo>
                      <a:cubicBezTo>
                        <a:pt x="748" y="169"/>
                        <a:pt x="751" y="168"/>
                        <a:pt x="753" y="168"/>
                      </a:cubicBezTo>
                      <a:cubicBezTo>
                        <a:pt x="752" y="174"/>
                        <a:pt x="760" y="171"/>
                        <a:pt x="755" y="176"/>
                      </a:cubicBezTo>
                      <a:cubicBezTo>
                        <a:pt x="763" y="177"/>
                        <a:pt x="765" y="173"/>
                        <a:pt x="772" y="174"/>
                      </a:cubicBezTo>
                      <a:cubicBezTo>
                        <a:pt x="772" y="172"/>
                        <a:pt x="771" y="171"/>
                        <a:pt x="770" y="170"/>
                      </a:cubicBezTo>
                      <a:cubicBezTo>
                        <a:pt x="771" y="166"/>
                        <a:pt x="773" y="166"/>
                        <a:pt x="776" y="168"/>
                      </a:cubicBezTo>
                      <a:cubicBezTo>
                        <a:pt x="773" y="162"/>
                        <a:pt x="780" y="163"/>
                        <a:pt x="781" y="161"/>
                      </a:cubicBezTo>
                      <a:cubicBezTo>
                        <a:pt x="782" y="159"/>
                        <a:pt x="779" y="159"/>
                        <a:pt x="779" y="159"/>
                      </a:cubicBezTo>
                      <a:cubicBezTo>
                        <a:pt x="779" y="157"/>
                        <a:pt x="783" y="156"/>
                        <a:pt x="787" y="155"/>
                      </a:cubicBezTo>
                      <a:cubicBezTo>
                        <a:pt x="783" y="159"/>
                        <a:pt x="786" y="159"/>
                        <a:pt x="790" y="165"/>
                      </a:cubicBezTo>
                      <a:cubicBezTo>
                        <a:pt x="793" y="167"/>
                        <a:pt x="795" y="172"/>
                        <a:pt x="802" y="172"/>
                      </a:cubicBezTo>
                      <a:cubicBezTo>
                        <a:pt x="801" y="174"/>
                        <a:pt x="798" y="173"/>
                        <a:pt x="798" y="176"/>
                      </a:cubicBezTo>
                      <a:cubicBezTo>
                        <a:pt x="799" y="178"/>
                        <a:pt x="802" y="178"/>
                        <a:pt x="802" y="181"/>
                      </a:cubicBezTo>
                      <a:cubicBezTo>
                        <a:pt x="804" y="182"/>
                        <a:pt x="803" y="178"/>
                        <a:pt x="804" y="178"/>
                      </a:cubicBezTo>
                      <a:cubicBezTo>
                        <a:pt x="808" y="176"/>
                        <a:pt x="802" y="185"/>
                        <a:pt x="809" y="183"/>
                      </a:cubicBezTo>
                      <a:cubicBezTo>
                        <a:pt x="806" y="188"/>
                        <a:pt x="810" y="190"/>
                        <a:pt x="805" y="194"/>
                      </a:cubicBezTo>
                      <a:cubicBezTo>
                        <a:pt x="806" y="198"/>
                        <a:pt x="811" y="196"/>
                        <a:pt x="813" y="198"/>
                      </a:cubicBezTo>
                      <a:cubicBezTo>
                        <a:pt x="813" y="199"/>
                        <a:pt x="810" y="201"/>
                        <a:pt x="811" y="202"/>
                      </a:cubicBezTo>
                      <a:cubicBezTo>
                        <a:pt x="812" y="203"/>
                        <a:pt x="815" y="203"/>
                        <a:pt x="817" y="204"/>
                      </a:cubicBezTo>
                      <a:cubicBezTo>
                        <a:pt x="818" y="204"/>
                        <a:pt x="819" y="207"/>
                        <a:pt x="820" y="207"/>
                      </a:cubicBezTo>
                      <a:cubicBezTo>
                        <a:pt x="823" y="209"/>
                        <a:pt x="827" y="210"/>
                        <a:pt x="830" y="213"/>
                      </a:cubicBezTo>
                      <a:cubicBezTo>
                        <a:pt x="832" y="214"/>
                        <a:pt x="834" y="206"/>
                        <a:pt x="835" y="211"/>
                      </a:cubicBezTo>
                      <a:cubicBezTo>
                        <a:pt x="835" y="216"/>
                        <a:pt x="831" y="216"/>
                        <a:pt x="826" y="217"/>
                      </a:cubicBezTo>
                      <a:cubicBezTo>
                        <a:pt x="829" y="220"/>
                        <a:pt x="835" y="222"/>
                        <a:pt x="841" y="222"/>
                      </a:cubicBezTo>
                      <a:cubicBezTo>
                        <a:pt x="840" y="225"/>
                        <a:pt x="842" y="226"/>
                        <a:pt x="845" y="226"/>
                      </a:cubicBezTo>
                      <a:cubicBezTo>
                        <a:pt x="844" y="230"/>
                        <a:pt x="845" y="232"/>
                        <a:pt x="848" y="232"/>
                      </a:cubicBezTo>
                      <a:cubicBezTo>
                        <a:pt x="847" y="234"/>
                        <a:pt x="846" y="237"/>
                        <a:pt x="846" y="241"/>
                      </a:cubicBezTo>
                      <a:cubicBezTo>
                        <a:pt x="843" y="242"/>
                        <a:pt x="839" y="242"/>
                        <a:pt x="835" y="245"/>
                      </a:cubicBezTo>
                      <a:cubicBezTo>
                        <a:pt x="834" y="245"/>
                        <a:pt x="835" y="246"/>
                        <a:pt x="833" y="247"/>
                      </a:cubicBezTo>
                      <a:cubicBezTo>
                        <a:pt x="831" y="247"/>
                        <a:pt x="830" y="247"/>
                        <a:pt x="830" y="248"/>
                      </a:cubicBezTo>
                      <a:cubicBezTo>
                        <a:pt x="829" y="252"/>
                        <a:pt x="825" y="249"/>
                        <a:pt x="826" y="248"/>
                      </a:cubicBezTo>
                      <a:cubicBezTo>
                        <a:pt x="825" y="249"/>
                        <a:pt x="823" y="251"/>
                        <a:pt x="822" y="252"/>
                      </a:cubicBezTo>
                      <a:cubicBezTo>
                        <a:pt x="822" y="253"/>
                        <a:pt x="821" y="257"/>
                        <a:pt x="820" y="258"/>
                      </a:cubicBezTo>
                      <a:cubicBezTo>
                        <a:pt x="819" y="259"/>
                        <a:pt x="812" y="257"/>
                        <a:pt x="817" y="260"/>
                      </a:cubicBezTo>
                      <a:cubicBezTo>
                        <a:pt x="814" y="263"/>
                        <a:pt x="808" y="261"/>
                        <a:pt x="805" y="261"/>
                      </a:cubicBezTo>
                      <a:cubicBezTo>
                        <a:pt x="801" y="262"/>
                        <a:pt x="798" y="262"/>
                        <a:pt x="794" y="261"/>
                      </a:cubicBezTo>
                      <a:cubicBezTo>
                        <a:pt x="791" y="261"/>
                        <a:pt x="791" y="260"/>
                        <a:pt x="789" y="260"/>
                      </a:cubicBezTo>
                      <a:cubicBezTo>
                        <a:pt x="780" y="258"/>
                        <a:pt x="772" y="260"/>
                        <a:pt x="764" y="261"/>
                      </a:cubicBezTo>
                      <a:cubicBezTo>
                        <a:pt x="758" y="264"/>
                        <a:pt x="756" y="271"/>
                        <a:pt x="748" y="273"/>
                      </a:cubicBezTo>
                      <a:cubicBezTo>
                        <a:pt x="752" y="277"/>
                        <a:pt x="744" y="277"/>
                        <a:pt x="742" y="280"/>
                      </a:cubicBezTo>
                      <a:cubicBezTo>
                        <a:pt x="743" y="282"/>
                        <a:pt x="744" y="283"/>
                        <a:pt x="744" y="286"/>
                      </a:cubicBezTo>
                      <a:cubicBezTo>
                        <a:pt x="747" y="284"/>
                        <a:pt x="747" y="280"/>
                        <a:pt x="749" y="278"/>
                      </a:cubicBezTo>
                      <a:cubicBezTo>
                        <a:pt x="751" y="277"/>
                        <a:pt x="757" y="278"/>
                        <a:pt x="757" y="274"/>
                      </a:cubicBezTo>
                      <a:cubicBezTo>
                        <a:pt x="757" y="268"/>
                        <a:pt x="760" y="279"/>
                        <a:pt x="761" y="271"/>
                      </a:cubicBezTo>
                      <a:cubicBezTo>
                        <a:pt x="763" y="269"/>
                        <a:pt x="764" y="273"/>
                        <a:pt x="764" y="273"/>
                      </a:cubicBezTo>
                      <a:cubicBezTo>
                        <a:pt x="766" y="272"/>
                        <a:pt x="765" y="269"/>
                        <a:pt x="766" y="269"/>
                      </a:cubicBezTo>
                      <a:cubicBezTo>
                        <a:pt x="770" y="268"/>
                        <a:pt x="773" y="269"/>
                        <a:pt x="779" y="269"/>
                      </a:cubicBezTo>
                      <a:cubicBezTo>
                        <a:pt x="780" y="271"/>
                        <a:pt x="781" y="270"/>
                        <a:pt x="781" y="269"/>
                      </a:cubicBezTo>
                      <a:cubicBezTo>
                        <a:pt x="784" y="268"/>
                        <a:pt x="784" y="279"/>
                        <a:pt x="779" y="276"/>
                      </a:cubicBezTo>
                      <a:cubicBezTo>
                        <a:pt x="784" y="281"/>
                        <a:pt x="776" y="282"/>
                        <a:pt x="777" y="289"/>
                      </a:cubicBezTo>
                      <a:cubicBezTo>
                        <a:pt x="778" y="291"/>
                        <a:pt x="779" y="292"/>
                        <a:pt x="779" y="295"/>
                      </a:cubicBezTo>
                      <a:cubicBezTo>
                        <a:pt x="781" y="294"/>
                        <a:pt x="783" y="293"/>
                        <a:pt x="783" y="295"/>
                      </a:cubicBezTo>
                      <a:cubicBezTo>
                        <a:pt x="783" y="297"/>
                        <a:pt x="785" y="296"/>
                        <a:pt x="787" y="297"/>
                      </a:cubicBezTo>
                      <a:cubicBezTo>
                        <a:pt x="788" y="297"/>
                        <a:pt x="790" y="300"/>
                        <a:pt x="790" y="301"/>
                      </a:cubicBezTo>
                      <a:cubicBezTo>
                        <a:pt x="791" y="301"/>
                        <a:pt x="793" y="300"/>
                        <a:pt x="794" y="301"/>
                      </a:cubicBezTo>
                      <a:cubicBezTo>
                        <a:pt x="795" y="301"/>
                        <a:pt x="796" y="302"/>
                        <a:pt x="796" y="302"/>
                      </a:cubicBezTo>
                      <a:cubicBezTo>
                        <a:pt x="799" y="303"/>
                        <a:pt x="801" y="298"/>
                        <a:pt x="804" y="302"/>
                      </a:cubicBezTo>
                      <a:cubicBezTo>
                        <a:pt x="806" y="303"/>
                        <a:pt x="804" y="299"/>
                        <a:pt x="805" y="299"/>
                      </a:cubicBezTo>
                      <a:cubicBezTo>
                        <a:pt x="806" y="298"/>
                        <a:pt x="809" y="299"/>
                        <a:pt x="809" y="299"/>
                      </a:cubicBezTo>
                      <a:cubicBezTo>
                        <a:pt x="810" y="297"/>
                        <a:pt x="808" y="295"/>
                        <a:pt x="809" y="293"/>
                      </a:cubicBezTo>
                      <a:cubicBezTo>
                        <a:pt x="812" y="292"/>
                        <a:pt x="813" y="295"/>
                        <a:pt x="813" y="297"/>
                      </a:cubicBezTo>
                      <a:cubicBezTo>
                        <a:pt x="814" y="300"/>
                        <a:pt x="819" y="298"/>
                        <a:pt x="817" y="304"/>
                      </a:cubicBezTo>
                      <a:cubicBezTo>
                        <a:pt x="814" y="305"/>
                        <a:pt x="813" y="302"/>
                        <a:pt x="811" y="302"/>
                      </a:cubicBezTo>
                      <a:cubicBezTo>
                        <a:pt x="808" y="303"/>
                        <a:pt x="808" y="307"/>
                        <a:pt x="805" y="308"/>
                      </a:cubicBezTo>
                      <a:cubicBezTo>
                        <a:pt x="804" y="309"/>
                        <a:pt x="801" y="308"/>
                        <a:pt x="800" y="308"/>
                      </a:cubicBezTo>
                      <a:cubicBezTo>
                        <a:pt x="796" y="309"/>
                        <a:pt x="797" y="313"/>
                        <a:pt x="790" y="312"/>
                      </a:cubicBezTo>
                      <a:cubicBezTo>
                        <a:pt x="787" y="311"/>
                        <a:pt x="788" y="316"/>
                        <a:pt x="787" y="317"/>
                      </a:cubicBezTo>
                      <a:cubicBezTo>
                        <a:pt x="786" y="318"/>
                        <a:pt x="784" y="316"/>
                        <a:pt x="785" y="315"/>
                      </a:cubicBezTo>
                      <a:cubicBezTo>
                        <a:pt x="781" y="318"/>
                        <a:pt x="782" y="322"/>
                        <a:pt x="776" y="321"/>
                      </a:cubicBezTo>
                      <a:cubicBezTo>
                        <a:pt x="779" y="317"/>
                        <a:pt x="775" y="319"/>
                        <a:pt x="776" y="314"/>
                      </a:cubicBezTo>
                      <a:cubicBezTo>
                        <a:pt x="779" y="312"/>
                        <a:pt x="781" y="308"/>
                        <a:pt x="785" y="312"/>
                      </a:cubicBezTo>
                      <a:cubicBezTo>
                        <a:pt x="786" y="306"/>
                        <a:pt x="782" y="306"/>
                        <a:pt x="779" y="304"/>
                      </a:cubicBezTo>
                      <a:cubicBezTo>
                        <a:pt x="775" y="303"/>
                        <a:pt x="772" y="310"/>
                        <a:pt x="768" y="310"/>
                      </a:cubicBezTo>
                      <a:cubicBezTo>
                        <a:pt x="768" y="310"/>
                        <a:pt x="763" y="311"/>
                        <a:pt x="762" y="312"/>
                      </a:cubicBezTo>
                      <a:cubicBezTo>
                        <a:pt x="761" y="313"/>
                        <a:pt x="761" y="313"/>
                        <a:pt x="761" y="315"/>
                      </a:cubicBezTo>
                      <a:cubicBezTo>
                        <a:pt x="750" y="314"/>
                        <a:pt x="751" y="321"/>
                        <a:pt x="742" y="317"/>
                      </a:cubicBezTo>
                      <a:cubicBezTo>
                        <a:pt x="745" y="320"/>
                        <a:pt x="747" y="321"/>
                        <a:pt x="738" y="321"/>
                      </a:cubicBezTo>
                      <a:cubicBezTo>
                        <a:pt x="734" y="324"/>
                        <a:pt x="733" y="334"/>
                        <a:pt x="738" y="336"/>
                      </a:cubicBezTo>
                      <a:cubicBezTo>
                        <a:pt x="738" y="340"/>
                        <a:pt x="733" y="338"/>
                        <a:pt x="735" y="343"/>
                      </a:cubicBezTo>
                      <a:cubicBezTo>
                        <a:pt x="733" y="344"/>
                        <a:pt x="731" y="343"/>
                        <a:pt x="729" y="343"/>
                      </a:cubicBezTo>
                      <a:cubicBezTo>
                        <a:pt x="727" y="344"/>
                        <a:pt x="727" y="346"/>
                        <a:pt x="725" y="347"/>
                      </a:cubicBezTo>
                      <a:cubicBezTo>
                        <a:pt x="722" y="349"/>
                        <a:pt x="717" y="348"/>
                        <a:pt x="714" y="351"/>
                      </a:cubicBezTo>
                      <a:cubicBezTo>
                        <a:pt x="713" y="352"/>
                        <a:pt x="711" y="353"/>
                        <a:pt x="710" y="355"/>
                      </a:cubicBezTo>
                      <a:cubicBezTo>
                        <a:pt x="708" y="357"/>
                        <a:pt x="708" y="361"/>
                        <a:pt x="705" y="364"/>
                      </a:cubicBezTo>
                      <a:cubicBezTo>
                        <a:pt x="703" y="366"/>
                        <a:pt x="699" y="366"/>
                        <a:pt x="701" y="373"/>
                      </a:cubicBezTo>
                      <a:cubicBezTo>
                        <a:pt x="697" y="373"/>
                        <a:pt x="697" y="368"/>
                        <a:pt x="694" y="368"/>
                      </a:cubicBezTo>
                      <a:cubicBezTo>
                        <a:pt x="692" y="368"/>
                        <a:pt x="692" y="371"/>
                        <a:pt x="690" y="371"/>
                      </a:cubicBezTo>
                      <a:cubicBezTo>
                        <a:pt x="697" y="379"/>
                        <a:pt x="696" y="385"/>
                        <a:pt x="697" y="396"/>
                      </a:cubicBezTo>
                      <a:cubicBezTo>
                        <a:pt x="693" y="394"/>
                        <a:pt x="695" y="398"/>
                        <a:pt x="694" y="399"/>
                      </a:cubicBezTo>
                      <a:cubicBezTo>
                        <a:pt x="693" y="400"/>
                        <a:pt x="690" y="399"/>
                        <a:pt x="690" y="399"/>
                      </a:cubicBezTo>
                      <a:cubicBezTo>
                        <a:pt x="688" y="401"/>
                        <a:pt x="688" y="402"/>
                        <a:pt x="686" y="403"/>
                      </a:cubicBezTo>
                      <a:cubicBezTo>
                        <a:pt x="684" y="405"/>
                        <a:pt x="682" y="408"/>
                        <a:pt x="680" y="409"/>
                      </a:cubicBezTo>
                      <a:cubicBezTo>
                        <a:pt x="678" y="410"/>
                        <a:pt x="675" y="408"/>
                        <a:pt x="673" y="411"/>
                      </a:cubicBezTo>
                      <a:cubicBezTo>
                        <a:pt x="669" y="412"/>
                        <a:pt x="667" y="416"/>
                        <a:pt x="666" y="420"/>
                      </a:cubicBezTo>
                      <a:cubicBezTo>
                        <a:pt x="661" y="420"/>
                        <a:pt x="662" y="426"/>
                        <a:pt x="656" y="425"/>
                      </a:cubicBezTo>
                      <a:cubicBezTo>
                        <a:pt x="658" y="432"/>
                        <a:pt x="652" y="446"/>
                        <a:pt x="660" y="446"/>
                      </a:cubicBezTo>
                      <a:cubicBezTo>
                        <a:pt x="656" y="453"/>
                        <a:pt x="663" y="453"/>
                        <a:pt x="662" y="463"/>
                      </a:cubicBezTo>
                      <a:cubicBezTo>
                        <a:pt x="662" y="465"/>
                        <a:pt x="664" y="464"/>
                        <a:pt x="666" y="465"/>
                      </a:cubicBezTo>
                      <a:cubicBezTo>
                        <a:pt x="663" y="470"/>
                        <a:pt x="666" y="470"/>
                        <a:pt x="666" y="478"/>
                      </a:cubicBezTo>
                      <a:cubicBezTo>
                        <a:pt x="662" y="478"/>
                        <a:pt x="659" y="479"/>
                        <a:pt x="658" y="481"/>
                      </a:cubicBezTo>
                      <a:cubicBezTo>
                        <a:pt x="655" y="481"/>
                        <a:pt x="657" y="478"/>
                        <a:pt x="656" y="476"/>
                      </a:cubicBezTo>
                      <a:cubicBezTo>
                        <a:pt x="655" y="474"/>
                        <a:pt x="652" y="475"/>
                        <a:pt x="651" y="474"/>
                      </a:cubicBezTo>
                      <a:cubicBezTo>
                        <a:pt x="650" y="473"/>
                        <a:pt x="651" y="469"/>
                        <a:pt x="647" y="470"/>
                      </a:cubicBezTo>
                      <a:cubicBezTo>
                        <a:pt x="648" y="466"/>
                        <a:pt x="650" y="462"/>
                        <a:pt x="643" y="461"/>
                      </a:cubicBezTo>
                      <a:cubicBezTo>
                        <a:pt x="646" y="452"/>
                        <a:pt x="642" y="453"/>
                        <a:pt x="641" y="444"/>
                      </a:cubicBezTo>
                      <a:cubicBezTo>
                        <a:pt x="640" y="444"/>
                        <a:pt x="639" y="446"/>
                        <a:pt x="638" y="446"/>
                      </a:cubicBezTo>
                      <a:cubicBezTo>
                        <a:pt x="638" y="445"/>
                        <a:pt x="638" y="443"/>
                        <a:pt x="638" y="442"/>
                      </a:cubicBezTo>
                      <a:cubicBezTo>
                        <a:pt x="635" y="443"/>
                        <a:pt x="625" y="445"/>
                        <a:pt x="623" y="442"/>
                      </a:cubicBezTo>
                      <a:cubicBezTo>
                        <a:pt x="621" y="441"/>
                        <a:pt x="621" y="439"/>
                        <a:pt x="619" y="439"/>
                      </a:cubicBezTo>
                      <a:cubicBezTo>
                        <a:pt x="618" y="438"/>
                        <a:pt x="615" y="441"/>
                        <a:pt x="612" y="440"/>
                      </a:cubicBezTo>
                      <a:cubicBezTo>
                        <a:pt x="612" y="440"/>
                        <a:pt x="619" y="434"/>
                        <a:pt x="612" y="437"/>
                      </a:cubicBezTo>
                      <a:cubicBezTo>
                        <a:pt x="611" y="437"/>
                        <a:pt x="612" y="438"/>
                        <a:pt x="610" y="439"/>
                      </a:cubicBezTo>
                      <a:cubicBezTo>
                        <a:pt x="605" y="439"/>
                        <a:pt x="597" y="439"/>
                        <a:pt x="593" y="437"/>
                      </a:cubicBezTo>
                      <a:cubicBezTo>
                        <a:pt x="589" y="436"/>
                        <a:pt x="592" y="443"/>
                        <a:pt x="591" y="446"/>
                      </a:cubicBezTo>
                      <a:cubicBezTo>
                        <a:pt x="581" y="444"/>
                        <a:pt x="569" y="444"/>
                        <a:pt x="557" y="442"/>
                      </a:cubicBezTo>
                      <a:cubicBezTo>
                        <a:pt x="556" y="443"/>
                        <a:pt x="556" y="444"/>
                        <a:pt x="554" y="444"/>
                      </a:cubicBezTo>
                      <a:cubicBezTo>
                        <a:pt x="552" y="445"/>
                        <a:pt x="552" y="448"/>
                        <a:pt x="550" y="448"/>
                      </a:cubicBezTo>
                      <a:cubicBezTo>
                        <a:pt x="548" y="448"/>
                        <a:pt x="549" y="450"/>
                        <a:pt x="548" y="452"/>
                      </a:cubicBezTo>
                      <a:cubicBezTo>
                        <a:pt x="546" y="452"/>
                        <a:pt x="543" y="451"/>
                        <a:pt x="541" y="452"/>
                      </a:cubicBezTo>
                      <a:cubicBezTo>
                        <a:pt x="539" y="452"/>
                        <a:pt x="539" y="456"/>
                        <a:pt x="535" y="455"/>
                      </a:cubicBezTo>
                      <a:cubicBezTo>
                        <a:pt x="536" y="459"/>
                        <a:pt x="533" y="468"/>
                        <a:pt x="537" y="468"/>
                      </a:cubicBezTo>
                      <a:cubicBezTo>
                        <a:pt x="535" y="471"/>
                        <a:pt x="534" y="474"/>
                        <a:pt x="531" y="476"/>
                      </a:cubicBezTo>
                      <a:cubicBezTo>
                        <a:pt x="532" y="481"/>
                        <a:pt x="531" y="486"/>
                        <a:pt x="531" y="491"/>
                      </a:cubicBezTo>
                      <a:cubicBezTo>
                        <a:pt x="532" y="493"/>
                        <a:pt x="533" y="494"/>
                        <a:pt x="533" y="496"/>
                      </a:cubicBezTo>
                      <a:cubicBezTo>
                        <a:pt x="533" y="501"/>
                        <a:pt x="535" y="506"/>
                        <a:pt x="531" y="509"/>
                      </a:cubicBezTo>
                      <a:cubicBezTo>
                        <a:pt x="531" y="512"/>
                        <a:pt x="536" y="510"/>
                        <a:pt x="537" y="511"/>
                      </a:cubicBezTo>
                      <a:cubicBezTo>
                        <a:pt x="537" y="512"/>
                        <a:pt x="535" y="514"/>
                        <a:pt x="535" y="515"/>
                      </a:cubicBezTo>
                      <a:cubicBezTo>
                        <a:pt x="535" y="514"/>
                        <a:pt x="537" y="517"/>
                        <a:pt x="537" y="517"/>
                      </a:cubicBezTo>
                      <a:cubicBezTo>
                        <a:pt x="538" y="519"/>
                        <a:pt x="540" y="517"/>
                        <a:pt x="541" y="519"/>
                      </a:cubicBezTo>
                      <a:cubicBezTo>
                        <a:pt x="541" y="519"/>
                        <a:pt x="540" y="522"/>
                        <a:pt x="541" y="522"/>
                      </a:cubicBezTo>
                      <a:cubicBezTo>
                        <a:pt x="541" y="523"/>
                        <a:pt x="542" y="522"/>
                        <a:pt x="543" y="522"/>
                      </a:cubicBezTo>
                      <a:cubicBezTo>
                        <a:pt x="543" y="523"/>
                        <a:pt x="542" y="526"/>
                        <a:pt x="543" y="526"/>
                      </a:cubicBezTo>
                      <a:cubicBezTo>
                        <a:pt x="544" y="527"/>
                        <a:pt x="548" y="530"/>
                        <a:pt x="548" y="534"/>
                      </a:cubicBezTo>
                      <a:cubicBezTo>
                        <a:pt x="563" y="535"/>
                        <a:pt x="571" y="531"/>
                        <a:pt x="578" y="534"/>
                      </a:cubicBezTo>
                      <a:cubicBezTo>
                        <a:pt x="580" y="533"/>
                        <a:pt x="580" y="531"/>
                        <a:pt x="582" y="530"/>
                      </a:cubicBezTo>
                      <a:cubicBezTo>
                        <a:pt x="583" y="528"/>
                        <a:pt x="586" y="525"/>
                        <a:pt x="587" y="521"/>
                      </a:cubicBezTo>
                      <a:cubicBezTo>
                        <a:pt x="588" y="519"/>
                        <a:pt x="590" y="517"/>
                        <a:pt x="587" y="517"/>
                      </a:cubicBezTo>
                      <a:cubicBezTo>
                        <a:pt x="592" y="511"/>
                        <a:pt x="605" y="507"/>
                        <a:pt x="615" y="511"/>
                      </a:cubicBezTo>
                      <a:cubicBezTo>
                        <a:pt x="611" y="516"/>
                        <a:pt x="610" y="523"/>
                        <a:pt x="606" y="528"/>
                      </a:cubicBezTo>
                      <a:cubicBezTo>
                        <a:pt x="604" y="533"/>
                        <a:pt x="609" y="533"/>
                        <a:pt x="608" y="537"/>
                      </a:cubicBezTo>
                      <a:cubicBezTo>
                        <a:pt x="604" y="538"/>
                        <a:pt x="602" y="542"/>
                        <a:pt x="600" y="547"/>
                      </a:cubicBezTo>
                      <a:cubicBezTo>
                        <a:pt x="600" y="548"/>
                        <a:pt x="600" y="549"/>
                        <a:pt x="598" y="548"/>
                      </a:cubicBezTo>
                      <a:cubicBezTo>
                        <a:pt x="598" y="553"/>
                        <a:pt x="607" y="547"/>
                        <a:pt x="604" y="554"/>
                      </a:cubicBezTo>
                      <a:cubicBezTo>
                        <a:pt x="608" y="554"/>
                        <a:pt x="610" y="551"/>
                        <a:pt x="615" y="552"/>
                      </a:cubicBezTo>
                      <a:cubicBezTo>
                        <a:pt x="614" y="556"/>
                        <a:pt x="619" y="555"/>
                        <a:pt x="619" y="558"/>
                      </a:cubicBezTo>
                      <a:cubicBezTo>
                        <a:pt x="629" y="554"/>
                        <a:pt x="630" y="561"/>
                        <a:pt x="641" y="560"/>
                      </a:cubicBezTo>
                      <a:cubicBezTo>
                        <a:pt x="637" y="564"/>
                        <a:pt x="644" y="570"/>
                        <a:pt x="638" y="573"/>
                      </a:cubicBezTo>
                      <a:cubicBezTo>
                        <a:pt x="641" y="577"/>
                        <a:pt x="639" y="588"/>
                        <a:pt x="638" y="593"/>
                      </a:cubicBezTo>
                      <a:cubicBezTo>
                        <a:pt x="638" y="596"/>
                        <a:pt x="641" y="597"/>
                        <a:pt x="645" y="597"/>
                      </a:cubicBezTo>
                      <a:cubicBezTo>
                        <a:pt x="644" y="601"/>
                        <a:pt x="649" y="600"/>
                        <a:pt x="649" y="603"/>
                      </a:cubicBezTo>
                      <a:cubicBezTo>
                        <a:pt x="649" y="605"/>
                        <a:pt x="655" y="603"/>
                        <a:pt x="654" y="606"/>
                      </a:cubicBezTo>
                      <a:cubicBezTo>
                        <a:pt x="661" y="601"/>
                        <a:pt x="672" y="607"/>
                        <a:pt x="677" y="604"/>
                      </a:cubicBezTo>
                      <a:cubicBezTo>
                        <a:pt x="677" y="606"/>
                        <a:pt x="677" y="607"/>
                        <a:pt x="677" y="608"/>
                      </a:cubicBezTo>
                      <a:cubicBezTo>
                        <a:pt x="680" y="608"/>
                        <a:pt x="686" y="604"/>
                        <a:pt x="686" y="610"/>
                      </a:cubicBezTo>
                      <a:cubicBezTo>
                        <a:pt x="688" y="609"/>
                        <a:pt x="689" y="608"/>
                        <a:pt x="692" y="608"/>
                      </a:cubicBezTo>
                      <a:cubicBezTo>
                        <a:pt x="693" y="607"/>
                        <a:pt x="694" y="606"/>
                        <a:pt x="695" y="604"/>
                      </a:cubicBezTo>
                      <a:cubicBezTo>
                        <a:pt x="696" y="603"/>
                        <a:pt x="697" y="605"/>
                        <a:pt x="697" y="603"/>
                      </a:cubicBezTo>
                      <a:cubicBezTo>
                        <a:pt x="697" y="600"/>
                        <a:pt x="700" y="604"/>
                        <a:pt x="701" y="601"/>
                      </a:cubicBezTo>
                      <a:cubicBezTo>
                        <a:pt x="701" y="600"/>
                        <a:pt x="701" y="597"/>
                        <a:pt x="701" y="597"/>
                      </a:cubicBezTo>
                      <a:cubicBezTo>
                        <a:pt x="702" y="596"/>
                        <a:pt x="703" y="599"/>
                        <a:pt x="703" y="599"/>
                      </a:cubicBezTo>
                      <a:cubicBezTo>
                        <a:pt x="704" y="598"/>
                        <a:pt x="705" y="596"/>
                        <a:pt x="707" y="595"/>
                      </a:cubicBezTo>
                      <a:cubicBezTo>
                        <a:pt x="708" y="594"/>
                        <a:pt x="711" y="592"/>
                        <a:pt x="714" y="589"/>
                      </a:cubicBezTo>
                      <a:cubicBezTo>
                        <a:pt x="715" y="589"/>
                        <a:pt x="716" y="588"/>
                        <a:pt x="716" y="586"/>
                      </a:cubicBezTo>
                      <a:cubicBezTo>
                        <a:pt x="718" y="588"/>
                        <a:pt x="737" y="589"/>
                        <a:pt x="727" y="591"/>
                      </a:cubicBezTo>
                      <a:cubicBezTo>
                        <a:pt x="728" y="594"/>
                        <a:pt x="732" y="593"/>
                        <a:pt x="735" y="593"/>
                      </a:cubicBezTo>
                      <a:cubicBezTo>
                        <a:pt x="736" y="593"/>
                        <a:pt x="736" y="591"/>
                        <a:pt x="736" y="589"/>
                      </a:cubicBezTo>
                      <a:cubicBezTo>
                        <a:pt x="741" y="589"/>
                        <a:pt x="746" y="589"/>
                        <a:pt x="751" y="589"/>
                      </a:cubicBezTo>
                      <a:cubicBezTo>
                        <a:pt x="749" y="595"/>
                        <a:pt x="759" y="593"/>
                        <a:pt x="764" y="595"/>
                      </a:cubicBezTo>
                      <a:cubicBezTo>
                        <a:pt x="765" y="595"/>
                        <a:pt x="764" y="597"/>
                        <a:pt x="766" y="597"/>
                      </a:cubicBezTo>
                      <a:cubicBezTo>
                        <a:pt x="768" y="597"/>
                        <a:pt x="768" y="599"/>
                        <a:pt x="770" y="599"/>
                      </a:cubicBezTo>
                      <a:cubicBezTo>
                        <a:pt x="774" y="599"/>
                        <a:pt x="775" y="597"/>
                        <a:pt x="777" y="597"/>
                      </a:cubicBezTo>
                      <a:cubicBezTo>
                        <a:pt x="787" y="596"/>
                        <a:pt x="796" y="598"/>
                        <a:pt x="805" y="599"/>
                      </a:cubicBezTo>
                      <a:cubicBezTo>
                        <a:pt x="805" y="602"/>
                        <a:pt x="807" y="606"/>
                        <a:pt x="807" y="603"/>
                      </a:cubicBezTo>
                      <a:cubicBezTo>
                        <a:pt x="809" y="603"/>
                        <a:pt x="808" y="604"/>
                        <a:pt x="807" y="604"/>
                      </a:cubicBezTo>
                      <a:cubicBezTo>
                        <a:pt x="807" y="609"/>
                        <a:pt x="812" y="605"/>
                        <a:pt x="815" y="608"/>
                      </a:cubicBezTo>
                      <a:cubicBezTo>
                        <a:pt x="815" y="609"/>
                        <a:pt x="814" y="612"/>
                        <a:pt x="815" y="612"/>
                      </a:cubicBezTo>
                      <a:cubicBezTo>
                        <a:pt x="817" y="613"/>
                        <a:pt x="820" y="611"/>
                        <a:pt x="822" y="612"/>
                      </a:cubicBezTo>
                      <a:cubicBezTo>
                        <a:pt x="821" y="616"/>
                        <a:pt x="823" y="617"/>
                        <a:pt x="826" y="619"/>
                      </a:cubicBezTo>
                      <a:cubicBezTo>
                        <a:pt x="829" y="622"/>
                        <a:pt x="832" y="624"/>
                        <a:pt x="833" y="629"/>
                      </a:cubicBezTo>
                      <a:cubicBezTo>
                        <a:pt x="845" y="628"/>
                        <a:pt x="850" y="634"/>
                        <a:pt x="859" y="630"/>
                      </a:cubicBezTo>
                      <a:cubicBezTo>
                        <a:pt x="857" y="638"/>
                        <a:pt x="870" y="630"/>
                        <a:pt x="867" y="638"/>
                      </a:cubicBezTo>
                      <a:cubicBezTo>
                        <a:pt x="873" y="635"/>
                        <a:pt x="873" y="643"/>
                        <a:pt x="878" y="644"/>
                      </a:cubicBezTo>
                      <a:cubicBezTo>
                        <a:pt x="880" y="644"/>
                        <a:pt x="880" y="649"/>
                        <a:pt x="884" y="647"/>
                      </a:cubicBezTo>
                      <a:cubicBezTo>
                        <a:pt x="878" y="652"/>
                        <a:pt x="886" y="651"/>
                        <a:pt x="885" y="657"/>
                      </a:cubicBezTo>
                      <a:cubicBezTo>
                        <a:pt x="885" y="660"/>
                        <a:pt x="889" y="659"/>
                        <a:pt x="891" y="660"/>
                      </a:cubicBezTo>
                      <a:cubicBezTo>
                        <a:pt x="892" y="661"/>
                        <a:pt x="891" y="666"/>
                        <a:pt x="895" y="664"/>
                      </a:cubicBezTo>
                      <a:cubicBezTo>
                        <a:pt x="888" y="671"/>
                        <a:pt x="904" y="673"/>
                        <a:pt x="899" y="679"/>
                      </a:cubicBezTo>
                      <a:cubicBezTo>
                        <a:pt x="902" y="678"/>
                        <a:pt x="904" y="679"/>
                        <a:pt x="904" y="683"/>
                      </a:cubicBezTo>
                      <a:cubicBezTo>
                        <a:pt x="914" y="681"/>
                        <a:pt x="926" y="684"/>
                        <a:pt x="930" y="692"/>
                      </a:cubicBezTo>
                      <a:cubicBezTo>
                        <a:pt x="939" y="692"/>
                        <a:pt x="944" y="695"/>
                        <a:pt x="954" y="694"/>
                      </a:cubicBezTo>
                      <a:cubicBezTo>
                        <a:pt x="955" y="695"/>
                        <a:pt x="951" y="696"/>
                        <a:pt x="951" y="696"/>
                      </a:cubicBezTo>
                      <a:cubicBezTo>
                        <a:pt x="953" y="699"/>
                        <a:pt x="965" y="697"/>
                        <a:pt x="971" y="698"/>
                      </a:cubicBezTo>
                      <a:cubicBezTo>
                        <a:pt x="971" y="699"/>
                        <a:pt x="974" y="699"/>
                        <a:pt x="975" y="699"/>
                      </a:cubicBezTo>
                      <a:cubicBezTo>
                        <a:pt x="975" y="703"/>
                        <a:pt x="979" y="702"/>
                        <a:pt x="981" y="703"/>
                      </a:cubicBezTo>
                      <a:cubicBezTo>
                        <a:pt x="981" y="704"/>
                        <a:pt x="980" y="706"/>
                        <a:pt x="981" y="707"/>
                      </a:cubicBezTo>
                      <a:cubicBezTo>
                        <a:pt x="981" y="708"/>
                        <a:pt x="984" y="706"/>
                        <a:pt x="984" y="707"/>
                      </a:cubicBezTo>
                      <a:cubicBezTo>
                        <a:pt x="986" y="708"/>
                        <a:pt x="984" y="712"/>
                        <a:pt x="988" y="711"/>
                      </a:cubicBezTo>
                      <a:cubicBezTo>
                        <a:pt x="988" y="730"/>
                        <a:pt x="988" y="749"/>
                        <a:pt x="988" y="768"/>
                      </a:cubicBezTo>
                      <a:cubicBezTo>
                        <a:pt x="980" y="766"/>
                        <a:pt x="988" y="779"/>
                        <a:pt x="981" y="776"/>
                      </a:cubicBezTo>
                      <a:cubicBezTo>
                        <a:pt x="980" y="782"/>
                        <a:pt x="979" y="788"/>
                        <a:pt x="979" y="795"/>
                      </a:cubicBezTo>
                      <a:cubicBezTo>
                        <a:pt x="979" y="798"/>
                        <a:pt x="982" y="805"/>
                        <a:pt x="981" y="813"/>
                      </a:cubicBezTo>
                      <a:cubicBezTo>
                        <a:pt x="981" y="813"/>
                        <a:pt x="979" y="814"/>
                        <a:pt x="979" y="815"/>
                      </a:cubicBezTo>
                      <a:cubicBezTo>
                        <a:pt x="978" y="816"/>
                        <a:pt x="979" y="818"/>
                        <a:pt x="979" y="819"/>
                      </a:cubicBezTo>
                      <a:cubicBezTo>
                        <a:pt x="978" y="820"/>
                        <a:pt x="973" y="821"/>
                        <a:pt x="975" y="828"/>
                      </a:cubicBezTo>
                      <a:cubicBezTo>
                        <a:pt x="971" y="829"/>
                        <a:pt x="969" y="832"/>
                        <a:pt x="966" y="834"/>
                      </a:cubicBezTo>
                      <a:cubicBezTo>
                        <a:pt x="965" y="835"/>
                        <a:pt x="967" y="838"/>
                        <a:pt x="966" y="839"/>
                      </a:cubicBezTo>
                      <a:cubicBezTo>
                        <a:pt x="965" y="840"/>
                        <a:pt x="962" y="839"/>
                        <a:pt x="962" y="839"/>
                      </a:cubicBezTo>
                      <a:cubicBezTo>
                        <a:pt x="961" y="840"/>
                        <a:pt x="963" y="843"/>
                        <a:pt x="962" y="843"/>
                      </a:cubicBezTo>
                      <a:cubicBezTo>
                        <a:pt x="960" y="844"/>
                        <a:pt x="955" y="843"/>
                        <a:pt x="954" y="847"/>
                      </a:cubicBezTo>
                      <a:cubicBezTo>
                        <a:pt x="954" y="849"/>
                        <a:pt x="951" y="848"/>
                        <a:pt x="947" y="850"/>
                      </a:cubicBezTo>
                      <a:cubicBezTo>
                        <a:pt x="946" y="851"/>
                        <a:pt x="944" y="854"/>
                        <a:pt x="943" y="854"/>
                      </a:cubicBezTo>
                      <a:cubicBezTo>
                        <a:pt x="942" y="854"/>
                        <a:pt x="941" y="852"/>
                        <a:pt x="940" y="852"/>
                      </a:cubicBezTo>
                      <a:cubicBezTo>
                        <a:pt x="940" y="852"/>
                        <a:pt x="939" y="854"/>
                        <a:pt x="938" y="854"/>
                      </a:cubicBezTo>
                      <a:cubicBezTo>
                        <a:pt x="935" y="854"/>
                        <a:pt x="934" y="855"/>
                        <a:pt x="934" y="858"/>
                      </a:cubicBezTo>
                      <a:cubicBezTo>
                        <a:pt x="927" y="855"/>
                        <a:pt x="923" y="863"/>
                        <a:pt x="919" y="865"/>
                      </a:cubicBezTo>
                      <a:cubicBezTo>
                        <a:pt x="918" y="866"/>
                        <a:pt x="916" y="865"/>
                        <a:pt x="915" y="865"/>
                      </a:cubicBezTo>
                      <a:cubicBezTo>
                        <a:pt x="914" y="866"/>
                        <a:pt x="912" y="868"/>
                        <a:pt x="912" y="869"/>
                      </a:cubicBezTo>
                      <a:cubicBezTo>
                        <a:pt x="911" y="870"/>
                        <a:pt x="908" y="872"/>
                        <a:pt x="908" y="873"/>
                      </a:cubicBezTo>
                      <a:cubicBezTo>
                        <a:pt x="907" y="874"/>
                        <a:pt x="911" y="878"/>
                        <a:pt x="906" y="877"/>
                      </a:cubicBezTo>
                      <a:cubicBezTo>
                        <a:pt x="907" y="885"/>
                        <a:pt x="903" y="889"/>
                        <a:pt x="904" y="897"/>
                      </a:cubicBezTo>
                      <a:cubicBezTo>
                        <a:pt x="899" y="895"/>
                        <a:pt x="902" y="901"/>
                        <a:pt x="900" y="903"/>
                      </a:cubicBezTo>
                      <a:cubicBezTo>
                        <a:pt x="900" y="903"/>
                        <a:pt x="897" y="902"/>
                        <a:pt x="897" y="903"/>
                      </a:cubicBezTo>
                      <a:cubicBezTo>
                        <a:pt x="896" y="904"/>
                        <a:pt x="900" y="906"/>
                        <a:pt x="897" y="906"/>
                      </a:cubicBezTo>
                      <a:cubicBezTo>
                        <a:pt x="894" y="906"/>
                        <a:pt x="894" y="914"/>
                        <a:pt x="889" y="914"/>
                      </a:cubicBezTo>
                      <a:cubicBezTo>
                        <a:pt x="889" y="914"/>
                        <a:pt x="886" y="917"/>
                        <a:pt x="885" y="918"/>
                      </a:cubicBezTo>
                      <a:cubicBezTo>
                        <a:pt x="883" y="920"/>
                        <a:pt x="881" y="926"/>
                        <a:pt x="876" y="929"/>
                      </a:cubicBezTo>
                      <a:cubicBezTo>
                        <a:pt x="876" y="931"/>
                        <a:pt x="876" y="934"/>
                        <a:pt x="876" y="936"/>
                      </a:cubicBezTo>
                      <a:cubicBezTo>
                        <a:pt x="873" y="938"/>
                        <a:pt x="870" y="939"/>
                        <a:pt x="871" y="944"/>
                      </a:cubicBezTo>
                      <a:cubicBezTo>
                        <a:pt x="867" y="944"/>
                        <a:pt x="864" y="944"/>
                        <a:pt x="861" y="944"/>
                      </a:cubicBezTo>
                      <a:cubicBezTo>
                        <a:pt x="861" y="945"/>
                        <a:pt x="864" y="945"/>
                        <a:pt x="865" y="946"/>
                      </a:cubicBezTo>
                      <a:cubicBezTo>
                        <a:pt x="865" y="948"/>
                        <a:pt x="862" y="947"/>
                        <a:pt x="859" y="947"/>
                      </a:cubicBezTo>
                      <a:cubicBezTo>
                        <a:pt x="857" y="949"/>
                        <a:pt x="856" y="951"/>
                        <a:pt x="856" y="955"/>
                      </a:cubicBezTo>
                      <a:cubicBezTo>
                        <a:pt x="853" y="953"/>
                        <a:pt x="852" y="953"/>
                        <a:pt x="852" y="957"/>
                      </a:cubicBezTo>
                      <a:cubicBezTo>
                        <a:pt x="850" y="957"/>
                        <a:pt x="851" y="954"/>
                        <a:pt x="850" y="953"/>
                      </a:cubicBezTo>
                      <a:cubicBezTo>
                        <a:pt x="847" y="953"/>
                        <a:pt x="845" y="953"/>
                        <a:pt x="845" y="951"/>
                      </a:cubicBezTo>
                      <a:cubicBezTo>
                        <a:pt x="843" y="952"/>
                        <a:pt x="843" y="955"/>
                        <a:pt x="839" y="955"/>
                      </a:cubicBezTo>
                      <a:cubicBezTo>
                        <a:pt x="838" y="959"/>
                        <a:pt x="842" y="960"/>
                        <a:pt x="843" y="964"/>
                      </a:cubicBezTo>
                      <a:cubicBezTo>
                        <a:pt x="843" y="969"/>
                        <a:pt x="836" y="972"/>
                        <a:pt x="841" y="975"/>
                      </a:cubicBezTo>
                      <a:cubicBezTo>
                        <a:pt x="840" y="980"/>
                        <a:pt x="831" y="975"/>
                        <a:pt x="830" y="979"/>
                      </a:cubicBezTo>
                      <a:cubicBezTo>
                        <a:pt x="827" y="979"/>
                        <a:pt x="829" y="982"/>
                        <a:pt x="828" y="983"/>
                      </a:cubicBezTo>
                      <a:cubicBezTo>
                        <a:pt x="826" y="984"/>
                        <a:pt x="819" y="983"/>
                        <a:pt x="820" y="988"/>
                      </a:cubicBezTo>
                      <a:cubicBezTo>
                        <a:pt x="816" y="985"/>
                        <a:pt x="803" y="985"/>
                        <a:pt x="802" y="990"/>
                      </a:cubicBezTo>
                      <a:cubicBezTo>
                        <a:pt x="802" y="992"/>
                        <a:pt x="804" y="991"/>
                        <a:pt x="804" y="990"/>
                      </a:cubicBezTo>
                      <a:cubicBezTo>
                        <a:pt x="808" y="990"/>
                        <a:pt x="803" y="995"/>
                        <a:pt x="800" y="994"/>
                      </a:cubicBezTo>
                      <a:cubicBezTo>
                        <a:pt x="801" y="998"/>
                        <a:pt x="794" y="1004"/>
                        <a:pt x="798" y="1005"/>
                      </a:cubicBezTo>
                      <a:cubicBezTo>
                        <a:pt x="798" y="1006"/>
                        <a:pt x="795" y="1007"/>
                        <a:pt x="794" y="1007"/>
                      </a:cubicBezTo>
                      <a:cubicBezTo>
                        <a:pt x="794" y="1007"/>
                        <a:pt x="792" y="1005"/>
                        <a:pt x="792" y="1005"/>
                      </a:cubicBezTo>
                      <a:cubicBezTo>
                        <a:pt x="791" y="1005"/>
                        <a:pt x="786" y="1010"/>
                        <a:pt x="787" y="1003"/>
                      </a:cubicBezTo>
                      <a:cubicBezTo>
                        <a:pt x="785" y="1004"/>
                        <a:pt x="784" y="1008"/>
                        <a:pt x="783" y="1005"/>
                      </a:cubicBezTo>
                      <a:cubicBezTo>
                        <a:pt x="780" y="1006"/>
                        <a:pt x="784" y="1016"/>
                        <a:pt x="785" y="1020"/>
                      </a:cubicBezTo>
                      <a:cubicBezTo>
                        <a:pt x="786" y="1025"/>
                        <a:pt x="782" y="1023"/>
                        <a:pt x="781" y="1028"/>
                      </a:cubicBezTo>
                      <a:cubicBezTo>
                        <a:pt x="781" y="1030"/>
                        <a:pt x="781" y="1034"/>
                        <a:pt x="776" y="1033"/>
                      </a:cubicBezTo>
                      <a:cubicBezTo>
                        <a:pt x="775" y="1035"/>
                        <a:pt x="779" y="1036"/>
                        <a:pt x="779" y="1037"/>
                      </a:cubicBezTo>
                      <a:cubicBezTo>
                        <a:pt x="780" y="1040"/>
                        <a:pt x="776" y="1036"/>
                        <a:pt x="776" y="1037"/>
                      </a:cubicBezTo>
                      <a:cubicBezTo>
                        <a:pt x="774" y="1038"/>
                        <a:pt x="774" y="1043"/>
                        <a:pt x="776" y="1042"/>
                      </a:cubicBezTo>
                      <a:cubicBezTo>
                        <a:pt x="775" y="1045"/>
                        <a:pt x="774" y="1043"/>
                        <a:pt x="772" y="1042"/>
                      </a:cubicBezTo>
                      <a:cubicBezTo>
                        <a:pt x="772" y="1042"/>
                        <a:pt x="771" y="1045"/>
                        <a:pt x="770" y="1044"/>
                      </a:cubicBezTo>
                      <a:cubicBezTo>
                        <a:pt x="767" y="1040"/>
                        <a:pt x="771" y="1045"/>
                        <a:pt x="768" y="1048"/>
                      </a:cubicBezTo>
                      <a:cubicBezTo>
                        <a:pt x="765" y="1051"/>
                        <a:pt x="764" y="1047"/>
                        <a:pt x="761" y="1050"/>
                      </a:cubicBezTo>
                      <a:cubicBezTo>
                        <a:pt x="758" y="1055"/>
                        <a:pt x="769" y="1054"/>
                        <a:pt x="762" y="1057"/>
                      </a:cubicBezTo>
                      <a:cubicBezTo>
                        <a:pt x="763" y="1059"/>
                        <a:pt x="766" y="1059"/>
                        <a:pt x="768" y="1059"/>
                      </a:cubicBezTo>
                      <a:cubicBezTo>
                        <a:pt x="767" y="1063"/>
                        <a:pt x="768" y="1065"/>
                        <a:pt x="772" y="1065"/>
                      </a:cubicBezTo>
                      <a:cubicBezTo>
                        <a:pt x="775" y="1069"/>
                        <a:pt x="768" y="1071"/>
                        <a:pt x="768" y="1072"/>
                      </a:cubicBezTo>
                      <a:cubicBezTo>
                        <a:pt x="768" y="1073"/>
                        <a:pt x="769" y="1075"/>
                        <a:pt x="770" y="1074"/>
                      </a:cubicBezTo>
                      <a:cubicBezTo>
                        <a:pt x="768" y="1077"/>
                        <a:pt x="769" y="1074"/>
                        <a:pt x="768" y="1074"/>
                      </a:cubicBezTo>
                      <a:cubicBezTo>
                        <a:pt x="765" y="1074"/>
                        <a:pt x="766" y="1078"/>
                        <a:pt x="761" y="1078"/>
                      </a:cubicBezTo>
                      <a:cubicBezTo>
                        <a:pt x="763" y="1081"/>
                        <a:pt x="762" y="1082"/>
                        <a:pt x="757" y="1082"/>
                      </a:cubicBezTo>
                      <a:cubicBezTo>
                        <a:pt x="758" y="1087"/>
                        <a:pt x="754" y="1086"/>
                        <a:pt x="755" y="1091"/>
                      </a:cubicBezTo>
                      <a:cubicBezTo>
                        <a:pt x="748" y="1092"/>
                        <a:pt x="756" y="1099"/>
                        <a:pt x="749" y="1095"/>
                      </a:cubicBezTo>
                      <a:cubicBezTo>
                        <a:pt x="750" y="1099"/>
                        <a:pt x="748" y="1103"/>
                        <a:pt x="749" y="1108"/>
                      </a:cubicBezTo>
                      <a:cubicBezTo>
                        <a:pt x="750" y="1109"/>
                        <a:pt x="751" y="1110"/>
                        <a:pt x="751" y="1110"/>
                      </a:cubicBezTo>
                      <a:cubicBezTo>
                        <a:pt x="751" y="1112"/>
                        <a:pt x="748" y="1113"/>
                        <a:pt x="751" y="1117"/>
                      </a:cubicBezTo>
                      <a:cubicBezTo>
                        <a:pt x="754" y="1119"/>
                        <a:pt x="751" y="1121"/>
                        <a:pt x="753" y="1126"/>
                      </a:cubicBezTo>
                      <a:cubicBezTo>
                        <a:pt x="755" y="1130"/>
                        <a:pt x="759" y="1132"/>
                        <a:pt x="761" y="1136"/>
                      </a:cubicBezTo>
                      <a:cubicBezTo>
                        <a:pt x="765" y="1139"/>
                        <a:pt x="768" y="1133"/>
                        <a:pt x="772" y="1137"/>
                      </a:cubicBezTo>
                      <a:cubicBezTo>
                        <a:pt x="773" y="1144"/>
                        <a:pt x="766" y="1140"/>
                        <a:pt x="762" y="1141"/>
                      </a:cubicBezTo>
                      <a:cubicBezTo>
                        <a:pt x="755" y="1143"/>
                        <a:pt x="746" y="1146"/>
                        <a:pt x="740" y="1145"/>
                      </a:cubicBezTo>
                      <a:cubicBezTo>
                        <a:pt x="740" y="1145"/>
                        <a:pt x="740" y="1142"/>
                        <a:pt x="740" y="1141"/>
                      </a:cubicBezTo>
                      <a:cubicBezTo>
                        <a:pt x="732" y="1143"/>
                        <a:pt x="730" y="1138"/>
                        <a:pt x="723" y="1137"/>
                      </a:cubicBezTo>
                      <a:cubicBezTo>
                        <a:pt x="723" y="1136"/>
                        <a:pt x="723" y="1134"/>
                        <a:pt x="723" y="1132"/>
                      </a:cubicBezTo>
                      <a:cubicBezTo>
                        <a:pt x="722" y="1127"/>
                        <a:pt x="716" y="1131"/>
                        <a:pt x="716" y="1126"/>
                      </a:cubicBezTo>
                      <a:cubicBezTo>
                        <a:pt x="716" y="1125"/>
                        <a:pt x="714" y="1124"/>
                        <a:pt x="714" y="1123"/>
                      </a:cubicBezTo>
                      <a:cubicBezTo>
                        <a:pt x="714" y="1121"/>
                        <a:pt x="712" y="1121"/>
                        <a:pt x="712" y="1121"/>
                      </a:cubicBezTo>
                      <a:cubicBezTo>
                        <a:pt x="712" y="1119"/>
                        <a:pt x="716" y="1115"/>
                        <a:pt x="712" y="1115"/>
                      </a:cubicBezTo>
                      <a:cubicBezTo>
                        <a:pt x="709" y="1115"/>
                        <a:pt x="712" y="1113"/>
                        <a:pt x="712" y="1111"/>
                      </a:cubicBezTo>
                      <a:cubicBezTo>
                        <a:pt x="712" y="1109"/>
                        <a:pt x="709" y="1109"/>
                        <a:pt x="708" y="1108"/>
                      </a:cubicBezTo>
                      <a:cubicBezTo>
                        <a:pt x="708" y="1106"/>
                        <a:pt x="711" y="1106"/>
                        <a:pt x="710" y="1104"/>
                      </a:cubicBezTo>
                      <a:cubicBezTo>
                        <a:pt x="710" y="1104"/>
                        <a:pt x="709" y="1103"/>
                        <a:pt x="708" y="1102"/>
                      </a:cubicBezTo>
                      <a:cubicBezTo>
                        <a:pt x="708" y="1100"/>
                        <a:pt x="707" y="1097"/>
                        <a:pt x="705" y="1096"/>
                      </a:cubicBezTo>
                      <a:cubicBezTo>
                        <a:pt x="704" y="1094"/>
                        <a:pt x="707" y="1093"/>
                        <a:pt x="707" y="1091"/>
                      </a:cubicBezTo>
                      <a:cubicBezTo>
                        <a:pt x="706" y="1090"/>
                        <a:pt x="703" y="1088"/>
                        <a:pt x="703" y="1089"/>
                      </a:cubicBezTo>
                      <a:cubicBezTo>
                        <a:pt x="703" y="1088"/>
                        <a:pt x="710" y="1085"/>
                        <a:pt x="705" y="1083"/>
                      </a:cubicBezTo>
                      <a:cubicBezTo>
                        <a:pt x="705" y="1082"/>
                        <a:pt x="707" y="1082"/>
                        <a:pt x="708" y="1082"/>
                      </a:cubicBezTo>
                      <a:cubicBezTo>
                        <a:pt x="708" y="1077"/>
                        <a:pt x="708" y="1073"/>
                        <a:pt x="708" y="1068"/>
                      </a:cubicBezTo>
                      <a:cubicBezTo>
                        <a:pt x="707" y="1067"/>
                        <a:pt x="705" y="1066"/>
                        <a:pt x="703" y="1065"/>
                      </a:cubicBezTo>
                      <a:cubicBezTo>
                        <a:pt x="705" y="1059"/>
                        <a:pt x="709" y="1054"/>
                        <a:pt x="707" y="1048"/>
                      </a:cubicBezTo>
                      <a:cubicBezTo>
                        <a:pt x="712" y="1050"/>
                        <a:pt x="711" y="1045"/>
                        <a:pt x="716" y="1046"/>
                      </a:cubicBezTo>
                      <a:cubicBezTo>
                        <a:pt x="716" y="1041"/>
                        <a:pt x="716" y="1035"/>
                        <a:pt x="716" y="1029"/>
                      </a:cubicBezTo>
                      <a:cubicBezTo>
                        <a:pt x="725" y="1030"/>
                        <a:pt x="721" y="1017"/>
                        <a:pt x="725" y="1013"/>
                      </a:cubicBezTo>
                      <a:cubicBezTo>
                        <a:pt x="724" y="1014"/>
                        <a:pt x="722" y="1015"/>
                        <a:pt x="721" y="1013"/>
                      </a:cubicBezTo>
                      <a:cubicBezTo>
                        <a:pt x="718" y="1014"/>
                        <a:pt x="716" y="1018"/>
                        <a:pt x="716" y="1024"/>
                      </a:cubicBezTo>
                      <a:cubicBezTo>
                        <a:pt x="713" y="1022"/>
                        <a:pt x="710" y="1021"/>
                        <a:pt x="710" y="1016"/>
                      </a:cubicBezTo>
                      <a:cubicBezTo>
                        <a:pt x="707" y="1014"/>
                        <a:pt x="716" y="1010"/>
                        <a:pt x="714" y="1009"/>
                      </a:cubicBezTo>
                      <a:cubicBezTo>
                        <a:pt x="710" y="1006"/>
                        <a:pt x="715" y="1010"/>
                        <a:pt x="718" y="1007"/>
                      </a:cubicBezTo>
                      <a:cubicBezTo>
                        <a:pt x="719" y="997"/>
                        <a:pt x="715" y="989"/>
                        <a:pt x="716" y="981"/>
                      </a:cubicBezTo>
                      <a:cubicBezTo>
                        <a:pt x="716" y="981"/>
                        <a:pt x="719" y="981"/>
                        <a:pt x="720" y="981"/>
                      </a:cubicBezTo>
                      <a:cubicBezTo>
                        <a:pt x="718" y="972"/>
                        <a:pt x="720" y="971"/>
                        <a:pt x="720" y="960"/>
                      </a:cubicBezTo>
                      <a:cubicBezTo>
                        <a:pt x="724" y="955"/>
                        <a:pt x="730" y="949"/>
                        <a:pt x="727" y="942"/>
                      </a:cubicBezTo>
                      <a:cubicBezTo>
                        <a:pt x="734" y="950"/>
                        <a:pt x="728" y="928"/>
                        <a:pt x="735" y="936"/>
                      </a:cubicBezTo>
                      <a:cubicBezTo>
                        <a:pt x="734" y="932"/>
                        <a:pt x="734" y="928"/>
                        <a:pt x="733" y="923"/>
                      </a:cubicBezTo>
                      <a:cubicBezTo>
                        <a:pt x="732" y="921"/>
                        <a:pt x="729" y="918"/>
                        <a:pt x="729" y="916"/>
                      </a:cubicBezTo>
                      <a:cubicBezTo>
                        <a:pt x="729" y="913"/>
                        <a:pt x="730" y="912"/>
                        <a:pt x="731" y="910"/>
                      </a:cubicBezTo>
                      <a:cubicBezTo>
                        <a:pt x="731" y="906"/>
                        <a:pt x="729" y="900"/>
                        <a:pt x="735" y="904"/>
                      </a:cubicBezTo>
                      <a:cubicBezTo>
                        <a:pt x="734" y="899"/>
                        <a:pt x="735" y="894"/>
                        <a:pt x="736" y="890"/>
                      </a:cubicBezTo>
                      <a:cubicBezTo>
                        <a:pt x="738" y="886"/>
                        <a:pt x="737" y="888"/>
                        <a:pt x="736" y="884"/>
                      </a:cubicBezTo>
                      <a:cubicBezTo>
                        <a:pt x="736" y="882"/>
                        <a:pt x="741" y="877"/>
                        <a:pt x="738" y="875"/>
                      </a:cubicBezTo>
                      <a:cubicBezTo>
                        <a:pt x="737" y="873"/>
                        <a:pt x="738" y="873"/>
                        <a:pt x="738" y="869"/>
                      </a:cubicBezTo>
                      <a:cubicBezTo>
                        <a:pt x="739" y="867"/>
                        <a:pt x="738" y="864"/>
                        <a:pt x="738" y="862"/>
                      </a:cubicBezTo>
                      <a:cubicBezTo>
                        <a:pt x="739" y="859"/>
                        <a:pt x="740" y="858"/>
                        <a:pt x="740" y="856"/>
                      </a:cubicBezTo>
                      <a:cubicBezTo>
                        <a:pt x="741" y="849"/>
                        <a:pt x="739" y="842"/>
                        <a:pt x="740" y="836"/>
                      </a:cubicBezTo>
                      <a:cubicBezTo>
                        <a:pt x="740" y="833"/>
                        <a:pt x="742" y="832"/>
                        <a:pt x="742" y="830"/>
                      </a:cubicBezTo>
                      <a:cubicBezTo>
                        <a:pt x="741" y="824"/>
                        <a:pt x="736" y="819"/>
                        <a:pt x="736" y="813"/>
                      </a:cubicBezTo>
                      <a:cubicBezTo>
                        <a:pt x="736" y="810"/>
                        <a:pt x="734" y="814"/>
                        <a:pt x="731" y="813"/>
                      </a:cubicBezTo>
                      <a:cubicBezTo>
                        <a:pt x="728" y="809"/>
                        <a:pt x="723" y="804"/>
                        <a:pt x="718" y="804"/>
                      </a:cubicBezTo>
                      <a:cubicBezTo>
                        <a:pt x="717" y="804"/>
                        <a:pt x="715" y="799"/>
                        <a:pt x="714" y="800"/>
                      </a:cubicBezTo>
                      <a:cubicBezTo>
                        <a:pt x="711" y="803"/>
                        <a:pt x="714" y="799"/>
                        <a:pt x="712" y="798"/>
                      </a:cubicBezTo>
                      <a:cubicBezTo>
                        <a:pt x="709" y="796"/>
                        <a:pt x="704" y="800"/>
                        <a:pt x="708" y="795"/>
                      </a:cubicBezTo>
                      <a:cubicBezTo>
                        <a:pt x="708" y="791"/>
                        <a:pt x="703" y="794"/>
                        <a:pt x="701" y="793"/>
                      </a:cubicBezTo>
                      <a:cubicBezTo>
                        <a:pt x="700" y="792"/>
                        <a:pt x="702" y="789"/>
                        <a:pt x="701" y="789"/>
                      </a:cubicBezTo>
                      <a:cubicBezTo>
                        <a:pt x="700" y="788"/>
                        <a:pt x="698" y="788"/>
                        <a:pt x="697" y="787"/>
                      </a:cubicBezTo>
                      <a:cubicBezTo>
                        <a:pt x="695" y="785"/>
                        <a:pt x="692" y="780"/>
                        <a:pt x="692" y="774"/>
                      </a:cubicBezTo>
                      <a:cubicBezTo>
                        <a:pt x="692" y="772"/>
                        <a:pt x="689" y="773"/>
                        <a:pt x="688" y="772"/>
                      </a:cubicBezTo>
                      <a:cubicBezTo>
                        <a:pt x="686" y="771"/>
                        <a:pt x="688" y="763"/>
                        <a:pt x="684" y="763"/>
                      </a:cubicBezTo>
                      <a:cubicBezTo>
                        <a:pt x="681" y="763"/>
                        <a:pt x="679" y="752"/>
                        <a:pt x="677" y="748"/>
                      </a:cubicBezTo>
                      <a:cubicBezTo>
                        <a:pt x="675" y="745"/>
                        <a:pt x="672" y="741"/>
                        <a:pt x="669" y="737"/>
                      </a:cubicBezTo>
                      <a:cubicBezTo>
                        <a:pt x="668" y="735"/>
                        <a:pt x="666" y="734"/>
                        <a:pt x="666" y="733"/>
                      </a:cubicBezTo>
                      <a:cubicBezTo>
                        <a:pt x="665" y="732"/>
                        <a:pt x="666" y="730"/>
                        <a:pt x="666" y="729"/>
                      </a:cubicBezTo>
                      <a:cubicBezTo>
                        <a:pt x="665" y="727"/>
                        <a:pt x="663" y="729"/>
                        <a:pt x="662" y="727"/>
                      </a:cubicBezTo>
                      <a:cubicBezTo>
                        <a:pt x="662" y="727"/>
                        <a:pt x="659" y="713"/>
                        <a:pt x="658" y="724"/>
                      </a:cubicBezTo>
                      <a:cubicBezTo>
                        <a:pt x="654" y="722"/>
                        <a:pt x="657" y="712"/>
                        <a:pt x="656" y="707"/>
                      </a:cubicBezTo>
                      <a:cubicBezTo>
                        <a:pt x="661" y="707"/>
                        <a:pt x="661" y="702"/>
                        <a:pt x="664" y="699"/>
                      </a:cubicBezTo>
                      <a:cubicBezTo>
                        <a:pt x="665" y="694"/>
                        <a:pt x="660" y="696"/>
                        <a:pt x="658" y="694"/>
                      </a:cubicBezTo>
                      <a:cubicBezTo>
                        <a:pt x="658" y="688"/>
                        <a:pt x="661" y="686"/>
                        <a:pt x="660" y="679"/>
                      </a:cubicBezTo>
                      <a:cubicBezTo>
                        <a:pt x="661" y="678"/>
                        <a:pt x="663" y="677"/>
                        <a:pt x="666" y="677"/>
                      </a:cubicBezTo>
                      <a:cubicBezTo>
                        <a:pt x="666" y="676"/>
                        <a:pt x="665" y="673"/>
                        <a:pt x="666" y="672"/>
                      </a:cubicBezTo>
                      <a:cubicBezTo>
                        <a:pt x="666" y="671"/>
                        <a:pt x="669" y="672"/>
                        <a:pt x="669" y="672"/>
                      </a:cubicBezTo>
                      <a:cubicBezTo>
                        <a:pt x="670" y="671"/>
                        <a:pt x="669" y="670"/>
                        <a:pt x="669" y="670"/>
                      </a:cubicBezTo>
                      <a:cubicBezTo>
                        <a:pt x="670" y="669"/>
                        <a:pt x="674" y="666"/>
                        <a:pt x="673" y="666"/>
                      </a:cubicBezTo>
                      <a:cubicBezTo>
                        <a:pt x="673" y="666"/>
                        <a:pt x="671" y="666"/>
                        <a:pt x="671" y="666"/>
                      </a:cubicBezTo>
                      <a:cubicBezTo>
                        <a:pt x="671" y="666"/>
                        <a:pt x="672" y="663"/>
                        <a:pt x="673" y="664"/>
                      </a:cubicBezTo>
                      <a:cubicBezTo>
                        <a:pt x="677" y="669"/>
                        <a:pt x="674" y="661"/>
                        <a:pt x="679" y="660"/>
                      </a:cubicBezTo>
                      <a:cubicBezTo>
                        <a:pt x="682" y="660"/>
                        <a:pt x="680" y="656"/>
                        <a:pt x="682" y="653"/>
                      </a:cubicBezTo>
                      <a:cubicBezTo>
                        <a:pt x="682" y="653"/>
                        <a:pt x="691" y="646"/>
                        <a:pt x="686" y="642"/>
                      </a:cubicBezTo>
                      <a:cubicBezTo>
                        <a:pt x="684" y="639"/>
                        <a:pt x="686" y="641"/>
                        <a:pt x="686" y="638"/>
                      </a:cubicBezTo>
                      <a:cubicBezTo>
                        <a:pt x="686" y="634"/>
                        <a:pt x="682" y="620"/>
                        <a:pt x="684" y="616"/>
                      </a:cubicBezTo>
                      <a:cubicBezTo>
                        <a:pt x="675" y="617"/>
                        <a:pt x="675" y="609"/>
                        <a:pt x="666" y="612"/>
                      </a:cubicBezTo>
                      <a:cubicBezTo>
                        <a:pt x="663" y="613"/>
                        <a:pt x="666" y="615"/>
                        <a:pt x="664" y="619"/>
                      </a:cubicBezTo>
                      <a:cubicBezTo>
                        <a:pt x="654" y="620"/>
                        <a:pt x="650" y="614"/>
                        <a:pt x="641" y="614"/>
                      </a:cubicBezTo>
                      <a:cubicBezTo>
                        <a:pt x="641" y="610"/>
                        <a:pt x="636" y="611"/>
                        <a:pt x="638" y="606"/>
                      </a:cubicBezTo>
                      <a:cubicBezTo>
                        <a:pt x="635" y="605"/>
                        <a:pt x="632" y="606"/>
                        <a:pt x="630" y="604"/>
                      </a:cubicBezTo>
                      <a:cubicBezTo>
                        <a:pt x="630" y="604"/>
                        <a:pt x="631" y="601"/>
                        <a:pt x="630" y="601"/>
                      </a:cubicBezTo>
                      <a:cubicBezTo>
                        <a:pt x="630" y="600"/>
                        <a:pt x="627" y="601"/>
                        <a:pt x="626" y="601"/>
                      </a:cubicBezTo>
                      <a:cubicBezTo>
                        <a:pt x="625" y="599"/>
                        <a:pt x="626" y="595"/>
                        <a:pt x="623" y="595"/>
                      </a:cubicBezTo>
                      <a:cubicBezTo>
                        <a:pt x="623" y="590"/>
                        <a:pt x="626" y="591"/>
                        <a:pt x="623" y="588"/>
                      </a:cubicBezTo>
                      <a:cubicBezTo>
                        <a:pt x="622" y="586"/>
                        <a:pt x="621" y="587"/>
                        <a:pt x="621" y="588"/>
                      </a:cubicBezTo>
                      <a:cubicBezTo>
                        <a:pt x="618" y="586"/>
                        <a:pt x="617" y="582"/>
                        <a:pt x="612" y="582"/>
                      </a:cubicBezTo>
                      <a:cubicBezTo>
                        <a:pt x="614" y="576"/>
                        <a:pt x="605" y="581"/>
                        <a:pt x="608" y="575"/>
                      </a:cubicBezTo>
                      <a:cubicBezTo>
                        <a:pt x="606" y="574"/>
                        <a:pt x="596" y="574"/>
                        <a:pt x="598" y="575"/>
                      </a:cubicBezTo>
                      <a:cubicBezTo>
                        <a:pt x="596" y="574"/>
                        <a:pt x="598" y="572"/>
                        <a:pt x="597" y="571"/>
                      </a:cubicBezTo>
                      <a:cubicBezTo>
                        <a:pt x="596" y="570"/>
                        <a:pt x="594" y="571"/>
                        <a:pt x="593" y="571"/>
                      </a:cubicBezTo>
                      <a:cubicBezTo>
                        <a:pt x="591" y="570"/>
                        <a:pt x="587" y="568"/>
                        <a:pt x="582" y="569"/>
                      </a:cubicBezTo>
                      <a:cubicBezTo>
                        <a:pt x="584" y="562"/>
                        <a:pt x="578" y="566"/>
                        <a:pt x="574" y="563"/>
                      </a:cubicBezTo>
                      <a:cubicBezTo>
                        <a:pt x="574" y="563"/>
                        <a:pt x="575" y="560"/>
                        <a:pt x="574" y="560"/>
                      </a:cubicBezTo>
                      <a:cubicBezTo>
                        <a:pt x="574" y="559"/>
                        <a:pt x="571" y="560"/>
                        <a:pt x="571" y="560"/>
                      </a:cubicBezTo>
                      <a:cubicBezTo>
                        <a:pt x="570" y="559"/>
                        <a:pt x="571" y="557"/>
                        <a:pt x="571" y="556"/>
                      </a:cubicBezTo>
                      <a:cubicBezTo>
                        <a:pt x="570" y="555"/>
                        <a:pt x="567" y="556"/>
                        <a:pt x="567" y="556"/>
                      </a:cubicBezTo>
                      <a:cubicBezTo>
                        <a:pt x="566" y="555"/>
                        <a:pt x="567" y="553"/>
                        <a:pt x="567" y="552"/>
                      </a:cubicBezTo>
                      <a:cubicBezTo>
                        <a:pt x="565" y="551"/>
                        <a:pt x="565" y="554"/>
                        <a:pt x="565" y="554"/>
                      </a:cubicBezTo>
                      <a:cubicBezTo>
                        <a:pt x="564" y="554"/>
                        <a:pt x="560" y="552"/>
                        <a:pt x="559" y="550"/>
                      </a:cubicBezTo>
                      <a:cubicBezTo>
                        <a:pt x="557" y="553"/>
                        <a:pt x="556" y="550"/>
                        <a:pt x="554" y="550"/>
                      </a:cubicBezTo>
                      <a:cubicBezTo>
                        <a:pt x="551" y="551"/>
                        <a:pt x="548" y="554"/>
                        <a:pt x="544" y="554"/>
                      </a:cubicBezTo>
                      <a:cubicBezTo>
                        <a:pt x="540" y="554"/>
                        <a:pt x="540" y="552"/>
                        <a:pt x="537" y="552"/>
                      </a:cubicBezTo>
                      <a:cubicBezTo>
                        <a:pt x="532" y="552"/>
                        <a:pt x="534" y="555"/>
                        <a:pt x="530" y="552"/>
                      </a:cubicBezTo>
                      <a:cubicBezTo>
                        <a:pt x="527" y="551"/>
                        <a:pt x="525" y="552"/>
                        <a:pt x="520" y="550"/>
                      </a:cubicBezTo>
                      <a:cubicBezTo>
                        <a:pt x="519" y="550"/>
                        <a:pt x="519" y="547"/>
                        <a:pt x="518" y="547"/>
                      </a:cubicBezTo>
                      <a:cubicBezTo>
                        <a:pt x="517" y="546"/>
                        <a:pt x="516" y="547"/>
                        <a:pt x="515" y="547"/>
                      </a:cubicBezTo>
                      <a:cubicBezTo>
                        <a:pt x="512" y="546"/>
                        <a:pt x="504" y="545"/>
                        <a:pt x="509" y="541"/>
                      </a:cubicBezTo>
                      <a:cubicBezTo>
                        <a:pt x="504" y="541"/>
                        <a:pt x="503" y="537"/>
                        <a:pt x="498" y="537"/>
                      </a:cubicBezTo>
                      <a:cubicBezTo>
                        <a:pt x="497" y="536"/>
                        <a:pt x="496" y="534"/>
                        <a:pt x="496" y="532"/>
                      </a:cubicBezTo>
                      <a:cubicBezTo>
                        <a:pt x="488" y="531"/>
                        <a:pt x="486" y="525"/>
                        <a:pt x="477" y="524"/>
                      </a:cubicBezTo>
                      <a:cubicBezTo>
                        <a:pt x="476" y="518"/>
                        <a:pt x="472" y="515"/>
                        <a:pt x="474" y="506"/>
                      </a:cubicBezTo>
                      <a:cubicBezTo>
                        <a:pt x="473" y="498"/>
                        <a:pt x="463" y="502"/>
                        <a:pt x="468" y="494"/>
                      </a:cubicBezTo>
                      <a:cubicBezTo>
                        <a:pt x="466" y="494"/>
                        <a:pt x="465" y="495"/>
                        <a:pt x="464" y="496"/>
                      </a:cubicBezTo>
                      <a:cubicBezTo>
                        <a:pt x="462" y="496"/>
                        <a:pt x="463" y="494"/>
                        <a:pt x="462" y="493"/>
                      </a:cubicBezTo>
                      <a:cubicBezTo>
                        <a:pt x="461" y="491"/>
                        <a:pt x="457" y="491"/>
                        <a:pt x="457" y="487"/>
                      </a:cubicBezTo>
                      <a:cubicBezTo>
                        <a:pt x="457" y="485"/>
                        <a:pt x="453" y="485"/>
                        <a:pt x="451" y="485"/>
                      </a:cubicBezTo>
                      <a:cubicBezTo>
                        <a:pt x="451" y="484"/>
                        <a:pt x="454" y="483"/>
                        <a:pt x="453" y="481"/>
                      </a:cubicBezTo>
                      <a:cubicBezTo>
                        <a:pt x="453" y="481"/>
                        <a:pt x="451" y="478"/>
                        <a:pt x="451" y="478"/>
                      </a:cubicBezTo>
                      <a:cubicBezTo>
                        <a:pt x="450" y="477"/>
                        <a:pt x="448" y="478"/>
                        <a:pt x="448" y="478"/>
                      </a:cubicBezTo>
                      <a:cubicBezTo>
                        <a:pt x="446" y="476"/>
                        <a:pt x="447" y="473"/>
                        <a:pt x="446" y="472"/>
                      </a:cubicBezTo>
                      <a:cubicBezTo>
                        <a:pt x="441" y="468"/>
                        <a:pt x="436" y="467"/>
                        <a:pt x="434" y="459"/>
                      </a:cubicBezTo>
                      <a:cubicBezTo>
                        <a:pt x="431" y="456"/>
                        <a:pt x="431" y="460"/>
                        <a:pt x="427" y="457"/>
                      </a:cubicBezTo>
                      <a:cubicBezTo>
                        <a:pt x="428" y="453"/>
                        <a:pt x="424" y="453"/>
                        <a:pt x="423" y="452"/>
                      </a:cubicBezTo>
                      <a:cubicBezTo>
                        <a:pt x="422" y="449"/>
                        <a:pt x="424" y="442"/>
                        <a:pt x="418" y="442"/>
                      </a:cubicBezTo>
                      <a:cubicBezTo>
                        <a:pt x="419" y="433"/>
                        <a:pt x="414" y="429"/>
                        <a:pt x="408" y="427"/>
                      </a:cubicBezTo>
                      <a:cubicBezTo>
                        <a:pt x="407" y="429"/>
                        <a:pt x="406" y="431"/>
                        <a:pt x="405" y="433"/>
                      </a:cubicBezTo>
                      <a:cubicBezTo>
                        <a:pt x="403" y="437"/>
                        <a:pt x="409" y="438"/>
                        <a:pt x="410" y="440"/>
                      </a:cubicBezTo>
                      <a:cubicBezTo>
                        <a:pt x="411" y="441"/>
                        <a:pt x="410" y="444"/>
                        <a:pt x="410" y="444"/>
                      </a:cubicBezTo>
                      <a:cubicBezTo>
                        <a:pt x="410" y="444"/>
                        <a:pt x="412" y="444"/>
                        <a:pt x="412" y="444"/>
                      </a:cubicBezTo>
                      <a:cubicBezTo>
                        <a:pt x="413" y="447"/>
                        <a:pt x="410" y="451"/>
                        <a:pt x="414" y="452"/>
                      </a:cubicBezTo>
                      <a:cubicBezTo>
                        <a:pt x="417" y="452"/>
                        <a:pt x="415" y="457"/>
                        <a:pt x="418" y="461"/>
                      </a:cubicBezTo>
                      <a:cubicBezTo>
                        <a:pt x="418" y="462"/>
                        <a:pt x="419" y="461"/>
                        <a:pt x="420" y="463"/>
                      </a:cubicBezTo>
                      <a:cubicBezTo>
                        <a:pt x="420" y="466"/>
                        <a:pt x="425" y="465"/>
                        <a:pt x="423" y="472"/>
                      </a:cubicBezTo>
                      <a:cubicBezTo>
                        <a:pt x="424" y="474"/>
                        <a:pt x="427" y="474"/>
                        <a:pt x="429" y="474"/>
                      </a:cubicBezTo>
                      <a:cubicBezTo>
                        <a:pt x="427" y="476"/>
                        <a:pt x="431" y="477"/>
                        <a:pt x="431" y="478"/>
                      </a:cubicBezTo>
                      <a:cubicBezTo>
                        <a:pt x="431" y="479"/>
                        <a:pt x="429" y="482"/>
                        <a:pt x="429" y="481"/>
                      </a:cubicBezTo>
                      <a:cubicBezTo>
                        <a:pt x="430" y="484"/>
                        <a:pt x="435" y="483"/>
                        <a:pt x="433" y="489"/>
                      </a:cubicBezTo>
                      <a:cubicBezTo>
                        <a:pt x="430" y="487"/>
                        <a:pt x="429" y="484"/>
                        <a:pt x="423" y="485"/>
                      </a:cubicBezTo>
                      <a:cubicBezTo>
                        <a:pt x="426" y="478"/>
                        <a:pt x="419" y="479"/>
                        <a:pt x="420" y="474"/>
                      </a:cubicBezTo>
                      <a:cubicBezTo>
                        <a:pt x="419" y="471"/>
                        <a:pt x="416" y="470"/>
                        <a:pt x="414" y="468"/>
                      </a:cubicBezTo>
                      <a:cubicBezTo>
                        <a:pt x="412" y="467"/>
                        <a:pt x="411" y="465"/>
                        <a:pt x="410" y="463"/>
                      </a:cubicBezTo>
                      <a:cubicBezTo>
                        <a:pt x="407" y="462"/>
                        <a:pt x="404" y="462"/>
                        <a:pt x="403" y="459"/>
                      </a:cubicBezTo>
                      <a:cubicBezTo>
                        <a:pt x="403" y="454"/>
                        <a:pt x="404" y="457"/>
                        <a:pt x="406" y="457"/>
                      </a:cubicBezTo>
                      <a:cubicBezTo>
                        <a:pt x="408" y="449"/>
                        <a:pt x="400" y="451"/>
                        <a:pt x="401" y="444"/>
                      </a:cubicBezTo>
                      <a:cubicBezTo>
                        <a:pt x="397" y="443"/>
                        <a:pt x="396" y="440"/>
                        <a:pt x="392" y="440"/>
                      </a:cubicBezTo>
                      <a:cubicBezTo>
                        <a:pt x="392" y="436"/>
                        <a:pt x="395" y="436"/>
                        <a:pt x="392" y="431"/>
                      </a:cubicBezTo>
                      <a:cubicBezTo>
                        <a:pt x="391" y="430"/>
                        <a:pt x="390" y="429"/>
                        <a:pt x="390" y="429"/>
                      </a:cubicBezTo>
                      <a:cubicBezTo>
                        <a:pt x="388" y="425"/>
                        <a:pt x="389" y="419"/>
                        <a:pt x="380" y="420"/>
                      </a:cubicBezTo>
                      <a:cubicBezTo>
                        <a:pt x="382" y="418"/>
                        <a:pt x="382" y="417"/>
                        <a:pt x="380" y="414"/>
                      </a:cubicBezTo>
                      <a:cubicBezTo>
                        <a:pt x="380" y="414"/>
                        <a:pt x="379" y="411"/>
                        <a:pt x="379" y="411"/>
                      </a:cubicBezTo>
                      <a:cubicBezTo>
                        <a:pt x="378" y="410"/>
                        <a:pt x="374" y="411"/>
                        <a:pt x="373" y="411"/>
                      </a:cubicBezTo>
                      <a:cubicBezTo>
                        <a:pt x="372" y="409"/>
                        <a:pt x="377" y="409"/>
                        <a:pt x="377" y="409"/>
                      </a:cubicBezTo>
                      <a:cubicBezTo>
                        <a:pt x="376" y="405"/>
                        <a:pt x="365" y="403"/>
                        <a:pt x="360" y="401"/>
                      </a:cubicBezTo>
                      <a:cubicBezTo>
                        <a:pt x="359" y="400"/>
                        <a:pt x="359" y="399"/>
                        <a:pt x="358" y="398"/>
                      </a:cubicBezTo>
                      <a:cubicBezTo>
                        <a:pt x="357" y="395"/>
                        <a:pt x="356" y="394"/>
                        <a:pt x="354" y="392"/>
                      </a:cubicBezTo>
                      <a:cubicBezTo>
                        <a:pt x="353" y="390"/>
                        <a:pt x="353" y="385"/>
                        <a:pt x="351" y="381"/>
                      </a:cubicBezTo>
                      <a:cubicBezTo>
                        <a:pt x="350" y="380"/>
                        <a:pt x="347" y="380"/>
                        <a:pt x="347" y="379"/>
                      </a:cubicBezTo>
                      <a:cubicBezTo>
                        <a:pt x="346" y="376"/>
                        <a:pt x="348" y="372"/>
                        <a:pt x="343" y="373"/>
                      </a:cubicBezTo>
                      <a:cubicBezTo>
                        <a:pt x="344" y="366"/>
                        <a:pt x="340" y="362"/>
                        <a:pt x="336" y="357"/>
                      </a:cubicBezTo>
                      <a:cubicBezTo>
                        <a:pt x="334" y="354"/>
                        <a:pt x="334" y="349"/>
                        <a:pt x="330" y="351"/>
                      </a:cubicBezTo>
                      <a:cubicBezTo>
                        <a:pt x="333" y="329"/>
                        <a:pt x="329" y="316"/>
                        <a:pt x="330" y="289"/>
                      </a:cubicBezTo>
                      <a:cubicBezTo>
                        <a:pt x="330" y="288"/>
                        <a:pt x="328" y="288"/>
                        <a:pt x="328" y="286"/>
                      </a:cubicBezTo>
                      <a:cubicBezTo>
                        <a:pt x="327" y="285"/>
                        <a:pt x="326" y="283"/>
                        <a:pt x="324" y="282"/>
                      </a:cubicBezTo>
                      <a:cubicBezTo>
                        <a:pt x="324" y="281"/>
                        <a:pt x="323" y="280"/>
                        <a:pt x="321" y="280"/>
                      </a:cubicBezTo>
                      <a:cubicBezTo>
                        <a:pt x="320" y="271"/>
                        <a:pt x="312" y="266"/>
                        <a:pt x="306" y="260"/>
                      </a:cubicBezTo>
                      <a:cubicBezTo>
                        <a:pt x="305" y="259"/>
                        <a:pt x="304" y="258"/>
                        <a:pt x="304" y="256"/>
                      </a:cubicBezTo>
                      <a:cubicBezTo>
                        <a:pt x="305" y="257"/>
                        <a:pt x="309" y="259"/>
                        <a:pt x="310" y="256"/>
                      </a:cubicBezTo>
                      <a:cubicBezTo>
                        <a:pt x="313" y="256"/>
                        <a:pt x="312" y="261"/>
                        <a:pt x="317" y="260"/>
                      </a:cubicBezTo>
                      <a:cubicBezTo>
                        <a:pt x="318" y="261"/>
                        <a:pt x="319" y="264"/>
                        <a:pt x="319" y="267"/>
                      </a:cubicBezTo>
                      <a:cubicBezTo>
                        <a:pt x="328" y="266"/>
                        <a:pt x="330" y="272"/>
                        <a:pt x="336" y="274"/>
                      </a:cubicBezTo>
                      <a:cubicBezTo>
                        <a:pt x="335" y="281"/>
                        <a:pt x="339" y="283"/>
                        <a:pt x="341" y="286"/>
                      </a:cubicBezTo>
                      <a:cubicBezTo>
                        <a:pt x="343" y="285"/>
                        <a:pt x="344" y="282"/>
                        <a:pt x="343" y="280"/>
                      </a:cubicBezTo>
                      <a:cubicBezTo>
                        <a:pt x="343" y="278"/>
                        <a:pt x="340" y="278"/>
                        <a:pt x="339" y="276"/>
                      </a:cubicBezTo>
                      <a:cubicBezTo>
                        <a:pt x="338" y="273"/>
                        <a:pt x="338" y="271"/>
                        <a:pt x="338" y="269"/>
                      </a:cubicBezTo>
                      <a:cubicBezTo>
                        <a:pt x="337" y="268"/>
                        <a:pt x="336" y="267"/>
                        <a:pt x="336" y="267"/>
                      </a:cubicBezTo>
                      <a:cubicBezTo>
                        <a:pt x="335" y="266"/>
                        <a:pt x="337" y="264"/>
                        <a:pt x="338" y="265"/>
                      </a:cubicBezTo>
                      <a:cubicBezTo>
                        <a:pt x="335" y="261"/>
                        <a:pt x="331" y="262"/>
                        <a:pt x="332" y="258"/>
                      </a:cubicBezTo>
                      <a:cubicBezTo>
                        <a:pt x="323" y="259"/>
                        <a:pt x="322" y="252"/>
                        <a:pt x="313" y="252"/>
                      </a:cubicBezTo>
                      <a:cubicBezTo>
                        <a:pt x="316" y="246"/>
                        <a:pt x="307" y="251"/>
                        <a:pt x="310" y="245"/>
                      </a:cubicBezTo>
                      <a:cubicBezTo>
                        <a:pt x="308" y="243"/>
                        <a:pt x="305" y="245"/>
                        <a:pt x="302" y="241"/>
                      </a:cubicBezTo>
                      <a:cubicBezTo>
                        <a:pt x="302" y="239"/>
                        <a:pt x="304" y="239"/>
                        <a:pt x="306" y="239"/>
                      </a:cubicBezTo>
                      <a:cubicBezTo>
                        <a:pt x="308" y="234"/>
                        <a:pt x="299" y="237"/>
                        <a:pt x="300" y="237"/>
                      </a:cubicBezTo>
                      <a:cubicBezTo>
                        <a:pt x="298" y="236"/>
                        <a:pt x="300" y="234"/>
                        <a:pt x="298" y="233"/>
                      </a:cubicBezTo>
                      <a:cubicBezTo>
                        <a:pt x="298" y="233"/>
                        <a:pt x="295" y="234"/>
                        <a:pt x="295" y="233"/>
                      </a:cubicBezTo>
                      <a:cubicBezTo>
                        <a:pt x="294" y="232"/>
                        <a:pt x="297" y="231"/>
                        <a:pt x="297" y="230"/>
                      </a:cubicBezTo>
                      <a:cubicBezTo>
                        <a:pt x="296" y="227"/>
                        <a:pt x="294" y="230"/>
                        <a:pt x="291" y="230"/>
                      </a:cubicBezTo>
                      <a:cubicBezTo>
                        <a:pt x="287" y="227"/>
                        <a:pt x="289" y="223"/>
                        <a:pt x="287" y="220"/>
                      </a:cubicBezTo>
                      <a:cubicBezTo>
                        <a:pt x="286" y="219"/>
                        <a:pt x="284" y="218"/>
                        <a:pt x="282" y="219"/>
                      </a:cubicBezTo>
                      <a:cubicBezTo>
                        <a:pt x="288" y="208"/>
                        <a:pt x="267" y="215"/>
                        <a:pt x="269" y="204"/>
                      </a:cubicBezTo>
                      <a:cubicBezTo>
                        <a:pt x="270" y="204"/>
                        <a:pt x="272" y="204"/>
                        <a:pt x="274" y="204"/>
                      </a:cubicBezTo>
                      <a:cubicBezTo>
                        <a:pt x="275" y="199"/>
                        <a:pt x="266" y="205"/>
                        <a:pt x="269" y="198"/>
                      </a:cubicBezTo>
                      <a:cubicBezTo>
                        <a:pt x="265" y="198"/>
                        <a:pt x="261" y="198"/>
                        <a:pt x="257" y="198"/>
                      </a:cubicBezTo>
                      <a:cubicBezTo>
                        <a:pt x="262" y="195"/>
                        <a:pt x="255" y="194"/>
                        <a:pt x="259" y="192"/>
                      </a:cubicBezTo>
                      <a:cubicBezTo>
                        <a:pt x="260" y="189"/>
                        <a:pt x="254" y="189"/>
                        <a:pt x="255" y="191"/>
                      </a:cubicBezTo>
                      <a:cubicBezTo>
                        <a:pt x="252" y="187"/>
                        <a:pt x="255" y="186"/>
                        <a:pt x="252" y="181"/>
                      </a:cubicBezTo>
                      <a:cubicBezTo>
                        <a:pt x="248" y="181"/>
                        <a:pt x="244" y="181"/>
                        <a:pt x="241" y="181"/>
                      </a:cubicBezTo>
                      <a:cubicBezTo>
                        <a:pt x="242" y="179"/>
                        <a:pt x="243" y="177"/>
                        <a:pt x="244" y="174"/>
                      </a:cubicBezTo>
                      <a:cubicBezTo>
                        <a:pt x="243" y="170"/>
                        <a:pt x="239" y="173"/>
                        <a:pt x="242" y="168"/>
                      </a:cubicBezTo>
                      <a:cubicBezTo>
                        <a:pt x="236" y="169"/>
                        <a:pt x="232" y="171"/>
                        <a:pt x="224" y="170"/>
                      </a:cubicBezTo>
                      <a:cubicBezTo>
                        <a:pt x="224" y="165"/>
                        <a:pt x="219" y="163"/>
                        <a:pt x="214" y="161"/>
                      </a:cubicBezTo>
                      <a:cubicBezTo>
                        <a:pt x="213" y="160"/>
                        <a:pt x="210" y="160"/>
                        <a:pt x="209" y="159"/>
                      </a:cubicBezTo>
                      <a:cubicBezTo>
                        <a:pt x="208" y="159"/>
                        <a:pt x="209" y="156"/>
                        <a:pt x="209" y="155"/>
                      </a:cubicBezTo>
                      <a:cubicBezTo>
                        <a:pt x="208" y="154"/>
                        <a:pt x="204" y="156"/>
                        <a:pt x="205" y="153"/>
                      </a:cubicBezTo>
                      <a:cubicBezTo>
                        <a:pt x="199" y="151"/>
                        <a:pt x="186" y="157"/>
                        <a:pt x="183" y="153"/>
                      </a:cubicBezTo>
                      <a:cubicBezTo>
                        <a:pt x="183" y="153"/>
                        <a:pt x="183" y="151"/>
                        <a:pt x="183" y="151"/>
                      </a:cubicBezTo>
                      <a:cubicBezTo>
                        <a:pt x="181" y="151"/>
                        <a:pt x="179" y="153"/>
                        <a:pt x="179" y="153"/>
                      </a:cubicBezTo>
                      <a:cubicBezTo>
                        <a:pt x="177" y="153"/>
                        <a:pt x="177" y="147"/>
                        <a:pt x="170" y="150"/>
                      </a:cubicBezTo>
                      <a:cubicBezTo>
                        <a:pt x="170" y="145"/>
                        <a:pt x="161" y="147"/>
                        <a:pt x="166" y="142"/>
                      </a:cubicBezTo>
                      <a:cubicBezTo>
                        <a:pt x="165" y="142"/>
                        <a:pt x="164" y="144"/>
                        <a:pt x="162" y="144"/>
                      </a:cubicBezTo>
                      <a:cubicBezTo>
                        <a:pt x="161" y="144"/>
                        <a:pt x="160" y="142"/>
                        <a:pt x="160" y="142"/>
                      </a:cubicBezTo>
                      <a:cubicBezTo>
                        <a:pt x="157" y="143"/>
                        <a:pt x="154" y="147"/>
                        <a:pt x="151" y="144"/>
                      </a:cubicBezTo>
                      <a:cubicBezTo>
                        <a:pt x="147" y="144"/>
                        <a:pt x="150" y="151"/>
                        <a:pt x="149" y="153"/>
                      </a:cubicBezTo>
                      <a:cubicBezTo>
                        <a:pt x="148" y="153"/>
                        <a:pt x="146" y="151"/>
                        <a:pt x="144" y="151"/>
                      </a:cubicBezTo>
                      <a:cubicBezTo>
                        <a:pt x="141" y="152"/>
                        <a:pt x="143" y="155"/>
                        <a:pt x="142" y="155"/>
                      </a:cubicBezTo>
                      <a:cubicBezTo>
                        <a:pt x="140" y="156"/>
                        <a:pt x="133" y="155"/>
                        <a:pt x="131" y="157"/>
                      </a:cubicBezTo>
                      <a:cubicBezTo>
                        <a:pt x="129" y="158"/>
                        <a:pt x="129" y="160"/>
                        <a:pt x="127" y="161"/>
                      </a:cubicBezTo>
                      <a:cubicBezTo>
                        <a:pt x="124" y="161"/>
                        <a:pt x="123" y="159"/>
                        <a:pt x="119" y="159"/>
                      </a:cubicBezTo>
                      <a:cubicBezTo>
                        <a:pt x="122" y="156"/>
                        <a:pt x="127" y="155"/>
                        <a:pt x="125" y="148"/>
                      </a:cubicBezTo>
                      <a:cubicBezTo>
                        <a:pt x="128" y="148"/>
                        <a:pt x="129" y="146"/>
                        <a:pt x="129" y="144"/>
                      </a:cubicBezTo>
                      <a:cubicBezTo>
                        <a:pt x="128" y="142"/>
                        <a:pt x="125" y="142"/>
                        <a:pt x="123" y="142"/>
                      </a:cubicBezTo>
                      <a:cubicBezTo>
                        <a:pt x="121" y="144"/>
                        <a:pt x="121" y="147"/>
                        <a:pt x="118" y="150"/>
                      </a:cubicBezTo>
                      <a:cubicBezTo>
                        <a:pt x="116" y="151"/>
                        <a:pt x="116" y="153"/>
                        <a:pt x="114" y="153"/>
                      </a:cubicBezTo>
                      <a:cubicBezTo>
                        <a:pt x="112" y="153"/>
                        <a:pt x="112" y="158"/>
                        <a:pt x="108" y="157"/>
                      </a:cubicBezTo>
                      <a:cubicBezTo>
                        <a:pt x="109" y="160"/>
                        <a:pt x="107" y="161"/>
                        <a:pt x="105" y="161"/>
                      </a:cubicBezTo>
                      <a:cubicBezTo>
                        <a:pt x="105" y="163"/>
                        <a:pt x="105" y="166"/>
                        <a:pt x="105" y="168"/>
                      </a:cubicBezTo>
                      <a:cubicBezTo>
                        <a:pt x="99" y="170"/>
                        <a:pt x="98" y="176"/>
                        <a:pt x="93" y="179"/>
                      </a:cubicBezTo>
                      <a:cubicBezTo>
                        <a:pt x="93" y="180"/>
                        <a:pt x="90" y="179"/>
                        <a:pt x="90" y="179"/>
                      </a:cubicBezTo>
                      <a:cubicBezTo>
                        <a:pt x="89" y="180"/>
                        <a:pt x="90" y="183"/>
                        <a:pt x="90" y="183"/>
                      </a:cubicBezTo>
                      <a:cubicBezTo>
                        <a:pt x="89" y="183"/>
                        <a:pt x="82" y="183"/>
                        <a:pt x="84" y="185"/>
                      </a:cubicBezTo>
                      <a:cubicBezTo>
                        <a:pt x="88" y="188"/>
                        <a:pt x="79" y="187"/>
                        <a:pt x="77" y="191"/>
                      </a:cubicBezTo>
                      <a:cubicBezTo>
                        <a:pt x="76" y="191"/>
                        <a:pt x="74" y="197"/>
                        <a:pt x="73" y="196"/>
                      </a:cubicBezTo>
                      <a:cubicBezTo>
                        <a:pt x="71" y="194"/>
                        <a:pt x="72" y="195"/>
                        <a:pt x="71" y="198"/>
                      </a:cubicBezTo>
                      <a:cubicBezTo>
                        <a:pt x="68" y="198"/>
                        <a:pt x="66" y="198"/>
                        <a:pt x="64" y="198"/>
                      </a:cubicBezTo>
                      <a:cubicBezTo>
                        <a:pt x="60" y="200"/>
                        <a:pt x="67" y="201"/>
                        <a:pt x="58" y="202"/>
                      </a:cubicBezTo>
                      <a:cubicBezTo>
                        <a:pt x="54" y="202"/>
                        <a:pt x="51" y="202"/>
                        <a:pt x="47" y="204"/>
                      </a:cubicBezTo>
                      <a:cubicBezTo>
                        <a:pt x="44" y="205"/>
                        <a:pt x="44" y="210"/>
                        <a:pt x="39" y="207"/>
                      </a:cubicBezTo>
                      <a:cubicBezTo>
                        <a:pt x="39" y="202"/>
                        <a:pt x="45" y="204"/>
                        <a:pt x="49" y="202"/>
                      </a:cubicBezTo>
                      <a:cubicBezTo>
                        <a:pt x="50" y="201"/>
                        <a:pt x="50" y="202"/>
                        <a:pt x="50" y="200"/>
                      </a:cubicBezTo>
                      <a:cubicBezTo>
                        <a:pt x="51" y="197"/>
                        <a:pt x="55" y="198"/>
                        <a:pt x="58" y="198"/>
                      </a:cubicBezTo>
                      <a:cubicBezTo>
                        <a:pt x="61" y="198"/>
                        <a:pt x="59" y="194"/>
                        <a:pt x="60" y="192"/>
                      </a:cubicBezTo>
                      <a:cubicBezTo>
                        <a:pt x="61" y="191"/>
                        <a:pt x="62" y="196"/>
                        <a:pt x="65" y="191"/>
                      </a:cubicBezTo>
                      <a:cubicBezTo>
                        <a:pt x="66" y="190"/>
                        <a:pt x="67" y="191"/>
                        <a:pt x="67" y="189"/>
                      </a:cubicBezTo>
                      <a:cubicBezTo>
                        <a:pt x="67" y="186"/>
                        <a:pt x="72" y="187"/>
                        <a:pt x="75" y="185"/>
                      </a:cubicBezTo>
                      <a:cubicBezTo>
                        <a:pt x="75" y="182"/>
                        <a:pt x="75" y="179"/>
                        <a:pt x="75" y="176"/>
                      </a:cubicBezTo>
                      <a:cubicBezTo>
                        <a:pt x="81" y="182"/>
                        <a:pt x="75" y="170"/>
                        <a:pt x="82" y="172"/>
                      </a:cubicBezTo>
                      <a:cubicBezTo>
                        <a:pt x="83" y="167"/>
                        <a:pt x="74" y="173"/>
                        <a:pt x="77" y="166"/>
                      </a:cubicBezTo>
                      <a:cubicBezTo>
                        <a:pt x="75" y="171"/>
                        <a:pt x="63" y="165"/>
                        <a:pt x="62" y="170"/>
                      </a:cubicBezTo>
                      <a:cubicBezTo>
                        <a:pt x="59" y="171"/>
                        <a:pt x="61" y="167"/>
                        <a:pt x="60" y="166"/>
                      </a:cubicBezTo>
                      <a:cubicBezTo>
                        <a:pt x="57" y="165"/>
                        <a:pt x="52" y="168"/>
                        <a:pt x="49" y="166"/>
                      </a:cubicBezTo>
                      <a:cubicBezTo>
                        <a:pt x="51" y="162"/>
                        <a:pt x="46" y="164"/>
                        <a:pt x="45" y="163"/>
                      </a:cubicBezTo>
                      <a:cubicBezTo>
                        <a:pt x="44" y="161"/>
                        <a:pt x="46" y="160"/>
                        <a:pt x="47" y="161"/>
                      </a:cubicBezTo>
                      <a:cubicBezTo>
                        <a:pt x="43" y="156"/>
                        <a:pt x="40" y="157"/>
                        <a:pt x="37" y="151"/>
                      </a:cubicBezTo>
                      <a:cubicBezTo>
                        <a:pt x="35" y="154"/>
                        <a:pt x="29" y="153"/>
                        <a:pt x="24" y="153"/>
                      </a:cubicBezTo>
                      <a:cubicBezTo>
                        <a:pt x="24" y="151"/>
                        <a:pt x="25" y="150"/>
                        <a:pt x="26" y="150"/>
                      </a:cubicBezTo>
                      <a:cubicBezTo>
                        <a:pt x="25" y="146"/>
                        <a:pt x="19" y="147"/>
                        <a:pt x="21" y="140"/>
                      </a:cubicBezTo>
                      <a:cubicBezTo>
                        <a:pt x="20" y="138"/>
                        <a:pt x="17" y="136"/>
                        <a:pt x="17" y="138"/>
                      </a:cubicBezTo>
                      <a:cubicBezTo>
                        <a:pt x="12" y="138"/>
                        <a:pt x="16" y="133"/>
                        <a:pt x="17" y="131"/>
                      </a:cubicBezTo>
                      <a:cubicBezTo>
                        <a:pt x="17" y="130"/>
                        <a:pt x="16" y="128"/>
                        <a:pt x="17" y="127"/>
                      </a:cubicBezTo>
                      <a:cubicBezTo>
                        <a:pt x="17" y="127"/>
                        <a:pt x="20" y="128"/>
                        <a:pt x="21" y="127"/>
                      </a:cubicBezTo>
                      <a:cubicBezTo>
                        <a:pt x="22" y="126"/>
                        <a:pt x="21" y="123"/>
                        <a:pt x="22" y="122"/>
                      </a:cubicBezTo>
                      <a:cubicBezTo>
                        <a:pt x="27" y="121"/>
                        <a:pt x="34" y="120"/>
                        <a:pt x="37" y="118"/>
                      </a:cubicBezTo>
                      <a:cubicBezTo>
                        <a:pt x="40" y="116"/>
                        <a:pt x="42" y="117"/>
                        <a:pt x="45" y="116"/>
                      </a:cubicBezTo>
                      <a:cubicBezTo>
                        <a:pt x="48" y="115"/>
                        <a:pt x="42" y="111"/>
                        <a:pt x="52" y="112"/>
                      </a:cubicBezTo>
                      <a:cubicBezTo>
                        <a:pt x="51" y="108"/>
                        <a:pt x="51" y="104"/>
                        <a:pt x="49" y="97"/>
                      </a:cubicBezTo>
                      <a:cubicBezTo>
                        <a:pt x="45" y="93"/>
                        <a:pt x="34" y="104"/>
                        <a:pt x="30" y="99"/>
                      </a:cubicBezTo>
                      <a:cubicBezTo>
                        <a:pt x="27" y="96"/>
                        <a:pt x="29" y="101"/>
                        <a:pt x="22" y="101"/>
                      </a:cubicBezTo>
                      <a:cubicBezTo>
                        <a:pt x="21" y="98"/>
                        <a:pt x="14" y="100"/>
                        <a:pt x="9" y="97"/>
                      </a:cubicBezTo>
                      <a:cubicBezTo>
                        <a:pt x="9" y="97"/>
                        <a:pt x="13" y="94"/>
                        <a:pt x="9" y="94"/>
                      </a:cubicBezTo>
                      <a:cubicBezTo>
                        <a:pt x="6" y="93"/>
                        <a:pt x="3" y="92"/>
                        <a:pt x="2" y="86"/>
                      </a:cubicBezTo>
                      <a:cubicBezTo>
                        <a:pt x="13" y="87"/>
                        <a:pt x="0" y="81"/>
                        <a:pt x="13" y="82"/>
                      </a:cubicBezTo>
                      <a:cubicBezTo>
                        <a:pt x="15" y="82"/>
                        <a:pt x="14" y="81"/>
                        <a:pt x="13" y="81"/>
                      </a:cubicBezTo>
                      <a:cubicBezTo>
                        <a:pt x="14" y="77"/>
                        <a:pt x="17" y="81"/>
                        <a:pt x="17" y="81"/>
                      </a:cubicBezTo>
                      <a:cubicBezTo>
                        <a:pt x="20" y="81"/>
                        <a:pt x="21" y="78"/>
                        <a:pt x="24" y="79"/>
                      </a:cubicBezTo>
                      <a:cubicBezTo>
                        <a:pt x="25" y="79"/>
                        <a:pt x="26" y="82"/>
                        <a:pt x="28" y="82"/>
                      </a:cubicBezTo>
                      <a:cubicBezTo>
                        <a:pt x="32" y="83"/>
                        <a:pt x="36" y="81"/>
                        <a:pt x="41" y="82"/>
                      </a:cubicBezTo>
                      <a:cubicBezTo>
                        <a:pt x="44" y="83"/>
                        <a:pt x="44" y="84"/>
                        <a:pt x="47" y="82"/>
                      </a:cubicBezTo>
                      <a:cubicBezTo>
                        <a:pt x="49" y="82"/>
                        <a:pt x="47" y="81"/>
                        <a:pt x="47" y="79"/>
                      </a:cubicBezTo>
                      <a:cubicBezTo>
                        <a:pt x="49" y="79"/>
                        <a:pt x="50" y="78"/>
                        <a:pt x="50" y="77"/>
                      </a:cubicBezTo>
                      <a:cubicBezTo>
                        <a:pt x="51" y="72"/>
                        <a:pt x="42" y="78"/>
                        <a:pt x="45" y="71"/>
                      </a:cubicBezTo>
                      <a:cubicBezTo>
                        <a:pt x="40" y="70"/>
                        <a:pt x="35" y="69"/>
                        <a:pt x="30" y="68"/>
                      </a:cubicBezTo>
                      <a:cubicBezTo>
                        <a:pt x="32" y="64"/>
                        <a:pt x="32" y="65"/>
                        <a:pt x="28" y="62"/>
                      </a:cubicBezTo>
                      <a:cubicBezTo>
                        <a:pt x="27" y="62"/>
                        <a:pt x="27" y="60"/>
                        <a:pt x="26" y="60"/>
                      </a:cubicBezTo>
                      <a:cubicBezTo>
                        <a:pt x="25" y="59"/>
                        <a:pt x="21" y="60"/>
                        <a:pt x="19" y="58"/>
                      </a:cubicBezTo>
                      <a:cubicBezTo>
                        <a:pt x="19" y="58"/>
                        <a:pt x="22" y="52"/>
                        <a:pt x="19" y="53"/>
                      </a:cubicBezTo>
                      <a:cubicBezTo>
                        <a:pt x="18" y="53"/>
                        <a:pt x="19" y="55"/>
                        <a:pt x="17" y="55"/>
                      </a:cubicBezTo>
                      <a:cubicBezTo>
                        <a:pt x="15" y="54"/>
                        <a:pt x="14" y="52"/>
                        <a:pt x="11" y="53"/>
                      </a:cubicBezTo>
                      <a:cubicBezTo>
                        <a:pt x="15" y="47"/>
                        <a:pt x="23" y="46"/>
                        <a:pt x="30" y="43"/>
                      </a:cubicBezTo>
                      <a:cubicBezTo>
                        <a:pt x="28" y="37"/>
                        <a:pt x="35" y="37"/>
                        <a:pt x="37" y="34"/>
                      </a:cubicBezTo>
                      <a:cubicBezTo>
                        <a:pt x="39" y="32"/>
                        <a:pt x="37" y="28"/>
                        <a:pt x="39" y="27"/>
                      </a:cubicBezTo>
                      <a:cubicBezTo>
                        <a:pt x="44" y="31"/>
                        <a:pt x="44" y="28"/>
                        <a:pt x="52" y="28"/>
                      </a:cubicBezTo>
                      <a:cubicBezTo>
                        <a:pt x="56" y="23"/>
                        <a:pt x="62" y="19"/>
                        <a:pt x="73" y="21"/>
                      </a:cubicBezTo>
                      <a:cubicBezTo>
                        <a:pt x="75" y="22"/>
                        <a:pt x="74" y="18"/>
                        <a:pt x="75" y="17"/>
                      </a:cubicBezTo>
                      <a:cubicBezTo>
                        <a:pt x="78" y="15"/>
                        <a:pt x="85" y="19"/>
                        <a:pt x="86" y="14"/>
                      </a:cubicBezTo>
                      <a:cubicBezTo>
                        <a:pt x="88" y="13"/>
                        <a:pt x="89" y="17"/>
                        <a:pt x="90" y="17"/>
                      </a:cubicBezTo>
                      <a:cubicBezTo>
                        <a:pt x="93" y="18"/>
                        <a:pt x="96" y="16"/>
                        <a:pt x="95" y="21"/>
                      </a:cubicBezTo>
                      <a:cubicBezTo>
                        <a:pt x="103" y="21"/>
                        <a:pt x="111" y="21"/>
                        <a:pt x="119" y="21"/>
                      </a:cubicBezTo>
                      <a:cubicBezTo>
                        <a:pt x="111" y="29"/>
                        <a:pt x="132" y="18"/>
                        <a:pt x="125" y="27"/>
                      </a:cubicBezTo>
                      <a:cubicBezTo>
                        <a:pt x="129" y="27"/>
                        <a:pt x="132" y="26"/>
                        <a:pt x="132" y="23"/>
                      </a:cubicBezTo>
                      <a:cubicBezTo>
                        <a:pt x="136" y="27"/>
                        <a:pt x="144" y="25"/>
                        <a:pt x="149" y="27"/>
                      </a:cubicBezTo>
                      <a:cubicBezTo>
                        <a:pt x="150" y="27"/>
                        <a:pt x="149" y="28"/>
                        <a:pt x="151" y="28"/>
                      </a:cubicBezTo>
                      <a:cubicBezTo>
                        <a:pt x="153" y="28"/>
                        <a:pt x="153" y="30"/>
                        <a:pt x="155" y="30"/>
                      </a:cubicBezTo>
                      <a:cubicBezTo>
                        <a:pt x="160" y="31"/>
                        <a:pt x="161" y="27"/>
                        <a:pt x="164" y="30"/>
                      </a:cubicBezTo>
                      <a:cubicBezTo>
                        <a:pt x="165" y="31"/>
                        <a:pt x="186" y="31"/>
                        <a:pt x="188" y="32"/>
                      </a:cubicBezTo>
                      <a:cubicBezTo>
                        <a:pt x="191" y="34"/>
                        <a:pt x="202" y="35"/>
                        <a:pt x="209" y="36"/>
                      </a:cubicBezTo>
                      <a:cubicBezTo>
                        <a:pt x="211" y="38"/>
                        <a:pt x="214" y="40"/>
                        <a:pt x="214" y="43"/>
                      </a:cubicBezTo>
                      <a:cubicBezTo>
                        <a:pt x="221" y="44"/>
                        <a:pt x="224" y="48"/>
                        <a:pt x="229" y="45"/>
                      </a:cubicBezTo>
                      <a:cubicBezTo>
                        <a:pt x="230" y="51"/>
                        <a:pt x="239" y="48"/>
                        <a:pt x="244" y="49"/>
                      </a:cubicBezTo>
                      <a:cubicBezTo>
                        <a:pt x="244" y="47"/>
                        <a:pt x="242" y="47"/>
                        <a:pt x="241" y="47"/>
                      </a:cubicBezTo>
                      <a:cubicBezTo>
                        <a:pt x="244" y="43"/>
                        <a:pt x="249" y="39"/>
                        <a:pt x="255" y="38"/>
                      </a:cubicBezTo>
                      <a:cubicBezTo>
                        <a:pt x="255" y="41"/>
                        <a:pt x="257" y="42"/>
                        <a:pt x="257" y="40"/>
                      </a:cubicBezTo>
                      <a:cubicBezTo>
                        <a:pt x="259" y="40"/>
                        <a:pt x="259" y="43"/>
                        <a:pt x="261" y="43"/>
                      </a:cubicBezTo>
                      <a:cubicBezTo>
                        <a:pt x="265" y="44"/>
                        <a:pt x="265" y="41"/>
                        <a:pt x="265" y="38"/>
                      </a:cubicBezTo>
                      <a:cubicBezTo>
                        <a:pt x="269" y="37"/>
                        <a:pt x="270" y="39"/>
                        <a:pt x="272" y="40"/>
                      </a:cubicBezTo>
                      <a:cubicBezTo>
                        <a:pt x="274" y="38"/>
                        <a:pt x="272" y="35"/>
                        <a:pt x="276" y="32"/>
                      </a:cubicBezTo>
                      <a:cubicBezTo>
                        <a:pt x="279" y="32"/>
                        <a:pt x="281" y="35"/>
                        <a:pt x="282" y="32"/>
                      </a:cubicBezTo>
                      <a:cubicBezTo>
                        <a:pt x="285" y="33"/>
                        <a:pt x="283" y="36"/>
                        <a:pt x="280" y="36"/>
                      </a:cubicBezTo>
                      <a:cubicBezTo>
                        <a:pt x="282" y="41"/>
                        <a:pt x="295" y="31"/>
                        <a:pt x="298" y="38"/>
                      </a:cubicBezTo>
                      <a:cubicBezTo>
                        <a:pt x="304" y="38"/>
                        <a:pt x="294" y="32"/>
                        <a:pt x="300" y="32"/>
                      </a:cubicBezTo>
                      <a:cubicBezTo>
                        <a:pt x="301" y="30"/>
                        <a:pt x="303" y="28"/>
                        <a:pt x="306" y="28"/>
                      </a:cubicBezTo>
                      <a:cubicBezTo>
                        <a:pt x="306" y="30"/>
                        <a:pt x="306" y="32"/>
                        <a:pt x="306" y="34"/>
                      </a:cubicBezTo>
                      <a:cubicBezTo>
                        <a:pt x="310" y="30"/>
                        <a:pt x="311" y="37"/>
                        <a:pt x="315" y="38"/>
                      </a:cubicBezTo>
                      <a:cubicBezTo>
                        <a:pt x="321" y="38"/>
                        <a:pt x="325" y="37"/>
                        <a:pt x="326" y="34"/>
                      </a:cubicBezTo>
                      <a:cubicBezTo>
                        <a:pt x="329" y="36"/>
                        <a:pt x="334" y="36"/>
                        <a:pt x="332" y="41"/>
                      </a:cubicBezTo>
                      <a:cubicBezTo>
                        <a:pt x="336" y="40"/>
                        <a:pt x="341" y="39"/>
                        <a:pt x="341" y="34"/>
                      </a:cubicBezTo>
                      <a:cubicBezTo>
                        <a:pt x="346" y="37"/>
                        <a:pt x="348" y="33"/>
                        <a:pt x="352" y="38"/>
                      </a:cubicBezTo>
                      <a:cubicBezTo>
                        <a:pt x="357" y="38"/>
                        <a:pt x="361" y="38"/>
                        <a:pt x="365" y="38"/>
                      </a:cubicBezTo>
                      <a:cubicBezTo>
                        <a:pt x="366" y="38"/>
                        <a:pt x="363" y="41"/>
                        <a:pt x="364" y="41"/>
                      </a:cubicBezTo>
                      <a:cubicBezTo>
                        <a:pt x="363" y="41"/>
                        <a:pt x="369" y="43"/>
                        <a:pt x="367" y="43"/>
                      </a:cubicBezTo>
                      <a:cubicBezTo>
                        <a:pt x="369" y="44"/>
                        <a:pt x="370" y="41"/>
                        <a:pt x="373" y="41"/>
                      </a:cubicBezTo>
                      <a:cubicBezTo>
                        <a:pt x="373" y="42"/>
                        <a:pt x="373" y="45"/>
                        <a:pt x="373" y="45"/>
                      </a:cubicBezTo>
                      <a:cubicBezTo>
                        <a:pt x="378" y="48"/>
                        <a:pt x="386" y="44"/>
                        <a:pt x="392" y="45"/>
                      </a:cubicBezTo>
                      <a:cubicBezTo>
                        <a:pt x="392" y="47"/>
                        <a:pt x="395" y="47"/>
                        <a:pt x="397" y="47"/>
                      </a:cubicBezTo>
                      <a:cubicBezTo>
                        <a:pt x="394" y="54"/>
                        <a:pt x="404" y="48"/>
                        <a:pt x="403" y="53"/>
                      </a:cubicBezTo>
                      <a:cubicBezTo>
                        <a:pt x="404" y="57"/>
                        <a:pt x="399" y="55"/>
                        <a:pt x="399" y="58"/>
                      </a:cubicBezTo>
                      <a:cubicBezTo>
                        <a:pt x="398" y="61"/>
                        <a:pt x="401" y="62"/>
                        <a:pt x="401" y="64"/>
                      </a:cubicBezTo>
                      <a:cubicBezTo>
                        <a:pt x="421" y="62"/>
                        <a:pt x="438" y="61"/>
                        <a:pt x="453" y="68"/>
                      </a:cubicBezTo>
                      <a:cubicBezTo>
                        <a:pt x="452" y="69"/>
                        <a:pt x="451" y="71"/>
                        <a:pt x="451" y="73"/>
                      </a:cubicBezTo>
                      <a:cubicBezTo>
                        <a:pt x="455" y="73"/>
                        <a:pt x="455" y="71"/>
                        <a:pt x="459" y="71"/>
                      </a:cubicBezTo>
                      <a:cubicBezTo>
                        <a:pt x="457" y="65"/>
                        <a:pt x="458" y="67"/>
                        <a:pt x="457" y="60"/>
                      </a:cubicBezTo>
                      <a:cubicBezTo>
                        <a:pt x="458" y="57"/>
                        <a:pt x="472" y="57"/>
                        <a:pt x="468" y="55"/>
                      </a:cubicBezTo>
                      <a:cubicBezTo>
                        <a:pt x="469" y="51"/>
                        <a:pt x="471" y="54"/>
                        <a:pt x="474" y="55"/>
                      </a:cubicBezTo>
                      <a:cubicBezTo>
                        <a:pt x="474" y="57"/>
                        <a:pt x="477" y="56"/>
                        <a:pt x="477" y="58"/>
                      </a:cubicBezTo>
                      <a:cubicBezTo>
                        <a:pt x="485" y="60"/>
                        <a:pt x="490" y="57"/>
                        <a:pt x="496" y="58"/>
                      </a:cubicBezTo>
                      <a:cubicBezTo>
                        <a:pt x="496" y="58"/>
                        <a:pt x="496" y="60"/>
                        <a:pt x="498" y="60"/>
                      </a:cubicBezTo>
                      <a:cubicBezTo>
                        <a:pt x="499" y="60"/>
                        <a:pt x="500" y="62"/>
                        <a:pt x="502" y="62"/>
                      </a:cubicBezTo>
                      <a:cubicBezTo>
                        <a:pt x="508" y="62"/>
                        <a:pt x="514" y="58"/>
                        <a:pt x="524" y="60"/>
                      </a:cubicBezTo>
                      <a:cubicBezTo>
                        <a:pt x="529" y="56"/>
                        <a:pt x="528" y="53"/>
                        <a:pt x="530" y="49"/>
                      </a:cubicBezTo>
                      <a:cubicBezTo>
                        <a:pt x="528" y="43"/>
                        <a:pt x="523" y="45"/>
                        <a:pt x="522" y="43"/>
                      </a:cubicBezTo>
                      <a:cubicBezTo>
                        <a:pt x="523" y="34"/>
                        <a:pt x="540" y="39"/>
                        <a:pt x="544" y="41"/>
                      </a:cubicBezTo>
                      <a:cubicBezTo>
                        <a:pt x="544" y="44"/>
                        <a:pt x="542" y="45"/>
                        <a:pt x="539" y="45"/>
                      </a:cubicBezTo>
                      <a:cubicBezTo>
                        <a:pt x="543" y="49"/>
                        <a:pt x="539" y="50"/>
                        <a:pt x="537" y="53"/>
                      </a:cubicBezTo>
                      <a:cubicBezTo>
                        <a:pt x="536" y="57"/>
                        <a:pt x="540" y="56"/>
                        <a:pt x="543" y="56"/>
                      </a:cubicBezTo>
                      <a:cubicBezTo>
                        <a:pt x="540" y="62"/>
                        <a:pt x="544" y="63"/>
                        <a:pt x="541" y="68"/>
                      </a:cubicBezTo>
                      <a:cubicBezTo>
                        <a:pt x="546" y="71"/>
                        <a:pt x="550" y="59"/>
                        <a:pt x="548" y="60"/>
                      </a:cubicBezTo>
                      <a:cubicBezTo>
                        <a:pt x="549" y="59"/>
                        <a:pt x="554" y="65"/>
                        <a:pt x="552" y="56"/>
                      </a:cubicBezTo>
                      <a:cubicBezTo>
                        <a:pt x="560" y="58"/>
                        <a:pt x="558" y="49"/>
                        <a:pt x="563" y="47"/>
                      </a:cubicBezTo>
                      <a:cubicBezTo>
                        <a:pt x="561" y="42"/>
                        <a:pt x="558" y="38"/>
                        <a:pt x="550" y="38"/>
                      </a:cubicBezTo>
                      <a:cubicBezTo>
                        <a:pt x="554" y="35"/>
                        <a:pt x="546" y="30"/>
                        <a:pt x="541" y="28"/>
                      </a:cubicBezTo>
                      <a:cubicBezTo>
                        <a:pt x="541" y="26"/>
                        <a:pt x="541" y="23"/>
                        <a:pt x="539" y="23"/>
                      </a:cubicBezTo>
                      <a:cubicBezTo>
                        <a:pt x="539" y="19"/>
                        <a:pt x="544" y="17"/>
                        <a:pt x="544" y="14"/>
                      </a:cubicBezTo>
                      <a:cubicBezTo>
                        <a:pt x="544" y="13"/>
                        <a:pt x="549" y="11"/>
                        <a:pt x="548" y="10"/>
                      </a:cubicBezTo>
                      <a:cubicBezTo>
                        <a:pt x="543" y="5"/>
                        <a:pt x="555" y="11"/>
                        <a:pt x="550" y="6"/>
                      </a:cubicBezTo>
                      <a:cubicBezTo>
                        <a:pt x="550" y="0"/>
                        <a:pt x="555" y="8"/>
                        <a:pt x="556" y="8"/>
                      </a:cubicBezTo>
                      <a:cubicBezTo>
                        <a:pt x="558" y="9"/>
                        <a:pt x="561" y="7"/>
                        <a:pt x="563" y="8"/>
                      </a:cubicBezTo>
                      <a:cubicBezTo>
                        <a:pt x="564" y="8"/>
                        <a:pt x="560" y="11"/>
                        <a:pt x="561" y="12"/>
                      </a:cubicBezTo>
                      <a:cubicBezTo>
                        <a:pt x="562" y="12"/>
                        <a:pt x="566" y="11"/>
                        <a:pt x="567" y="12"/>
                      </a:cubicBezTo>
                      <a:cubicBezTo>
                        <a:pt x="568" y="13"/>
                        <a:pt x="566" y="16"/>
                        <a:pt x="567" y="17"/>
                      </a:cubicBezTo>
                      <a:cubicBezTo>
                        <a:pt x="567" y="18"/>
                        <a:pt x="570" y="17"/>
                        <a:pt x="571" y="17"/>
                      </a:cubicBezTo>
                      <a:cubicBezTo>
                        <a:pt x="572" y="22"/>
                        <a:pt x="567" y="20"/>
                        <a:pt x="571" y="25"/>
                      </a:cubicBezTo>
                      <a:cubicBezTo>
                        <a:pt x="571" y="26"/>
                        <a:pt x="573" y="26"/>
                        <a:pt x="572" y="28"/>
                      </a:cubicBezTo>
                      <a:cubicBezTo>
                        <a:pt x="572" y="28"/>
                        <a:pt x="571" y="29"/>
                        <a:pt x="571" y="30"/>
                      </a:cubicBezTo>
                      <a:cubicBezTo>
                        <a:pt x="570" y="33"/>
                        <a:pt x="569" y="34"/>
                        <a:pt x="569" y="36"/>
                      </a:cubicBezTo>
                      <a:cubicBezTo>
                        <a:pt x="568" y="39"/>
                        <a:pt x="581" y="40"/>
                        <a:pt x="578" y="34"/>
                      </a:cubicBezTo>
                      <a:cubicBezTo>
                        <a:pt x="582" y="34"/>
                        <a:pt x="580" y="39"/>
                        <a:pt x="585" y="38"/>
                      </a:cubicBezTo>
                      <a:cubicBezTo>
                        <a:pt x="582" y="41"/>
                        <a:pt x="587" y="41"/>
                        <a:pt x="585" y="47"/>
                      </a:cubicBezTo>
                      <a:cubicBezTo>
                        <a:pt x="594" y="48"/>
                        <a:pt x="592" y="41"/>
                        <a:pt x="598" y="45"/>
                      </a:cubicBezTo>
                      <a:cubicBezTo>
                        <a:pt x="600" y="46"/>
                        <a:pt x="600" y="44"/>
                        <a:pt x="600" y="43"/>
                      </a:cubicBezTo>
                      <a:cubicBezTo>
                        <a:pt x="605" y="45"/>
                        <a:pt x="598" y="45"/>
                        <a:pt x="602" y="49"/>
                      </a:cubicBezTo>
                      <a:cubicBezTo>
                        <a:pt x="602" y="49"/>
                        <a:pt x="606" y="51"/>
                        <a:pt x="606" y="51"/>
                      </a:cubicBezTo>
                      <a:cubicBezTo>
                        <a:pt x="606" y="54"/>
                        <a:pt x="599" y="56"/>
                        <a:pt x="602" y="62"/>
                      </a:cubicBezTo>
                      <a:close/>
                      <a:moveTo>
                        <a:pt x="380" y="82"/>
                      </a:moveTo>
                      <a:cubicBezTo>
                        <a:pt x="380" y="79"/>
                        <a:pt x="383" y="78"/>
                        <a:pt x="380" y="77"/>
                      </a:cubicBezTo>
                      <a:cubicBezTo>
                        <a:pt x="380" y="78"/>
                        <a:pt x="380" y="79"/>
                        <a:pt x="379" y="79"/>
                      </a:cubicBezTo>
                      <a:cubicBezTo>
                        <a:pt x="378" y="77"/>
                        <a:pt x="379" y="73"/>
                        <a:pt x="377" y="73"/>
                      </a:cubicBezTo>
                      <a:cubicBezTo>
                        <a:pt x="374" y="76"/>
                        <a:pt x="366" y="82"/>
                        <a:pt x="362" y="77"/>
                      </a:cubicBezTo>
                      <a:cubicBezTo>
                        <a:pt x="361" y="72"/>
                        <a:pt x="370" y="78"/>
                        <a:pt x="367" y="71"/>
                      </a:cubicBezTo>
                      <a:cubicBezTo>
                        <a:pt x="366" y="71"/>
                        <a:pt x="364" y="71"/>
                        <a:pt x="364" y="69"/>
                      </a:cubicBezTo>
                      <a:cubicBezTo>
                        <a:pt x="360" y="68"/>
                        <a:pt x="359" y="72"/>
                        <a:pt x="356" y="73"/>
                      </a:cubicBezTo>
                      <a:cubicBezTo>
                        <a:pt x="352" y="74"/>
                        <a:pt x="348" y="74"/>
                        <a:pt x="343" y="75"/>
                      </a:cubicBezTo>
                      <a:cubicBezTo>
                        <a:pt x="343" y="75"/>
                        <a:pt x="343" y="77"/>
                        <a:pt x="341" y="77"/>
                      </a:cubicBezTo>
                      <a:cubicBezTo>
                        <a:pt x="335" y="79"/>
                        <a:pt x="329" y="79"/>
                        <a:pt x="323" y="79"/>
                      </a:cubicBezTo>
                      <a:cubicBezTo>
                        <a:pt x="323" y="82"/>
                        <a:pt x="320" y="84"/>
                        <a:pt x="323" y="84"/>
                      </a:cubicBezTo>
                      <a:cubicBezTo>
                        <a:pt x="323" y="82"/>
                        <a:pt x="325" y="83"/>
                        <a:pt x="324" y="86"/>
                      </a:cubicBezTo>
                      <a:cubicBezTo>
                        <a:pt x="333" y="87"/>
                        <a:pt x="344" y="79"/>
                        <a:pt x="347" y="86"/>
                      </a:cubicBezTo>
                      <a:cubicBezTo>
                        <a:pt x="343" y="82"/>
                        <a:pt x="345" y="87"/>
                        <a:pt x="341" y="88"/>
                      </a:cubicBezTo>
                      <a:cubicBezTo>
                        <a:pt x="338" y="88"/>
                        <a:pt x="335" y="89"/>
                        <a:pt x="334" y="92"/>
                      </a:cubicBezTo>
                      <a:cubicBezTo>
                        <a:pt x="344" y="93"/>
                        <a:pt x="349" y="90"/>
                        <a:pt x="358" y="90"/>
                      </a:cubicBezTo>
                      <a:cubicBezTo>
                        <a:pt x="358" y="92"/>
                        <a:pt x="358" y="95"/>
                        <a:pt x="360" y="96"/>
                      </a:cubicBezTo>
                      <a:cubicBezTo>
                        <a:pt x="360" y="93"/>
                        <a:pt x="363" y="94"/>
                        <a:pt x="365" y="94"/>
                      </a:cubicBezTo>
                      <a:cubicBezTo>
                        <a:pt x="366" y="90"/>
                        <a:pt x="367" y="87"/>
                        <a:pt x="369" y="86"/>
                      </a:cubicBezTo>
                      <a:cubicBezTo>
                        <a:pt x="373" y="83"/>
                        <a:pt x="372" y="86"/>
                        <a:pt x="377" y="86"/>
                      </a:cubicBezTo>
                      <a:cubicBezTo>
                        <a:pt x="377" y="84"/>
                        <a:pt x="377" y="82"/>
                        <a:pt x="380" y="82"/>
                      </a:cubicBezTo>
                      <a:close/>
                      <a:moveTo>
                        <a:pt x="393" y="146"/>
                      </a:moveTo>
                      <a:cubicBezTo>
                        <a:pt x="395" y="141"/>
                        <a:pt x="401" y="143"/>
                        <a:pt x="403" y="140"/>
                      </a:cubicBezTo>
                      <a:cubicBezTo>
                        <a:pt x="403" y="140"/>
                        <a:pt x="406" y="141"/>
                        <a:pt x="406" y="140"/>
                      </a:cubicBezTo>
                      <a:cubicBezTo>
                        <a:pt x="409" y="139"/>
                        <a:pt x="413" y="140"/>
                        <a:pt x="416" y="138"/>
                      </a:cubicBezTo>
                      <a:cubicBezTo>
                        <a:pt x="416" y="138"/>
                        <a:pt x="417" y="135"/>
                        <a:pt x="418" y="135"/>
                      </a:cubicBezTo>
                      <a:cubicBezTo>
                        <a:pt x="422" y="131"/>
                        <a:pt x="426" y="136"/>
                        <a:pt x="427" y="133"/>
                      </a:cubicBezTo>
                      <a:cubicBezTo>
                        <a:pt x="426" y="133"/>
                        <a:pt x="425" y="131"/>
                        <a:pt x="427" y="131"/>
                      </a:cubicBezTo>
                      <a:cubicBezTo>
                        <a:pt x="431" y="131"/>
                        <a:pt x="431" y="129"/>
                        <a:pt x="433" y="131"/>
                      </a:cubicBezTo>
                      <a:cubicBezTo>
                        <a:pt x="434" y="132"/>
                        <a:pt x="435" y="129"/>
                        <a:pt x="434" y="129"/>
                      </a:cubicBezTo>
                      <a:cubicBezTo>
                        <a:pt x="431" y="130"/>
                        <a:pt x="435" y="125"/>
                        <a:pt x="438" y="129"/>
                      </a:cubicBezTo>
                      <a:cubicBezTo>
                        <a:pt x="439" y="126"/>
                        <a:pt x="442" y="124"/>
                        <a:pt x="442" y="120"/>
                      </a:cubicBezTo>
                      <a:cubicBezTo>
                        <a:pt x="435" y="118"/>
                        <a:pt x="434" y="123"/>
                        <a:pt x="427" y="122"/>
                      </a:cubicBezTo>
                      <a:cubicBezTo>
                        <a:pt x="427" y="125"/>
                        <a:pt x="425" y="126"/>
                        <a:pt x="423" y="127"/>
                      </a:cubicBezTo>
                      <a:cubicBezTo>
                        <a:pt x="417" y="130"/>
                        <a:pt x="419" y="126"/>
                        <a:pt x="414" y="127"/>
                      </a:cubicBezTo>
                      <a:cubicBezTo>
                        <a:pt x="413" y="127"/>
                        <a:pt x="413" y="129"/>
                        <a:pt x="410" y="129"/>
                      </a:cubicBezTo>
                      <a:cubicBezTo>
                        <a:pt x="408" y="129"/>
                        <a:pt x="407" y="126"/>
                        <a:pt x="403" y="127"/>
                      </a:cubicBezTo>
                      <a:cubicBezTo>
                        <a:pt x="402" y="126"/>
                        <a:pt x="403" y="124"/>
                        <a:pt x="401" y="123"/>
                      </a:cubicBezTo>
                      <a:cubicBezTo>
                        <a:pt x="401" y="126"/>
                        <a:pt x="400" y="128"/>
                        <a:pt x="399" y="129"/>
                      </a:cubicBezTo>
                      <a:cubicBezTo>
                        <a:pt x="399" y="132"/>
                        <a:pt x="402" y="131"/>
                        <a:pt x="403" y="133"/>
                      </a:cubicBezTo>
                      <a:cubicBezTo>
                        <a:pt x="397" y="131"/>
                        <a:pt x="397" y="135"/>
                        <a:pt x="395" y="137"/>
                      </a:cubicBezTo>
                      <a:cubicBezTo>
                        <a:pt x="393" y="139"/>
                        <a:pt x="388" y="137"/>
                        <a:pt x="388" y="140"/>
                      </a:cubicBezTo>
                      <a:cubicBezTo>
                        <a:pt x="388" y="145"/>
                        <a:pt x="379" y="139"/>
                        <a:pt x="382" y="146"/>
                      </a:cubicBezTo>
                      <a:cubicBezTo>
                        <a:pt x="386" y="146"/>
                        <a:pt x="390" y="146"/>
                        <a:pt x="393" y="146"/>
                      </a:cubicBezTo>
                      <a:close/>
                      <a:moveTo>
                        <a:pt x="530" y="219"/>
                      </a:moveTo>
                      <a:cubicBezTo>
                        <a:pt x="528" y="219"/>
                        <a:pt x="528" y="220"/>
                        <a:pt x="528" y="220"/>
                      </a:cubicBezTo>
                      <a:cubicBezTo>
                        <a:pt x="527" y="221"/>
                        <a:pt x="522" y="222"/>
                        <a:pt x="522" y="222"/>
                      </a:cubicBezTo>
                      <a:cubicBezTo>
                        <a:pt x="521" y="224"/>
                        <a:pt x="524" y="230"/>
                        <a:pt x="520" y="230"/>
                      </a:cubicBezTo>
                      <a:cubicBezTo>
                        <a:pt x="520" y="228"/>
                        <a:pt x="521" y="224"/>
                        <a:pt x="518" y="224"/>
                      </a:cubicBezTo>
                      <a:cubicBezTo>
                        <a:pt x="518" y="227"/>
                        <a:pt x="518" y="229"/>
                        <a:pt x="518" y="232"/>
                      </a:cubicBezTo>
                      <a:cubicBezTo>
                        <a:pt x="521" y="232"/>
                        <a:pt x="525" y="232"/>
                        <a:pt x="528" y="232"/>
                      </a:cubicBezTo>
                      <a:cubicBezTo>
                        <a:pt x="526" y="234"/>
                        <a:pt x="531" y="237"/>
                        <a:pt x="531" y="239"/>
                      </a:cubicBezTo>
                      <a:cubicBezTo>
                        <a:pt x="533" y="245"/>
                        <a:pt x="534" y="243"/>
                        <a:pt x="537" y="247"/>
                      </a:cubicBezTo>
                      <a:cubicBezTo>
                        <a:pt x="535" y="247"/>
                        <a:pt x="533" y="247"/>
                        <a:pt x="533" y="250"/>
                      </a:cubicBezTo>
                      <a:cubicBezTo>
                        <a:pt x="533" y="253"/>
                        <a:pt x="536" y="253"/>
                        <a:pt x="535" y="256"/>
                      </a:cubicBezTo>
                      <a:cubicBezTo>
                        <a:pt x="538" y="256"/>
                        <a:pt x="540" y="256"/>
                        <a:pt x="543" y="256"/>
                      </a:cubicBezTo>
                      <a:cubicBezTo>
                        <a:pt x="545" y="254"/>
                        <a:pt x="545" y="249"/>
                        <a:pt x="544" y="245"/>
                      </a:cubicBezTo>
                      <a:cubicBezTo>
                        <a:pt x="542" y="244"/>
                        <a:pt x="540" y="243"/>
                        <a:pt x="539" y="241"/>
                      </a:cubicBezTo>
                      <a:cubicBezTo>
                        <a:pt x="542" y="231"/>
                        <a:pt x="539" y="236"/>
                        <a:pt x="537" y="233"/>
                      </a:cubicBezTo>
                      <a:cubicBezTo>
                        <a:pt x="534" y="230"/>
                        <a:pt x="535" y="223"/>
                        <a:pt x="533" y="219"/>
                      </a:cubicBezTo>
                      <a:cubicBezTo>
                        <a:pt x="532" y="219"/>
                        <a:pt x="531" y="218"/>
                        <a:pt x="530" y="219"/>
                      </a:cubicBezTo>
                      <a:close/>
                      <a:moveTo>
                        <a:pt x="602" y="276"/>
                      </a:moveTo>
                      <a:cubicBezTo>
                        <a:pt x="596" y="274"/>
                        <a:pt x="598" y="279"/>
                        <a:pt x="595" y="280"/>
                      </a:cubicBezTo>
                      <a:cubicBezTo>
                        <a:pt x="594" y="279"/>
                        <a:pt x="593" y="278"/>
                        <a:pt x="591" y="278"/>
                      </a:cubicBezTo>
                      <a:cubicBezTo>
                        <a:pt x="591" y="285"/>
                        <a:pt x="584" y="281"/>
                        <a:pt x="582" y="284"/>
                      </a:cubicBezTo>
                      <a:cubicBezTo>
                        <a:pt x="580" y="285"/>
                        <a:pt x="582" y="286"/>
                        <a:pt x="580" y="288"/>
                      </a:cubicBezTo>
                      <a:cubicBezTo>
                        <a:pt x="579" y="288"/>
                        <a:pt x="576" y="287"/>
                        <a:pt x="576" y="289"/>
                      </a:cubicBezTo>
                      <a:cubicBezTo>
                        <a:pt x="579" y="290"/>
                        <a:pt x="576" y="292"/>
                        <a:pt x="576" y="295"/>
                      </a:cubicBezTo>
                      <a:cubicBezTo>
                        <a:pt x="580" y="298"/>
                        <a:pt x="581" y="292"/>
                        <a:pt x="584" y="291"/>
                      </a:cubicBezTo>
                      <a:cubicBezTo>
                        <a:pt x="587" y="290"/>
                        <a:pt x="591" y="292"/>
                        <a:pt x="595" y="291"/>
                      </a:cubicBezTo>
                      <a:cubicBezTo>
                        <a:pt x="597" y="291"/>
                        <a:pt x="597" y="290"/>
                        <a:pt x="600" y="289"/>
                      </a:cubicBezTo>
                      <a:cubicBezTo>
                        <a:pt x="605" y="289"/>
                        <a:pt x="610" y="291"/>
                        <a:pt x="612" y="293"/>
                      </a:cubicBezTo>
                      <a:cubicBezTo>
                        <a:pt x="610" y="294"/>
                        <a:pt x="608" y="293"/>
                        <a:pt x="608" y="295"/>
                      </a:cubicBezTo>
                      <a:cubicBezTo>
                        <a:pt x="609" y="294"/>
                        <a:pt x="610" y="297"/>
                        <a:pt x="610" y="297"/>
                      </a:cubicBezTo>
                      <a:cubicBezTo>
                        <a:pt x="611" y="297"/>
                        <a:pt x="612" y="295"/>
                        <a:pt x="612" y="295"/>
                      </a:cubicBezTo>
                      <a:cubicBezTo>
                        <a:pt x="619" y="296"/>
                        <a:pt x="616" y="296"/>
                        <a:pt x="621" y="293"/>
                      </a:cubicBezTo>
                      <a:cubicBezTo>
                        <a:pt x="627" y="290"/>
                        <a:pt x="630" y="295"/>
                        <a:pt x="634" y="291"/>
                      </a:cubicBezTo>
                      <a:cubicBezTo>
                        <a:pt x="629" y="290"/>
                        <a:pt x="635" y="283"/>
                        <a:pt x="630" y="288"/>
                      </a:cubicBezTo>
                      <a:cubicBezTo>
                        <a:pt x="627" y="291"/>
                        <a:pt x="626" y="280"/>
                        <a:pt x="626" y="280"/>
                      </a:cubicBezTo>
                      <a:cubicBezTo>
                        <a:pt x="626" y="279"/>
                        <a:pt x="621" y="280"/>
                        <a:pt x="623" y="276"/>
                      </a:cubicBezTo>
                      <a:cubicBezTo>
                        <a:pt x="620" y="276"/>
                        <a:pt x="616" y="276"/>
                        <a:pt x="613" y="276"/>
                      </a:cubicBezTo>
                      <a:cubicBezTo>
                        <a:pt x="614" y="274"/>
                        <a:pt x="616" y="273"/>
                        <a:pt x="613" y="271"/>
                      </a:cubicBezTo>
                      <a:cubicBezTo>
                        <a:pt x="607" y="273"/>
                        <a:pt x="609" y="271"/>
                        <a:pt x="602" y="271"/>
                      </a:cubicBezTo>
                      <a:cubicBezTo>
                        <a:pt x="601" y="273"/>
                        <a:pt x="600" y="274"/>
                        <a:pt x="602" y="276"/>
                      </a:cubicBezTo>
                      <a:close/>
                      <a:moveTo>
                        <a:pt x="653" y="323"/>
                      </a:moveTo>
                      <a:cubicBezTo>
                        <a:pt x="651" y="323"/>
                        <a:pt x="650" y="323"/>
                        <a:pt x="651" y="321"/>
                      </a:cubicBezTo>
                      <a:cubicBezTo>
                        <a:pt x="659" y="323"/>
                        <a:pt x="651" y="309"/>
                        <a:pt x="658" y="310"/>
                      </a:cubicBezTo>
                      <a:cubicBezTo>
                        <a:pt x="662" y="314"/>
                        <a:pt x="663" y="309"/>
                        <a:pt x="669" y="310"/>
                      </a:cubicBezTo>
                      <a:cubicBezTo>
                        <a:pt x="666" y="299"/>
                        <a:pt x="653" y="297"/>
                        <a:pt x="641" y="299"/>
                      </a:cubicBezTo>
                      <a:cubicBezTo>
                        <a:pt x="640" y="298"/>
                        <a:pt x="639" y="297"/>
                        <a:pt x="639" y="295"/>
                      </a:cubicBezTo>
                      <a:cubicBezTo>
                        <a:pt x="635" y="294"/>
                        <a:pt x="634" y="299"/>
                        <a:pt x="630" y="299"/>
                      </a:cubicBezTo>
                      <a:cubicBezTo>
                        <a:pt x="628" y="299"/>
                        <a:pt x="627" y="296"/>
                        <a:pt x="625" y="297"/>
                      </a:cubicBezTo>
                      <a:cubicBezTo>
                        <a:pt x="622" y="298"/>
                        <a:pt x="621" y="300"/>
                        <a:pt x="619" y="301"/>
                      </a:cubicBezTo>
                      <a:cubicBezTo>
                        <a:pt x="616" y="302"/>
                        <a:pt x="614" y="301"/>
                        <a:pt x="612" y="302"/>
                      </a:cubicBezTo>
                      <a:cubicBezTo>
                        <a:pt x="612" y="306"/>
                        <a:pt x="610" y="307"/>
                        <a:pt x="608" y="308"/>
                      </a:cubicBezTo>
                      <a:cubicBezTo>
                        <a:pt x="608" y="323"/>
                        <a:pt x="605" y="324"/>
                        <a:pt x="606" y="340"/>
                      </a:cubicBezTo>
                      <a:cubicBezTo>
                        <a:pt x="613" y="342"/>
                        <a:pt x="609" y="335"/>
                        <a:pt x="615" y="336"/>
                      </a:cubicBezTo>
                      <a:cubicBezTo>
                        <a:pt x="615" y="333"/>
                        <a:pt x="616" y="330"/>
                        <a:pt x="617" y="329"/>
                      </a:cubicBezTo>
                      <a:cubicBezTo>
                        <a:pt x="620" y="324"/>
                        <a:pt x="618" y="319"/>
                        <a:pt x="619" y="314"/>
                      </a:cubicBezTo>
                      <a:cubicBezTo>
                        <a:pt x="619" y="313"/>
                        <a:pt x="622" y="311"/>
                        <a:pt x="623" y="310"/>
                      </a:cubicBezTo>
                      <a:cubicBezTo>
                        <a:pt x="624" y="308"/>
                        <a:pt x="622" y="304"/>
                        <a:pt x="625" y="304"/>
                      </a:cubicBezTo>
                      <a:cubicBezTo>
                        <a:pt x="628" y="304"/>
                        <a:pt x="630" y="304"/>
                        <a:pt x="632" y="302"/>
                      </a:cubicBezTo>
                      <a:cubicBezTo>
                        <a:pt x="629" y="309"/>
                        <a:pt x="638" y="304"/>
                        <a:pt x="638" y="308"/>
                      </a:cubicBezTo>
                      <a:cubicBezTo>
                        <a:pt x="639" y="314"/>
                        <a:pt x="639" y="312"/>
                        <a:pt x="638" y="317"/>
                      </a:cubicBezTo>
                      <a:cubicBezTo>
                        <a:pt x="639" y="318"/>
                        <a:pt x="641" y="317"/>
                        <a:pt x="641" y="319"/>
                      </a:cubicBezTo>
                      <a:cubicBezTo>
                        <a:pt x="640" y="320"/>
                        <a:pt x="638" y="319"/>
                        <a:pt x="638" y="321"/>
                      </a:cubicBezTo>
                      <a:cubicBezTo>
                        <a:pt x="644" y="319"/>
                        <a:pt x="650" y="327"/>
                        <a:pt x="653" y="323"/>
                      </a:cubicBezTo>
                      <a:close/>
                      <a:moveTo>
                        <a:pt x="686" y="315"/>
                      </a:moveTo>
                      <a:cubicBezTo>
                        <a:pt x="686" y="315"/>
                        <a:pt x="686" y="319"/>
                        <a:pt x="686" y="319"/>
                      </a:cubicBezTo>
                      <a:cubicBezTo>
                        <a:pt x="683" y="322"/>
                        <a:pt x="675" y="314"/>
                        <a:pt x="671" y="317"/>
                      </a:cubicBezTo>
                      <a:cubicBezTo>
                        <a:pt x="672" y="321"/>
                        <a:pt x="669" y="321"/>
                        <a:pt x="667" y="323"/>
                      </a:cubicBezTo>
                      <a:cubicBezTo>
                        <a:pt x="672" y="328"/>
                        <a:pt x="673" y="325"/>
                        <a:pt x="679" y="325"/>
                      </a:cubicBezTo>
                      <a:cubicBezTo>
                        <a:pt x="683" y="325"/>
                        <a:pt x="689" y="326"/>
                        <a:pt x="692" y="323"/>
                      </a:cubicBezTo>
                      <a:cubicBezTo>
                        <a:pt x="691" y="323"/>
                        <a:pt x="690" y="321"/>
                        <a:pt x="692" y="321"/>
                      </a:cubicBezTo>
                      <a:cubicBezTo>
                        <a:pt x="693" y="321"/>
                        <a:pt x="695" y="321"/>
                        <a:pt x="695" y="319"/>
                      </a:cubicBezTo>
                      <a:cubicBezTo>
                        <a:pt x="691" y="319"/>
                        <a:pt x="689" y="316"/>
                        <a:pt x="686" y="315"/>
                      </a:cubicBezTo>
                      <a:close/>
                      <a:moveTo>
                        <a:pt x="660" y="330"/>
                      </a:moveTo>
                      <a:cubicBezTo>
                        <a:pt x="659" y="330"/>
                        <a:pt x="659" y="327"/>
                        <a:pt x="656" y="329"/>
                      </a:cubicBezTo>
                      <a:cubicBezTo>
                        <a:pt x="656" y="329"/>
                        <a:pt x="657" y="332"/>
                        <a:pt x="656" y="332"/>
                      </a:cubicBezTo>
                      <a:cubicBezTo>
                        <a:pt x="653" y="332"/>
                        <a:pt x="650" y="332"/>
                        <a:pt x="647" y="332"/>
                      </a:cubicBezTo>
                      <a:cubicBezTo>
                        <a:pt x="650" y="339"/>
                        <a:pt x="641" y="333"/>
                        <a:pt x="641" y="338"/>
                      </a:cubicBezTo>
                      <a:cubicBezTo>
                        <a:pt x="643" y="338"/>
                        <a:pt x="645" y="338"/>
                        <a:pt x="647" y="338"/>
                      </a:cubicBezTo>
                      <a:cubicBezTo>
                        <a:pt x="647" y="340"/>
                        <a:pt x="645" y="340"/>
                        <a:pt x="645" y="342"/>
                      </a:cubicBezTo>
                      <a:cubicBezTo>
                        <a:pt x="650" y="343"/>
                        <a:pt x="649" y="338"/>
                        <a:pt x="653" y="338"/>
                      </a:cubicBezTo>
                      <a:cubicBezTo>
                        <a:pt x="655" y="339"/>
                        <a:pt x="658" y="340"/>
                        <a:pt x="662" y="340"/>
                      </a:cubicBezTo>
                      <a:cubicBezTo>
                        <a:pt x="661" y="332"/>
                        <a:pt x="674" y="338"/>
                        <a:pt x="671" y="329"/>
                      </a:cubicBezTo>
                      <a:cubicBezTo>
                        <a:pt x="665" y="327"/>
                        <a:pt x="662" y="331"/>
                        <a:pt x="660" y="3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1" name="iş1iḋê">
                  <a:extLst>
                    <a:ext uri="{FF2B5EF4-FFF2-40B4-BE49-F238E27FC236}">
                      <a16:creationId xmlns:a16="http://schemas.microsoft.com/office/drawing/2014/main" id="{25D73EEB-0BDD-4214-B756-8FCEBFCC947F}"/>
                    </a:ext>
                  </a:extLst>
                </p:cNvPr>
                <p:cNvSpPr/>
                <p:nvPr/>
              </p:nvSpPr>
              <p:spPr bwMode="auto">
                <a:xfrm>
                  <a:off x="5559320" y="1164304"/>
                  <a:ext cx="126070" cy="191908"/>
                </a:xfrm>
                <a:custGeom>
                  <a:avLst/>
                  <a:gdLst>
                    <a:gd name="T0" fmla="*/ 16 w 60"/>
                    <a:gd name="T1" fmla="*/ 9 h 92"/>
                    <a:gd name="T2" fmla="*/ 30 w 60"/>
                    <a:gd name="T3" fmla="*/ 7 h 92"/>
                    <a:gd name="T4" fmla="*/ 31 w 60"/>
                    <a:gd name="T5" fmla="*/ 19 h 92"/>
                    <a:gd name="T6" fmla="*/ 22 w 60"/>
                    <a:gd name="T7" fmla="*/ 24 h 92"/>
                    <a:gd name="T8" fmla="*/ 33 w 60"/>
                    <a:gd name="T9" fmla="*/ 30 h 92"/>
                    <a:gd name="T10" fmla="*/ 39 w 60"/>
                    <a:gd name="T11" fmla="*/ 43 h 92"/>
                    <a:gd name="T12" fmla="*/ 43 w 60"/>
                    <a:gd name="T13" fmla="*/ 47 h 92"/>
                    <a:gd name="T14" fmla="*/ 50 w 60"/>
                    <a:gd name="T15" fmla="*/ 50 h 92"/>
                    <a:gd name="T16" fmla="*/ 46 w 60"/>
                    <a:gd name="T17" fmla="*/ 58 h 92"/>
                    <a:gd name="T18" fmla="*/ 58 w 60"/>
                    <a:gd name="T19" fmla="*/ 60 h 92"/>
                    <a:gd name="T20" fmla="*/ 58 w 60"/>
                    <a:gd name="T21" fmla="*/ 71 h 92"/>
                    <a:gd name="T22" fmla="*/ 54 w 60"/>
                    <a:gd name="T23" fmla="*/ 71 h 92"/>
                    <a:gd name="T24" fmla="*/ 58 w 60"/>
                    <a:gd name="T25" fmla="*/ 73 h 92"/>
                    <a:gd name="T26" fmla="*/ 54 w 60"/>
                    <a:gd name="T27" fmla="*/ 78 h 92"/>
                    <a:gd name="T28" fmla="*/ 48 w 60"/>
                    <a:gd name="T29" fmla="*/ 82 h 92"/>
                    <a:gd name="T30" fmla="*/ 30 w 60"/>
                    <a:gd name="T31" fmla="*/ 80 h 92"/>
                    <a:gd name="T32" fmla="*/ 22 w 60"/>
                    <a:gd name="T33" fmla="*/ 82 h 92"/>
                    <a:gd name="T34" fmla="*/ 9 w 60"/>
                    <a:gd name="T35" fmla="*/ 82 h 92"/>
                    <a:gd name="T36" fmla="*/ 13 w 60"/>
                    <a:gd name="T37" fmla="*/ 80 h 92"/>
                    <a:gd name="T38" fmla="*/ 15 w 60"/>
                    <a:gd name="T39" fmla="*/ 82 h 92"/>
                    <a:gd name="T40" fmla="*/ 16 w 60"/>
                    <a:gd name="T41" fmla="*/ 78 h 92"/>
                    <a:gd name="T42" fmla="*/ 28 w 60"/>
                    <a:gd name="T43" fmla="*/ 76 h 92"/>
                    <a:gd name="T44" fmla="*/ 13 w 60"/>
                    <a:gd name="T45" fmla="*/ 71 h 92"/>
                    <a:gd name="T46" fmla="*/ 13 w 60"/>
                    <a:gd name="T47" fmla="*/ 60 h 92"/>
                    <a:gd name="T48" fmla="*/ 16 w 60"/>
                    <a:gd name="T49" fmla="*/ 58 h 92"/>
                    <a:gd name="T50" fmla="*/ 24 w 60"/>
                    <a:gd name="T51" fmla="*/ 58 h 92"/>
                    <a:gd name="T52" fmla="*/ 26 w 60"/>
                    <a:gd name="T53" fmla="*/ 47 h 92"/>
                    <a:gd name="T54" fmla="*/ 20 w 60"/>
                    <a:gd name="T55" fmla="*/ 39 h 92"/>
                    <a:gd name="T56" fmla="*/ 13 w 60"/>
                    <a:gd name="T57" fmla="*/ 41 h 92"/>
                    <a:gd name="T58" fmla="*/ 13 w 60"/>
                    <a:gd name="T59" fmla="*/ 32 h 92"/>
                    <a:gd name="T60" fmla="*/ 5 w 60"/>
                    <a:gd name="T61" fmla="*/ 28 h 92"/>
                    <a:gd name="T62" fmla="*/ 0 w 60"/>
                    <a:gd name="T63" fmla="*/ 9 h 92"/>
                    <a:gd name="T64" fmla="*/ 9 w 60"/>
                    <a:gd name="T65" fmla="*/ 0 h 92"/>
                    <a:gd name="T66" fmla="*/ 26 w 60"/>
                    <a:gd name="T67" fmla="*/ 0 h 92"/>
                    <a:gd name="T68" fmla="*/ 16 w 60"/>
                    <a:gd name="T69" fmla="*/ 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92">
                      <a:moveTo>
                        <a:pt x="16" y="9"/>
                      </a:moveTo>
                      <a:cubicBezTo>
                        <a:pt x="18" y="13"/>
                        <a:pt x="26" y="7"/>
                        <a:pt x="30" y="7"/>
                      </a:cubicBezTo>
                      <a:cubicBezTo>
                        <a:pt x="32" y="10"/>
                        <a:pt x="32" y="14"/>
                        <a:pt x="31" y="19"/>
                      </a:cubicBezTo>
                      <a:cubicBezTo>
                        <a:pt x="27" y="19"/>
                        <a:pt x="23" y="21"/>
                        <a:pt x="22" y="24"/>
                      </a:cubicBezTo>
                      <a:cubicBezTo>
                        <a:pt x="24" y="28"/>
                        <a:pt x="28" y="30"/>
                        <a:pt x="33" y="30"/>
                      </a:cubicBezTo>
                      <a:cubicBezTo>
                        <a:pt x="33" y="37"/>
                        <a:pt x="41" y="35"/>
                        <a:pt x="39" y="43"/>
                      </a:cubicBezTo>
                      <a:cubicBezTo>
                        <a:pt x="39" y="45"/>
                        <a:pt x="43" y="44"/>
                        <a:pt x="43" y="47"/>
                      </a:cubicBezTo>
                      <a:cubicBezTo>
                        <a:pt x="43" y="50"/>
                        <a:pt x="49" y="48"/>
                        <a:pt x="50" y="50"/>
                      </a:cubicBezTo>
                      <a:cubicBezTo>
                        <a:pt x="49" y="53"/>
                        <a:pt x="47" y="55"/>
                        <a:pt x="46" y="58"/>
                      </a:cubicBezTo>
                      <a:cubicBezTo>
                        <a:pt x="51" y="57"/>
                        <a:pt x="55" y="57"/>
                        <a:pt x="58" y="60"/>
                      </a:cubicBezTo>
                      <a:cubicBezTo>
                        <a:pt x="55" y="62"/>
                        <a:pt x="60" y="68"/>
                        <a:pt x="58" y="71"/>
                      </a:cubicBezTo>
                      <a:cubicBezTo>
                        <a:pt x="57" y="71"/>
                        <a:pt x="54" y="70"/>
                        <a:pt x="54" y="71"/>
                      </a:cubicBezTo>
                      <a:cubicBezTo>
                        <a:pt x="53" y="73"/>
                        <a:pt x="56" y="72"/>
                        <a:pt x="58" y="73"/>
                      </a:cubicBezTo>
                      <a:cubicBezTo>
                        <a:pt x="56" y="75"/>
                        <a:pt x="53" y="75"/>
                        <a:pt x="54" y="78"/>
                      </a:cubicBezTo>
                      <a:cubicBezTo>
                        <a:pt x="51" y="79"/>
                        <a:pt x="51" y="82"/>
                        <a:pt x="48" y="82"/>
                      </a:cubicBezTo>
                      <a:cubicBezTo>
                        <a:pt x="42" y="81"/>
                        <a:pt x="38" y="79"/>
                        <a:pt x="30" y="80"/>
                      </a:cubicBezTo>
                      <a:cubicBezTo>
                        <a:pt x="26" y="84"/>
                        <a:pt x="28" y="84"/>
                        <a:pt x="22" y="82"/>
                      </a:cubicBezTo>
                      <a:cubicBezTo>
                        <a:pt x="20" y="86"/>
                        <a:pt x="9" y="92"/>
                        <a:pt x="9" y="82"/>
                      </a:cubicBezTo>
                      <a:cubicBezTo>
                        <a:pt x="11" y="83"/>
                        <a:pt x="12" y="80"/>
                        <a:pt x="13" y="80"/>
                      </a:cubicBezTo>
                      <a:cubicBezTo>
                        <a:pt x="14" y="80"/>
                        <a:pt x="15" y="82"/>
                        <a:pt x="15" y="82"/>
                      </a:cubicBezTo>
                      <a:cubicBezTo>
                        <a:pt x="17" y="81"/>
                        <a:pt x="15" y="79"/>
                        <a:pt x="16" y="78"/>
                      </a:cubicBezTo>
                      <a:cubicBezTo>
                        <a:pt x="19" y="76"/>
                        <a:pt x="23" y="78"/>
                        <a:pt x="28" y="76"/>
                      </a:cubicBezTo>
                      <a:cubicBezTo>
                        <a:pt x="26" y="67"/>
                        <a:pt x="18" y="74"/>
                        <a:pt x="13" y="71"/>
                      </a:cubicBezTo>
                      <a:cubicBezTo>
                        <a:pt x="13" y="67"/>
                        <a:pt x="13" y="63"/>
                        <a:pt x="13" y="60"/>
                      </a:cubicBezTo>
                      <a:cubicBezTo>
                        <a:pt x="16" y="60"/>
                        <a:pt x="20" y="58"/>
                        <a:pt x="16" y="58"/>
                      </a:cubicBezTo>
                      <a:cubicBezTo>
                        <a:pt x="18" y="52"/>
                        <a:pt x="21" y="60"/>
                        <a:pt x="24" y="58"/>
                      </a:cubicBezTo>
                      <a:cubicBezTo>
                        <a:pt x="28" y="58"/>
                        <a:pt x="21" y="50"/>
                        <a:pt x="26" y="47"/>
                      </a:cubicBezTo>
                      <a:cubicBezTo>
                        <a:pt x="25" y="43"/>
                        <a:pt x="19" y="45"/>
                        <a:pt x="20" y="39"/>
                      </a:cubicBezTo>
                      <a:cubicBezTo>
                        <a:pt x="19" y="41"/>
                        <a:pt x="16" y="41"/>
                        <a:pt x="13" y="41"/>
                      </a:cubicBezTo>
                      <a:cubicBezTo>
                        <a:pt x="13" y="38"/>
                        <a:pt x="13" y="35"/>
                        <a:pt x="13" y="32"/>
                      </a:cubicBezTo>
                      <a:cubicBezTo>
                        <a:pt x="13" y="28"/>
                        <a:pt x="6" y="31"/>
                        <a:pt x="5" y="28"/>
                      </a:cubicBezTo>
                      <a:cubicBezTo>
                        <a:pt x="9" y="21"/>
                        <a:pt x="8" y="10"/>
                        <a:pt x="0" y="9"/>
                      </a:cubicBezTo>
                      <a:cubicBezTo>
                        <a:pt x="3" y="6"/>
                        <a:pt x="8" y="5"/>
                        <a:pt x="9" y="0"/>
                      </a:cubicBezTo>
                      <a:cubicBezTo>
                        <a:pt x="15" y="0"/>
                        <a:pt x="20" y="0"/>
                        <a:pt x="26" y="0"/>
                      </a:cubicBezTo>
                      <a:cubicBezTo>
                        <a:pt x="22" y="3"/>
                        <a:pt x="19" y="6"/>
                        <a:pt x="16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2" name="iṡļîḋè">
                  <a:extLst>
                    <a:ext uri="{FF2B5EF4-FFF2-40B4-BE49-F238E27FC236}">
                      <a16:creationId xmlns:a16="http://schemas.microsoft.com/office/drawing/2014/main" id="{F6B471CA-1412-4D3F-99B2-B6974E498832}"/>
                    </a:ext>
                  </a:extLst>
                </p:cNvPr>
                <p:cNvSpPr/>
                <p:nvPr/>
              </p:nvSpPr>
              <p:spPr bwMode="auto">
                <a:xfrm>
                  <a:off x="3213011" y="1172709"/>
                  <a:ext cx="35020" cy="28016"/>
                </a:xfrm>
                <a:custGeom>
                  <a:avLst/>
                  <a:gdLst>
                    <a:gd name="T0" fmla="*/ 15 w 17"/>
                    <a:gd name="T1" fmla="*/ 2 h 13"/>
                    <a:gd name="T2" fmla="*/ 17 w 17"/>
                    <a:gd name="T3" fmla="*/ 9 h 13"/>
                    <a:gd name="T4" fmla="*/ 8 w 17"/>
                    <a:gd name="T5" fmla="*/ 13 h 13"/>
                    <a:gd name="T6" fmla="*/ 8 w 17"/>
                    <a:gd name="T7" fmla="*/ 9 h 13"/>
                    <a:gd name="T8" fmla="*/ 4 w 17"/>
                    <a:gd name="T9" fmla="*/ 11 h 13"/>
                    <a:gd name="T10" fmla="*/ 6 w 17"/>
                    <a:gd name="T11" fmla="*/ 9 h 13"/>
                    <a:gd name="T12" fmla="*/ 15 w 17"/>
                    <a:gd name="T13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13">
                      <a:moveTo>
                        <a:pt x="15" y="2"/>
                      </a:moveTo>
                      <a:cubicBezTo>
                        <a:pt x="13" y="4"/>
                        <a:pt x="14" y="7"/>
                        <a:pt x="17" y="9"/>
                      </a:cubicBezTo>
                      <a:cubicBezTo>
                        <a:pt x="15" y="12"/>
                        <a:pt x="11" y="12"/>
                        <a:pt x="8" y="13"/>
                      </a:cubicBezTo>
                      <a:cubicBezTo>
                        <a:pt x="8" y="12"/>
                        <a:pt x="8" y="10"/>
                        <a:pt x="8" y="9"/>
                      </a:cubicBezTo>
                      <a:cubicBezTo>
                        <a:pt x="6" y="9"/>
                        <a:pt x="6" y="11"/>
                        <a:pt x="4" y="11"/>
                      </a:cubicBezTo>
                      <a:cubicBezTo>
                        <a:pt x="0" y="9"/>
                        <a:pt x="5" y="10"/>
                        <a:pt x="6" y="9"/>
                      </a:cubicBezTo>
                      <a:cubicBezTo>
                        <a:pt x="7" y="8"/>
                        <a:pt x="11" y="0"/>
                        <a:pt x="15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3" name="iṧḻiḋè">
                  <a:extLst>
                    <a:ext uri="{FF2B5EF4-FFF2-40B4-BE49-F238E27FC236}">
                      <a16:creationId xmlns:a16="http://schemas.microsoft.com/office/drawing/2014/main" id="{B7494585-9E9B-4C6C-B280-12892FB858E4}"/>
                    </a:ext>
                  </a:extLst>
                </p:cNvPr>
                <p:cNvSpPr/>
                <p:nvPr/>
              </p:nvSpPr>
              <p:spPr bwMode="auto">
                <a:xfrm>
                  <a:off x="7869210" y="1485084"/>
                  <a:ext cx="21012" cy="22413"/>
                </a:xfrm>
                <a:custGeom>
                  <a:avLst/>
                  <a:gdLst>
                    <a:gd name="T0" fmla="*/ 3 w 10"/>
                    <a:gd name="T1" fmla="*/ 3 h 11"/>
                    <a:gd name="T2" fmla="*/ 10 w 10"/>
                    <a:gd name="T3" fmla="*/ 1 h 11"/>
                    <a:gd name="T4" fmla="*/ 1 w 10"/>
                    <a:gd name="T5" fmla="*/ 10 h 11"/>
                    <a:gd name="T6" fmla="*/ 3 w 10"/>
                    <a:gd name="T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1">
                      <a:moveTo>
                        <a:pt x="3" y="3"/>
                      </a:moveTo>
                      <a:cubicBezTo>
                        <a:pt x="4" y="0"/>
                        <a:pt x="5" y="3"/>
                        <a:pt x="10" y="1"/>
                      </a:cubicBezTo>
                      <a:cubicBezTo>
                        <a:pt x="8" y="5"/>
                        <a:pt x="8" y="11"/>
                        <a:pt x="1" y="10"/>
                      </a:cubicBezTo>
                      <a:cubicBezTo>
                        <a:pt x="0" y="8"/>
                        <a:pt x="8" y="4"/>
                        <a:pt x="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4" name="ïṡlíďe">
                  <a:extLst>
                    <a:ext uri="{FF2B5EF4-FFF2-40B4-BE49-F238E27FC236}">
                      <a16:creationId xmlns:a16="http://schemas.microsoft.com/office/drawing/2014/main" id="{49738188-B8B5-47DC-951C-91F143C06F0F}"/>
                    </a:ext>
                  </a:extLst>
                </p:cNvPr>
                <p:cNvSpPr/>
                <p:nvPr/>
              </p:nvSpPr>
              <p:spPr bwMode="auto">
                <a:xfrm>
                  <a:off x="7380337" y="2095825"/>
                  <a:ext cx="155487" cy="180701"/>
                </a:xfrm>
                <a:custGeom>
                  <a:avLst/>
                  <a:gdLst>
                    <a:gd name="T0" fmla="*/ 60 w 75"/>
                    <a:gd name="T1" fmla="*/ 5 h 87"/>
                    <a:gd name="T2" fmla="*/ 68 w 75"/>
                    <a:gd name="T3" fmla="*/ 9 h 87"/>
                    <a:gd name="T4" fmla="*/ 75 w 75"/>
                    <a:gd name="T5" fmla="*/ 14 h 87"/>
                    <a:gd name="T6" fmla="*/ 68 w 75"/>
                    <a:gd name="T7" fmla="*/ 24 h 87"/>
                    <a:gd name="T8" fmla="*/ 66 w 75"/>
                    <a:gd name="T9" fmla="*/ 35 h 87"/>
                    <a:gd name="T10" fmla="*/ 70 w 75"/>
                    <a:gd name="T11" fmla="*/ 38 h 87"/>
                    <a:gd name="T12" fmla="*/ 70 w 75"/>
                    <a:gd name="T13" fmla="*/ 44 h 87"/>
                    <a:gd name="T14" fmla="*/ 73 w 75"/>
                    <a:gd name="T15" fmla="*/ 48 h 87"/>
                    <a:gd name="T16" fmla="*/ 64 w 75"/>
                    <a:gd name="T17" fmla="*/ 53 h 87"/>
                    <a:gd name="T18" fmla="*/ 62 w 75"/>
                    <a:gd name="T19" fmla="*/ 63 h 87"/>
                    <a:gd name="T20" fmla="*/ 62 w 75"/>
                    <a:gd name="T21" fmla="*/ 66 h 87"/>
                    <a:gd name="T22" fmla="*/ 59 w 75"/>
                    <a:gd name="T23" fmla="*/ 66 h 87"/>
                    <a:gd name="T24" fmla="*/ 53 w 75"/>
                    <a:gd name="T25" fmla="*/ 74 h 87"/>
                    <a:gd name="T26" fmla="*/ 53 w 75"/>
                    <a:gd name="T27" fmla="*/ 85 h 87"/>
                    <a:gd name="T28" fmla="*/ 34 w 75"/>
                    <a:gd name="T29" fmla="*/ 79 h 87"/>
                    <a:gd name="T30" fmla="*/ 32 w 75"/>
                    <a:gd name="T31" fmla="*/ 83 h 87"/>
                    <a:gd name="T32" fmla="*/ 27 w 75"/>
                    <a:gd name="T33" fmla="*/ 79 h 87"/>
                    <a:gd name="T34" fmla="*/ 18 w 75"/>
                    <a:gd name="T35" fmla="*/ 79 h 87"/>
                    <a:gd name="T36" fmla="*/ 12 w 75"/>
                    <a:gd name="T37" fmla="*/ 78 h 87"/>
                    <a:gd name="T38" fmla="*/ 4 w 75"/>
                    <a:gd name="T39" fmla="*/ 66 h 87"/>
                    <a:gd name="T40" fmla="*/ 6 w 75"/>
                    <a:gd name="T41" fmla="*/ 59 h 87"/>
                    <a:gd name="T42" fmla="*/ 4 w 75"/>
                    <a:gd name="T43" fmla="*/ 59 h 87"/>
                    <a:gd name="T44" fmla="*/ 3 w 75"/>
                    <a:gd name="T45" fmla="*/ 44 h 87"/>
                    <a:gd name="T46" fmla="*/ 21 w 75"/>
                    <a:gd name="T47" fmla="*/ 42 h 87"/>
                    <a:gd name="T48" fmla="*/ 21 w 75"/>
                    <a:gd name="T49" fmla="*/ 37 h 87"/>
                    <a:gd name="T50" fmla="*/ 34 w 75"/>
                    <a:gd name="T51" fmla="*/ 27 h 87"/>
                    <a:gd name="T52" fmla="*/ 46 w 75"/>
                    <a:gd name="T53" fmla="*/ 24 h 87"/>
                    <a:gd name="T54" fmla="*/ 47 w 75"/>
                    <a:gd name="T55" fmla="*/ 18 h 87"/>
                    <a:gd name="T56" fmla="*/ 51 w 75"/>
                    <a:gd name="T57" fmla="*/ 18 h 87"/>
                    <a:gd name="T58" fmla="*/ 55 w 75"/>
                    <a:gd name="T59" fmla="*/ 14 h 87"/>
                    <a:gd name="T60" fmla="*/ 62 w 75"/>
                    <a:gd name="T61" fmla="*/ 5 h 87"/>
                    <a:gd name="T62" fmla="*/ 60 w 75"/>
                    <a:gd name="T63" fmla="*/ 5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5" h="87">
                      <a:moveTo>
                        <a:pt x="60" y="5"/>
                      </a:moveTo>
                      <a:cubicBezTo>
                        <a:pt x="62" y="0"/>
                        <a:pt x="65" y="9"/>
                        <a:pt x="68" y="9"/>
                      </a:cubicBezTo>
                      <a:cubicBezTo>
                        <a:pt x="70" y="10"/>
                        <a:pt x="72" y="14"/>
                        <a:pt x="75" y="14"/>
                      </a:cubicBezTo>
                      <a:cubicBezTo>
                        <a:pt x="74" y="19"/>
                        <a:pt x="74" y="24"/>
                        <a:pt x="68" y="24"/>
                      </a:cubicBezTo>
                      <a:cubicBezTo>
                        <a:pt x="67" y="27"/>
                        <a:pt x="70" y="35"/>
                        <a:pt x="66" y="35"/>
                      </a:cubicBezTo>
                      <a:cubicBezTo>
                        <a:pt x="66" y="37"/>
                        <a:pt x="69" y="37"/>
                        <a:pt x="70" y="38"/>
                      </a:cubicBezTo>
                      <a:cubicBezTo>
                        <a:pt x="70" y="40"/>
                        <a:pt x="69" y="43"/>
                        <a:pt x="70" y="44"/>
                      </a:cubicBezTo>
                      <a:cubicBezTo>
                        <a:pt x="71" y="46"/>
                        <a:pt x="73" y="46"/>
                        <a:pt x="73" y="48"/>
                      </a:cubicBezTo>
                      <a:cubicBezTo>
                        <a:pt x="73" y="52"/>
                        <a:pt x="67" y="56"/>
                        <a:pt x="64" y="53"/>
                      </a:cubicBezTo>
                      <a:cubicBezTo>
                        <a:pt x="65" y="58"/>
                        <a:pt x="67" y="59"/>
                        <a:pt x="62" y="63"/>
                      </a:cubicBezTo>
                      <a:cubicBezTo>
                        <a:pt x="62" y="63"/>
                        <a:pt x="63" y="66"/>
                        <a:pt x="62" y="66"/>
                      </a:cubicBezTo>
                      <a:cubicBezTo>
                        <a:pt x="62" y="67"/>
                        <a:pt x="59" y="66"/>
                        <a:pt x="59" y="66"/>
                      </a:cubicBezTo>
                      <a:cubicBezTo>
                        <a:pt x="57" y="69"/>
                        <a:pt x="58" y="76"/>
                        <a:pt x="53" y="74"/>
                      </a:cubicBezTo>
                      <a:cubicBezTo>
                        <a:pt x="56" y="77"/>
                        <a:pt x="51" y="79"/>
                        <a:pt x="53" y="85"/>
                      </a:cubicBezTo>
                      <a:cubicBezTo>
                        <a:pt x="43" y="87"/>
                        <a:pt x="41" y="81"/>
                        <a:pt x="34" y="79"/>
                      </a:cubicBezTo>
                      <a:cubicBezTo>
                        <a:pt x="33" y="79"/>
                        <a:pt x="33" y="82"/>
                        <a:pt x="32" y="83"/>
                      </a:cubicBezTo>
                      <a:cubicBezTo>
                        <a:pt x="29" y="85"/>
                        <a:pt x="28" y="80"/>
                        <a:pt x="27" y="79"/>
                      </a:cubicBezTo>
                      <a:cubicBezTo>
                        <a:pt x="24" y="79"/>
                        <a:pt x="20" y="81"/>
                        <a:pt x="18" y="79"/>
                      </a:cubicBezTo>
                      <a:cubicBezTo>
                        <a:pt x="16" y="79"/>
                        <a:pt x="18" y="74"/>
                        <a:pt x="12" y="78"/>
                      </a:cubicBezTo>
                      <a:cubicBezTo>
                        <a:pt x="10" y="73"/>
                        <a:pt x="10" y="67"/>
                        <a:pt x="4" y="66"/>
                      </a:cubicBezTo>
                      <a:cubicBezTo>
                        <a:pt x="4" y="63"/>
                        <a:pt x="7" y="62"/>
                        <a:pt x="6" y="59"/>
                      </a:cubicBezTo>
                      <a:cubicBezTo>
                        <a:pt x="6" y="56"/>
                        <a:pt x="4" y="59"/>
                        <a:pt x="4" y="59"/>
                      </a:cubicBezTo>
                      <a:cubicBezTo>
                        <a:pt x="0" y="56"/>
                        <a:pt x="4" y="51"/>
                        <a:pt x="3" y="44"/>
                      </a:cubicBezTo>
                      <a:cubicBezTo>
                        <a:pt x="10" y="44"/>
                        <a:pt x="16" y="44"/>
                        <a:pt x="21" y="42"/>
                      </a:cubicBezTo>
                      <a:cubicBezTo>
                        <a:pt x="21" y="39"/>
                        <a:pt x="24" y="37"/>
                        <a:pt x="21" y="37"/>
                      </a:cubicBezTo>
                      <a:cubicBezTo>
                        <a:pt x="23" y="34"/>
                        <a:pt x="38" y="30"/>
                        <a:pt x="34" y="27"/>
                      </a:cubicBezTo>
                      <a:cubicBezTo>
                        <a:pt x="37" y="25"/>
                        <a:pt x="41" y="24"/>
                        <a:pt x="46" y="24"/>
                      </a:cubicBezTo>
                      <a:cubicBezTo>
                        <a:pt x="48" y="24"/>
                        <a:pt x="46" y="20"/>
                        <a:pt x="47" y="18"/>
                      </a:cubicBezTo>
                      <a:cubicBezTo>
                        <a:pt x="48" y="17"/>
                        <a:pt x="51" y="18"/>
                        <a:pt x="51" y="18"/>
                      </a:cubicBezTo>
                      <a:cubicBezTo>
                        <a:pt x="52" y="16"/>
                        <a:pt x="51" y="13"/>
                        <a:pt x="55" y="14"/>
                      </a:cubicBezTo>
                      <a:cubicBezTo>
                        <a:pt x="52" y="6"/>
                        <a:pt x="60" y="8"/>
                        <a:pt x="62" y="5"/>
                      </a:cubicBezTo>
                      <a:cubicBezTo>
                        <a:pt x="62" y="5"/>
                        <a:pt x="61" y="5"/>
                        <a:pt x="60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5" name="işļîḑé">
                  <a:extLst>
                    <a:ext uri="{FF2B5EF4-FFF2-40B4-BE49-F238E27FC236}">
                      <a16:creationId xmlns:a16="http://schemas.microsoft.com/office/drawing/2014/main" id="{B359B873-A043-455B-AF3F-7763BC9F6293}"/>
                    </a:ext>
                  </a:extLst>
                </p:cNvPr>
                <p:cNvSpPr/>
                <p:nvPr/>
              </p:nvSpPr>
              <p:spPr bwMode="auto">
                <a:xfrm>
                  <a:off x="7540026" y="2224697"/>
                  <a:ext cx="71440" cy="81245"/>
                </a:xfrm>
                <a:custGeom>
                  <a:avLst/>
                  <a:gdLst>
                    <a:gd name="T0" fmla="*/ 30 w 34"/>
                    <a:gd name="T1" fmla="*/ 1 h 39"/>
                    <a:gd name="T2" fmla="*/ 24 w 34"/>
                    <a:gd name="T3" fmla="*/ 8 h 39"/>
                    <a:gd name="T4" fmla="*/ 23 w 34"/>
                    <a:gd name="T5" fmla="*/ 8 h 39"/>
                    <a:gd name="T6" fmla="*/ 24 w 34"/>
                    <a:gd name="T7" fmla="*/ 14 h 39"/>
                    <a:gd name="T8" fmla="*/ 28 w 34"/>
                    <a:gd name="T9" fmla="*/ 17 h 39"/>
                    <a:gd name="T10" fmla="*/ 30 w 34"/>
                    <a:gd name="T11" fmla="*/ 34 h 39"/>
                    <a:gd name="T12" fmla="*/ 23 w 34"/>
                    <a:gd name="T13" fmla="*/ 34 h 39"/>
                    <a:gd name="T14" fmla="*/ 17 w 34"/>
                    <a:gd name="T15" fmla="*/ 16 h 39"/>
                    <a:gd name="T16" fmla="*/ 10 w 34"/>
                    <a:gd name="T17" fmla="*/ 21 h 39"/>
                    <a:gd name="T18" fmla="*/ 10 w 34"/>
                    <a:gd name="T19" fmla="*/ 32 h 39"/>
                    <a:gd name="T20" fmla="*/ 4 w 34"/>
                    <a:gd name="T21" fmla="*/ 38 h 39"/>
                    <a:gd name="T22" fmla="*/ 2 w 34"/>
                    <a:gd name="T23" fmla="*/ 29 h 39"/>
                    <a:gd name="T24" fmla="*/ 4 w 34"/>
                    <a:gd name="T25" fmla="*/ 27 h 39"/>
                    <a:gd name="T26" fmla="*/ 2 w 34"/>
                    <a:gd name="T27" fmla="*/ 25 h 39"/>
                    <a:gd name="T28" fmla="*/ 4 w 34"/>
                    <a:gd name="T29" fmla="*/ 17 h 39"/>
                    <a:gd name="T30" fmla="*/ 0 w 34"/>
                    <a:gd name="T31" fmla="*/ 14 h 39"/>
                    <a:gd name="T32" fmla="*/ 15 w 34"/>
                    <a:gd name="T33" fmla="*/ 1 h 39"/>
                    <a:gd name="T34" fmla="*/ 30 w 34"/>
                    <a:gd name="T35" fmla="*/ 1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39">
                      <a:moveTo>
                        <a:pt x="30" y="1"/>
                      </a:moveTo>
                      <a:cubicBezTo>
                        <a:pt x="34" y="9"/>
                        <a:pt x="21" y="5"/>
                        <a:pt x="24" y="8"/>
                      </a:cubicBezTo>
                      <a:cubicBezTo>
                        <a:pt x="27" y="11"/>
                        <a:pt x="25" y="9"/>
                        <a:pt x="23" y="8"/>
                      </a:cubicBezTo>
                      <a:cubicBezTo>
                        <a:pt x="23" y="11"/>
                        <a:pt x="23" y="12"/>
                        <a:pt x="24" y="14"/>
                      </a:cubicBezTo>
                      <a:cubicBezTo>
                        <a:pt x="25" y="15"/>
                        <a:pt x="28" y="17"/>
                        <a:pt x="28" y="17"/>
                      </a:cubicBezTo>
                      <a:cubicBezTo>
                        <a:pt x="30" y="22"/>
                        <a:pt x="28" y="28"/>
                        <a:pt x="30" y="34"/>
                      </a:cubicBezTo>
                      <a:cubicBezTo>
                        <a:pt x="28" y="34"/>
                        <a:pt x="25" y="34"/>
                        <a:pt x="23" y="34"/>
                      </a:cubicBezTo>
                      <a:cubicBezTo>
                        <a:pt x="20" y="28"/>
                        <a:pt x="17" y="23"/>
                        <a:pt x="17" y="16"/>
                      </a:cubicBezTo>
                      <a:cubicBezTo>
                        <a:pt x="13" y="16"/>
                        <a:pt x="16" y="23"/>
                        <a:pt x="10" y="21"/>
                      </a:cubicBezTo>
                      <a:cubicBezTo>
                        <a:pt x="10" y="25"/>
                        <a:pt x="10" y="29"/>
                        <a:pt x="10" y="32"/>
                      </a:cubicBezTo>
                      <a:cubicBezTo>
                        <a:pt x="10" y="37"/>
                        <a:pt x="4" y="34"/>
                        <a:pt x="4" y="38"/>
                      </a:cubicBezTo>
                      <a:cubicBezTo>
                        <a:pt x="1" y="39"/>
                        <a:pt x="1" y="32"/>
                        <a:pt x="2" y="29"/>
                      </a:cubicBezTo>
                      <a:cubicBezTo>
                        <a:pt x="2" y="28"/>
                        <a:pt x="4" y="27"/>
                        <a:pt x="4" y="27"/>
                      </a:cubicBezTo>
                      <a:cubicBezTo>
                        <a:pt x="4" y="25"/>
                        <a:pt x="2" y="26"/>
                        <a:pt x="2" y="25"/>
                      </a:cubicBezTo>
                      <a:cubicBezTo>
                        <a:pt x="2" y="24"/>
                        <a:pt x="5" y="20"/>
                        <a:pt x="4" y="17"/>
                      </a:cubicBezTo>
                      <a:cubicBezTo>
                        <a:pt x="5" y="14"/>
                        <a:pt x="2" y="14"/>
                        <a:pt x="0" y="14"/>
                      </a:cubicBezTo>
                      <a:cubicBezTo>
                        <a:pt x="2" y="7"/>
                        <a:pt x="5" y="0"/>
                        <a:pt x="15" y="1"/>
                      </a:cubicBezTo>
                      <a:cubicBezTo>
                        <a:pt x="9" y="7"/>
                        <a:pt x="26" y="1"/>
                        <a:pt x="3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6" name="íŝľíḓè">
                  <a:extLst>
                    <a:ext uri="{FF2B5EF4-FFF2-40B4-BE49-F238E27FC236}">
                      <a16:creationId xmlns:a16="http://schemas.microsoft.com/office/drawing/2014/main" id="{A6FCB804-C62F-4BBB-8B23-14728FA4DC58}"/>
                    </a:ext>
                  </a:extLst>
                </p:cNvPr>
                <p:cNvSpPr/>
                <p:nvPr/>
              </p:nvSpPr>
              <p:spPr bwMode="auto">
                <a:xfrm>
                  <a:off x="7328508" y="2304541"/>
                  <a:ext cx="163892" cy="47627"/>
                </a:xfrm>
                <a:custGeom>
                  <a:avLst/>
                  <a:gdLst>
                    <a:gd name="T0" fmla="*/ 2 w 79"/>
                    <a:gd name="T1" fmla="*/ 7 h 23"/>
                    <a:gd name="T2" fmla="*/ 9 w 79"/>
                    <a:gd name="T3" fmla="*/ 2 h 23"/>
                    <a:gd name="T4" fmla="*/ 13 w 79"/>
                    <a:gd name="T5" fmla="*/ 6 h 23"/>
                    <a:gd name="T6" fmla="*/ 16 w 79"/>
                    <a:gd name="T7" fmla="*/ 7 h 23"/>
                    <a:gd name="T8" fmla="*/ 35 w 79"/>
                    <a:gd name="T9" fmla="*/ 11 h 23"/>
                    <a:gd name="T10" fmla="*/ 54 w 79"/>
                    <a:gd name="T11" fmla="*/ 9 h 23"/>
                    <a:gd name="T12" fmla="*/ 57 w 79"/>
                    <a:gd name="T13" fmla="*/ 13 h 23"/>
                    <a:gd name="T14" fmla="*/ 63 w 79"/>
                    <a:gd name="T15" fmla="*/ 15 h 23"/>
                    <a:gd name="T16" fmla="*/ 72 w 79"/>
                    <a:gd name="T17" fmla="*/ 15 h 23"/>
                    <a:gd name="T18" fmla="*/ 74 w 79"/>
                    <a:gd name="T19" fmla="*/ 20 h 23"/>
                    <a:gd name="T20" fmla="*/ 71 w 79"/>
                    <a:gd name="T21" fmla="*/ 20 h 23"/>
                    <a:gd name="T22" fmla="*/ 33 w 79"/>
                    <a:gd name="T23" fmla="*/ 15 h 23"/>
                    <a:gd name="T24" fmla="*/ 24 w 79"/>
                    <a:gd name="T25" fmla="*/ 15 h 23"/>
                    <a:gd name="T26" fmla="*/ 11 w 79"/>
                    <a:gd name="T27" fmla="*/ 11 h 23"/>
                    <a:gd name="T28" fmla="*/ 2 w 79"/>
                    <a:gd name="T29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23">
                      <a:moveTo>
                        <a:pt x="2" y="7"/>
                      </a:moveTo>
                      <a:cubicBezTo>
                        <a:pt x="0" y="1"/>
                        <a:pt x="8" y="5"/>
                        <a:pt x="9" y="2"/>
                      </a:cubicBezTo>
                      <a:cubicBezTo>
                        <a:pt x="13" y="0"/>
                        <a:pt x="11" y="4"/>
                        <a:pt x="13" y="6"/>
                      </a:cubicBezTo>
                      <a:cubicBezTo>
                        <a:pt x="14" y="6"/>
                        <a:pt x="17" y="5"/>
                        <a:pt x="16" y="7"/>
                      </a:cubicBezTo>
                      <a:cubicBezTo>
                        <a:pt x="25" y="5"/>
                        <a:pt x="28" y="6"/>
                        <a:pt x="35" y="11"/>
                      </a:cubicBezTo>
                      <a:cubicBezTo>
                        <a:pt x="42" y="7"/>
                        <a:pt x="44" y="9"/>
                        <a:pt x="54" y="9"/>
                      </a:cubicBezTo>
                      <a:cubicBezTo>
                        <a:pt x="57" y="9"/>
                        <a:pt x="57" y="11"/>
                        <a:pt x="57" y="13"/>
                      </a:cubicBezTo>
                      <a:cubicBezTo>
                        <a:pt x="60" y="13"/>
                        <a:pt x="63" y="13"/>
                        <a:pt x="63" y="15"/>
                      </a:cubicBezTo>
                      <a:cubicBezTo>
                        <a:pt x="68" y="12"/>
                        <a:pt x="72" y="19"/>
                        <a:pt x="72" y="15"/>
                      </a:cubicBezTo>
                      <a:cubicBezTo>
                        <a:pt x="79" y="15"/>
                        <a:pt x="68" y="21"/>
                        <a:pt x="74" y="20"/>
                      </a:cubicBezTo>
                      <a:cubicBezTo>
                        <a:pt x="73" y="23"/>
                        <a:pt x="73" y="20"/>
                        <a:pt x="71" y="20"/>
                      </a:cubicBezTo>
                      <a:cubicBezTo>
                        <a:pt x="56" y="23"/>
                        <a:pt x="45" y="17"/>
                        <a:pt x="33" y="15"/>
                      </a:cubicBezTo>
                      <a:cubicBezTo>
                        <a:pt x="30" y="14"/>
                        <a:pt x="27" y="15"/>
                        <a:pt x="24" y="15"/>
                      </a:cubicBezTo>
                      <a:cubicBezTo>
                        <a:pt x="19" y="14"/>
                        <a:pt x="15" y="12"/>
                        <a:pt x="11" y="11"/>
                      </a:cubicBezTo>
                      <a:cubicBezTo>
                        <a:pt x="7" y="10"/>
                        <a:pt x="2" y="12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7" name="íṧ1îdé">
                  <a:extLst>
                    <a:ext uri="{FF2B5EF4-FFF2-40B4-BE49-F238E27FC236}">
                      <a16:creationId xmlns:a16="http://schemas.microsoft.com/office/drawing/2014/main" id="{87D75B0A-DC23-4F2C-B23A-703FA1D052A0}"/>
                    </a:ext>
                  </a:extLst>
                </p:cNvPr>
                <p:cNvSpPr/>
                <p:nvPr/>
              </p:nvSpPr>
              <p:spPr bwMode="auto">
                <a:xfrm>
                  <a:off x="7547030" y="2360572"/>
                  <a:ext cx="25214" cy="9806"/>
                </a:xfrm>
                <a:custGeom>
                  <a:avLst/>
                  <a:gdLst>
                    <a:gd name="T0" fmla="*/ 5 w 12"/>
                    <a:gd name="T1" fmla="*/ 3 h 5"/>
                    <a:gd name="T2" fmla="*/ 12 w 12"/>
                    <a:gd name="T3" fmla="*/ 5 h 5"/>
                    <a:gd name="T4" fmla="*/ 5 w 12"/>
                    <a:gd name="T5" fmla="*/ 5 h 5"/>
                    <a:gd name="T6" fmla="*/ 3 w 12"/>
                    <a:gd name="T7" fmla="*/ 3 h 5"/>
                    <a:gd name="T8" fmla="*/ 5 w 12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5">
                      <a:moveTo>
                        <a:pt x="5" y="3"/>
                      </a:moveTo>
                      <a:cubicBezTo>
                        <a:pt x="8" y="3"/>
                        <a:pt x="12" y="2"/>
                        <a:pt x="12" y="5"/>
                      </a:cubicBezTo>
                      <a:cubicBezTo>
                        <a:pt x="10" y="5"/>
                        <a:pt x="7" y="5"/>
                        <a:pt x="5" y="5"/>
                      </a:cubicBezTo>
                      <a:cubicBezTo>
                        <a:pt x="5" y="3"/>
                        <a:pt x="3" y="3"/>
                        <a:pt x="3" y="3"/>
                      </a:cubicBezTo>
                      <a:cubicBezTo>
                        <a:pt x="0" y="0"/>
                        <a:pt x="4" y="1"/>
                        <a:pt x="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8" name="iṧļiḓê">
                  <a:extLst>
                    <a:ext uri="{FF2B5EF4-FFF2-40B4-BE49-F238E27FC236}">
                      <a16:creationId xmlns:a16="http://schemas.microsoft.com/office/drawing/2014/main" id="{913B615E-FD57-4148-A300-AFA715314CB6}"/>
                    </a:ext>
                  </a:extLst>
                </p:cNvPr>
                <p:cNvSpPr/>
                <p:nvPr/>
              </p:nvSpPr>
              <p:spPr bwMode="auto">
                <a:xfrm>
                  <a:off x="8288044" y="2892869"/>
                  <a:ext cx="120467" cy="121868"/>
                </a:xfrm>
                <a:custGeom>
                  <a:avLst/>
                  <a:gdLst>
                    <a:gd name="T0" fmla="*/ 1 w 58"/>
                    <a:gd name="T1" fmla="*/ 51 h 59"/>
                    <a:gd name="T2" fmla="*/ 5 w 58"/>
                    <a:gd name="T3" fmla="*/ 43 h 59"/>
                    <a:gd name="T4" fmla="*/ 8 w 58"/>
                    <a:gd name="T5" fmla="*/ 41 h 59"/>
                    <a:gd name="T6" fmla="*/ 8 w 58"/>
                    <a:gd name="T7" fmla="*/ 38 h 59"/>
                    <a:gd name="T8" fmla="*/ 12 w 58"/>
                    <a:gd name="T9" fmla="*/ 38 h 59"/>
                    <a:gd name="T10" fmla="*/ 14 w 58"/>
                    <a:gd name="T11" fmla="*/ 34 h 59"/>
                    <a:gd name="T12" fmla="*/ 21 w 58"/>
                    <a:gd name="T13" fmla="*/ 32 h 59"/>
                    <a:gd name="T14" fmla="*/ 25 w 58"/>
                    <a:gd name="T15" fmla="*/ 28 h 59"/>
                    <a:gd name="T16" fmla="*/ 29 w 58"/>
                    <a:gd name="T17" fmla="*/ 23 h 59"/>
                    <a:gd name="T18" fmla="*/ 33 w 58"/>
                    <a:gd name="T19" fmla="*/ 19 h 59"/>
                    <a:gd name="T20" fmla="*/ 38 w 58"/>
                    <a:gd name="T21" fmla="*/ 21 h 59"/>
                    <a:gd name="T22" fmla="*/ 36 w 58"/>
                    <a:gd name="T23" fmla="*/ 13 h 59"/>
                    <a:gd name="T24" fmla="*/ 44 w 58"/>
                    <a:gd name="T25" fmla="*/ 4 h 59"/>
                    <a:gd name="T26" fmla="*/ 49 w 58"/>
                    <a:gd name="T27" fmla="*/ 0 h 59"/>
                    <a:gd name="T28" fmla="*/ 55 w 58"/>
                    <a:gd name="T29" fmla="*/ 4 h 59"/>
                    <a:gd name="T30" fmla="*/ 57 w 58"/>
                    <a:gd name="T31" fmla="*/ 13 h 59"/>
                    <a:gd name="T32" fmla="*/ 55 w 58"/>
                    <a:gd name="T33" fmla="*/ 19 h 59"/>
                    <a:gd name="T34" fmla="*/ 51 w 58"/>
                    <a:gd name="T35" fmla="*/ 19 h 59"/>
                    <a:gd name="T36" fmla="*/ 49 w 58"/>
                    <a:gd name="T37" fmla="*/ 28 h 59"/>
                    <a:gd name="T38" fmla="*/ 42 w 58"/>
                    <a:gd name="T39" fmla="*/ 30 h 59"/>
                    <a:gd name="T40" fmla="*/ 36 w 58"/>
                    <a:gd name="T41" fmla="*/ 43 h 59"/>
                    <a:gd name="T42" fmla="*/ 33 w 58"/>
                    <a:gd name="T43" fmla="*/ 51 h 59"/>
                    <a:gd name="T44" fmla="*/ 29 w 58"/>
                    <a:gd name="T45" fmla="*/ 54 h 59"/>
                    <a:gd name="T46" fmla="*/ 14 w 58"/>
                    <a:gd name="T47" fmla="*/ 49 h 59"/>
                    <a:gd name="T48" fmla="*/ 7 w 58"/>
                    <a:gd name="T49" fmla="*/ 51 h 59"/>
                    <a:gd name="T50" fmla="*/ 5 w 58"/>
                    <a:gd name="T51" fmla="*/ 47 h 59"/>
                    <a:gd name="T52" fmla="*/ 1 w 58"/>
                    <a:gd name="T53" fmla="*/ 5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8" h="59">
                      <a:moveTo>
                        <a:pt x="1" y="51"/>
                      </a:moveTo>
                      <a:cubicBezTo>
                        <a:pt x="0" y="48"/>
                        <a:pt x="3" y="45"/>
                        <a:pt x="5" y="43"/>
                      </a:cubicBezTo>
                      <a:cubicBezTo>
                        <a:pt x="5" y="43"/>
                        <a:pt x="8" y="42"/>
                        <a:pt x="8" y="41"/>
                      </a:cubicBezTo>
                      <a:cubicBezTo>
                        <a:pt x="9" y="41"/>
                        <a:pt x="8" y="38"/>
                        <a:pt x="8" y="38"/>
                      </a:cubicBezTo>
                      <a:cubicBezTo>
                        <a:pt x="9" y="37"/>
                        <a:pt x="12" y="38"/>
                        <a:pt x="12" y="38"/>
                      </a:cubicBezTo>
                      <a:cubicBezTo>
                        <a:pt x="13" y="37"/>
                        <a:pt x="13" y="34"/>
                        <a:pt x="14" y="34"/>
                      </a:cubicBezTo>
                      <a:cubicBezTo>
                        <a:pt x="16" y="33"/>
                        <a:pt x="20" y="34"/>
                        <a:pt x="21" y="32"/>
                      </a:cubicBezTo>
                      <a:cubicBezTo>
                        <a:pt x="23" y="29"/>
                        <a:pt x="21" y="29"/>
                        <a:pt x="25" y="28"/>
                      </a:cubicBezTo>
                      <a:cubicBezTo>
                        <a:pt x="29" y="28"/>
                        <a:pt x="27" y="25"/>
                        <a:pt x="29" y="23"/>
                      </a:cubicBezTo>
                      <a:cubicBezTo>
                        <a:pt x="29" y="22"/>
                        <a:pt x="35" y="27"/>
                        <a:pt x="33" y="19"/>
                      </a:cubicBezTo>
                      <a:cubicBezTo>
                        <a:pt x="36" y="18"/>
                        <a:pt x="36" y="21"/>
                        <a:pt x="38" y="21"/>
                      </a:cubicBezTo>
                      <a:cubicBezTo>
                        <a:pt x="38" y="17"/>
                        <a:pt x="36" y="17"/>
                        <a:pt x="36" y="13"/>
                      </a:cubicBezTo>
                      <a:cubicBezTo>
                        <a:pt x="43" y="15"/>
                        <a:pt x="42" y="7"/>
                        <a:pt x="44" y="4"/>
                      </a:cubicBezTo>
                      <a:cubicBezTo>
                        <a:pt x="45" y="2"/>
                        <a:pt x="50" y="4"/>
                        <a:pt x="49" y="0"/>
                      </a:cubicBezTo>
                      <a:cubicBezTo>
                        <a:pt x="51" y="1"/>
                        <a:pt x="51" y="5"/>
                        <a:pt x="55" y="4"/>
                      </a:cubicBezTo>
                      <a:cubicBezTo>
                        <a:pt x="53" y="9"/>
                        <a:pt x="58" y="9"/>
                        <a:pt x="57" y="13"/>
                      </a:cubicBezTo>
                      <a:cubicBezTo>
                        <a:pt x="54" y="13"/>
                        <a:pt x="56" y="17"/>
                        <a:pt x="55" y="19"/>
                      </a:cubicBezTo>
                      <a:cubicBezTo>
                        <a:pt x="55" y="19"/>
                        <a:pt x="52" y="18"/>
                        <a:pt x="51" y="19"/>
                      </a:cubicBezTo>
                      <a:cubicBezTo>
                        <a:pt x="50" y="20"/>
                        <a:pt x="50" y="24"/>
                        <a:pt x="49" y="28"/>
                      </a:cubicBezTo>
                      <a:cubicBezTo>
                        <a:pt x="46" y="31"/>
                        <a:pt x="46" y="27"/>
                        <a:pt x="42" y="30"/>
                      </a:cubicBezTo>
                      <a:cubicBezTo>
                        <a:pt x="37" y="33"/>
                        <a:pt x="38" y="39"/>
                        <a:pt x="36" y="43"/>
                      </a:cubicBezTo>
                      <a:cubicBezTo>
                        <a:pt x="36" y="44"/>
                        <a:pt x="31" y="45"/>
                        <a:pt x="33" y="51"/>
                      </a:cubicBezTo>
                      <a:cubicBezTo>
                        <a:pt x="29" y="50"/>
                        <a:pt x="29" y="52"/>
                        <a:pt x="29" y="54"/>
                      </a:cubicBezTo>
                      <a:cubicBezTo>
                        <a:pt x="24" y="49"/>
                        <a:pt x="15" y="59"/>
                        <a:pt x="14" y="49"/>
                      </a:cubicBezTo>
                      <a:cubicBezTo>
                        <a:pt x="13" y="49"/>
                        <a:pt x="9" y="52"/>
                        <a:pt x="7" y="51"/>
                      </a:cubicBezTo>
                      <a:cubicBezTo>
                        <a:pt x="6" y="51"/>
                        <a:pt x="4" y="47"/>
                        <a:pt x="5" y="47"/>
                      </a:cubicBezTo>
                      <a:cubicBezTo>
                        <a:pt x="1" y="47"/>
                        <a:pt x="9" y="54"/>
                        <a:pt x="1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79" name="ï$lídè">
                  <a:extLst>
                    <a:ext uri="{FF2B5EF4-FFF2-40B4-BE49-F238E27FC236}">
                      <a16:creationId xmlns:a16="http://schemas.microsoft.com/office/drawing/2014/main" id="{C767ACC0-F652-4CD6-A949-6932B7CB4C08}"/>
                    </a:ext>
                  </a:extLst>
                </p:cNvPr>
                <p:cNvSpPr/>
                <p:nvPr/>
              </p:nvSpPr>
              <p:spPr bwMode="auto">
                <a:xfrm>
                  <a:off x="4137527" y="505936"/>
                  <a:ext cx="169495" cy="126070"/>
                </a:xfrm>
                <a:custGeom>
                  <a:avLst/>
                  <a:gdLst>
                    <a:gd name="T0" fmla="*/ 22 w 82"/>
                    <a:gd name="T1" fmla="*/ 0 h 61"/>
                    <a:gd name="T2" fmla="*/ 31 w 82"/>
                    <a:gd name="T3" fmla="*/ 8 h 61"/>
                    <a:gd name="T4" fmla="*/ 37 w 82"/>
                    <a:gd name="T5" fmla="*/ 9 h 61"/>
                    <a:gd name="T6" fmla="*/ 41 w 82"/>
                    <a:gd name="T7" fmla="*/ 9 h 61"/>
                    <a:gd name="T8" fmla="*/ 43 w 82"/>
                    <a:gd name="T9" fmla="*/ 11 h 61"/>
                    <a:gd name="T10" fmla="*/ 48 w 82"/>
                    <a:gd name="T11" fmla="*/ 15 h 61"/>
                    <a:gd name="T12" fmla="*/ 54 w 82"/>
                    <a:gd name="T13" fmla="*/ 15 h 61"/>
                    <a:gd name="T14" fmla="*/ 65 w 82"/>
                    <a:gd name="T15" fmla="*/ 19 h 61"/>
                    <a:gd name="T16" fmla="*/ 65 w 82"/>
                    <a:gd name="T17" fmla="*/ 24 h 61"/>
                    <a:gd name="T18" fmla="*/ 71 w 82"/>
                    <a:gd name="T19" fmla="*/ 24 h 61"/>
                    <a:gd name="T20" fmla="*/ 71 w 82"/>
                    <a:gd name="T21" fmla="*/ 28 h 61"/>
                    <a:gd name="T22" fmla="*/ 82 w 82"/>
                    <a:gd name="T23" fmla="*/ 36 h 61"/>
                    <a:gd name="T24" fmla="*/ 80 w 82"/>
                    <a:gd name="T25" fmla="*/ 41 h 61"/>
                    <a:gd name="T26" fmla="*/ 76 w 82"/>
                    <a:gd name="T27" fmla="*/ 39 h 61"/>
                    <a:gd name="T28" fmla="*/ 67 w 82"/>
                    <a:gd name="T29" fmla="*/ 45 h 61"/>
                    <a:gd name="T30" fmla="*/ 65 w 82"/>
                    <a:gd name="T31" fmla="*/ 49 h 61"/>
                    <a:gd name="T32" fmla="*/ 61 w 82"/>
                    <a:gd name="T33" fmla="*/ 52 h 61"/>
                    <a:gd name="T34" fmla="*/ 50 w 82"/>
                    <a:gd name="T35" fmla="*/ 52 h 61"/>
                    <a:gd name="T36" fmla="*/ 50 w 82"/>
                    <a:gd name="T37" fmla="*/ 54 h 61"/>
                    <a:gd name="T38" fmla="*/ 43 w 82"/>
                    <a:gd name="T39" fmla="*/ 56 h 61"/>
                    <a:gd name="T40" fmla="*/ 41 w 82"/>
                    <a:gd name="T41" fmla="*/ 52 h 61"/>
                    <a:gd name="T42" fmla="*/ 30 w 82"/>
                    <a:gd name="T43" fmla="*/ 52 h 61"/>
                    <a:gd name="T44" fmla="*/ 26 w 82"/>
                    <a:gd name="T45" fmla="*/ 49 h 61"/>
                    <a:gd name="T46" fmla="*/ 31 w 82"/>
                    <a:gd name="T47" fmla="*/ 45 h 61"/>
                    <a:gd name="T48" fmla="*/ 22 w 82"/>
                    <a:gd name="T49" fmla="*/ 43 h 61"/>
                    <a:gd name="T50" fmla="*/ 28 w 82"/>
                    <a:gd name="T51" fmla="*/ 39 h 61"/>
                    <a:gd name="T52" fmla="*/ 31 w 82"/>
                    <a:gd name="T53" fmla="*/ 36 h 61"/>
                    <a:gd name="T54" fmla="*/ 37 w 82"/>
                    <a:gd name="T55" fmla="*/ 37 h 61"/>
                    <a:gd name="T56" fmla="*/ 35 w 82"/>
                    <a:gd name="T57" fmla="*/ 32 h 61"/>
                    <a:gd name="T58" fmla="*/ 18 w 82"/>
                    <a:gd name="T59" fmla="*/ 36 h 61"/>
                    <a:gd name="T60" fmla="*/ 13 w 82"/>
                    <a:gd name="T61" fmla="*/ 34 h 61"/>
                    <a:gd name="T62" fmla="*/ 9 w 82"/>
                    <a:gd name="T63" fmla="*/ 30 h 61"/>
                    <a:gd name="T64" fmla="*/ 2 w 82"/>
                    <a:gd name="T65" fmla="*/ 26 h 61"/>
                    <a:gd name="T66" fmla="*/ 0 w 82"/>
                    <a:gd name="T67" fmla="*/ 21 h 61"/>
                    <a:gd name="T68" fmla="*/ 5 w 82"/>
                    <a:gd name="T69" fmla="*/ 17 h 61"/>
                    <a:gd name="T70" fmla="*/ 9 w 82"/>
                    <a:gd name="T71" fmla="*/ 13 h 61"/>
                    <a:gd name="T72" fmla="*/ 11 w 82"/>
                    <a:gd name="T73" fmla="*/ 8 h 61"/>
                    <a:gd name="T74" fmla="*/ 15 w 82"/>
                    <a:gd name="T75" fmla="*/ 8 h 61"/>
                    <a:gd name="T76" fmla="*/ 18 w 82"/>
                    <a:gd name="T77" fmla="*/ 4 h 61"/>
                    <a:gd name="T78" fmla="*/ 22 w 82"/>
                    <a:gd name="T79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2" h="61">
                      <a:moveTo>
                        <a:pt x="22" y="0"/>
                      </a:moveTo>
                      <a:cubicBezTo>
                        <a:pt x="25" y="3"/>
                        <a:pt x="30" y="3"/>
                        <a:pt x="31" y="8"/>
                      </a:cubicBezTo>
                      <a:cubicBezTo>
                        <a:pt x="35" y="6"/>
                        <a:pt x="36" y="9"/>
                        <a:pt x="37" y="9"/>
                      </a:cubicBezTo>
                      <a:cubicBezTo>
                        <a:pt x="38" y="10"/>
                        <a:pt x="40" y="9"/>
                        <a:pt x="41" y="9"/>
                      </a:cubicBezTo>
                      <a:cubicBezTo>
                        <a:pt x="41" y="10"/>
                        <a:pt x="41" y="13"/>
                        <a:pt x="43" y="11"/>
                      </a:cubicBezTo>
                      <a:cubicBezTo>
                        <a:pt x="46" y="8"/>
                        <a:pt x="45" y="13"/>
                        <a:pt x="48" y="15"/>
                      </a:cubicBezTo>
                      <a:cubicBezTo>
                        <a:pt x="49" y="16"/>
                        <a:pt x="52" y="14"/>
                        <a:pt x="54" y="15"/>
                      </a:cubicBezTo>
                      <a:cubicBezTo>
                        <a:pt x="55" y="16"/>
                        <a:pt x="58" y="21"/>
                        <a:pt x="65" y="19"/>
                      </a:cubicBezTo>
                      <a:cubicBezTo>
                        <a:pt x="65" y="21"/>
                        <a:pt x="65" y="22"/>
                        <a:pt x="65" y="24"/>
                      </a:cubicBezTo>
                      <a:cubicBezTo>
                        <a:pt x="66" y="25"/>
                        <a:pt x="69" y="23"/>
                        <a:pt x="71" y="24"/>
                      </a:cubicBezTo>
                      <a:cubicBezTo>
                        <a:pt x="71" y="25"/>
                        <a:pt x="70" y="28"/>
                        <a:pt x="71" y="28"/>
                      </a:cubicBezTo>
                      <a:cubicBezTo>
                        <a:pt x="73" y="30"/>
                        <a:pt x="78" y="32"/>
                        <a:pt x="82" y="36"/>
                      </a:cubicBezTo>
                      <a:cubicBezTo>
                        <a:pt x="82" y="37"/>
                        <a:pt x="81" y="41"/>
                        <a:pt x="80" y="41"/>
                      </a:cubicBezTo>
                      <a:cubicBezTo>
                        <a:pt x="78" y="42"/>
                        <a:pt x="76" y="39"/>
                        <a:pt x="76" y="39"/>
                      </a:cubicBezTo>
                      <a:cubicBezTo>
                        <a:pt x="73" y="41"/>
                        <a:pt x="71" y="44"/>
                        <a:pt x="67" y="45"/>
                      </a:cubicBezTo>
                      <a:cubicBezTo>
                        <a:pt x="65" y="45"/>
                        <a:pt x="65" y="47"/>
                        <a:pt x="65" y="49"/>
                      </a:cubicBezTo>
                      <a:cubicBezTo>
                        <a:pt x="62" y="48"/>
                        <a:pt x="61" y="50"/>
                        <a:pt x="61" y="52"/>
                      </a:cubicBezTo>
                      <a:cubicBezTo>
                        <a:pt x="55" y="53"/>
                        <a:pt x="54" y="48"/>
                        <a:pt x="50" y="52"/>
                      </a:cubicBezTo>
                      <a:cubicBezTo>
                        <a:pt x="48" y="53"/>
                        <a:pt x="49" y="54"/>
                        <a:pt x="50" y="54"/>
                      </a:cubicBezTo>
                      <a:cubicBezTo>
                        <a:pt x="49" y="61"/>
                        <a:pt x="43" y="49"/>
                        <a:pt x="43" y="56"/>
                      </a:cubicBezTo>
                      <a:cubicBezTo>
                        <a:pt x="41" y="56"/>
                        <a:pt x="41" y="54"/>
                        <a:pt x="41" y="52"/>
                      </a:cubicBezTo>
                      <a:cubicBezTo>
                        <a:pt x="37" y="56"/>
                        <a:pt x="35" y="51"/>
                        <a:pt x="30" y="52"/>
                      </a:cubicBezTo>
                      <a:cubicBezTo>
                        <a:pt x="30" y="49"/>
                        <a:pt x="28" y="49"/>
                        <a:pt x="26" y="49"/>
                      </a:cubicBezTo>
                      <a:cubicBezTo>
                        <a:pt x="26" y="46"/>
                        <a:pt x="31" y="48"/>
                        <a:pt x="31" y="45"/>
                      </a:cubicBezTo>
                      <a:cubicBezTo>
                        <a:pt x="32" y="41"/>
                        <a:pt x="25" y="44"/>
                        <a:pt x="22" y="43"/>
                      </a:cubicBezTo>
                      <a:cubicBezTo>
                        <a:pt x="21" y="38"/>
                        <a:pt x="25" y="40"/>
                        <a:pt x="28" y="39"/>
                      </a:cubicBezTo>
                      <a:cubicBezTo>
                        <a:pt x="28" y="39"/>
                        <a:pt x="31" y="36"/>
                        <a:pt x="31" y="36"/>
                      </a:cubicBezTo>
                      <a:cubicBezTo>
                        <a:pt x="33" y="35"/>
                        <a:pt x="34" y="38"/>
                        <a:pt x="37" y="37"/>
                      </a:cubicBezTo>
                      <a:cubicBezTo>
                        <a:pt x="37" y="34"/>
                        <a:pt x="35" y="34"/>
                        <a:pt x="35" y="32"/>
                      </a:cubicBezTo>
                      <a:cubicBezTo>
                        <a:pt x="33" y="33"/>
                        <a:pt x="22" y="32"/>
                        <a:pt x="18" y="36"/>
                      </a:cubicBezTo>
                      <a:cubicBezTo>
                        <a:pt x="15" y="39"/>
                        <a:pt x="18" y="35"/>
                        <a:pt x="13" y="34"/>
                      </a:cubicBezTo>
                      <a:cubicBezTo>
                        <a:pt x="7" y="32"/>
                        <a:pt x="3" y="35"/>
                        <a:pt x="9" y="30"/>
                      </a:cubicBezTo>
                      <a:cubicBezTo>
                        <a:pt x="9" y="26"/>
                        <a:pt x="3" y="29"/>
                        <a:pt x="2" y="26"/>
                      </a:cubicBezTo>
                      <a:cubicBezTo>
                        <a:pt x="4" y="22"/>
                        <a:pt x="8" y="17"/>
                        <a:pt x="0" y="21"/>
                      </a:cubicBezTo>
                      <a:cubicBezTo>
                        <a:pt x="0" y="18"/>
                        <a:pt x="2" y="17"/>
                        <a:pt x="5" y="17"/>
                      </a:cubicBezTo>
                      <a:cubicBezTo>
                        <a:pt x="7" y="16"/>
                        <a:pt x="7" y="13"/>
                        <a:pt x="9" y="13"/>
                      </a:cubicBezTo>
                      <a:cubicBezTo>
                        <a:pt x="12" y="13"/>
                        <a:pt x="9" y="9"/>
                        <a:pt x="11" y="8"/>
                      </a:cubicBezTo>
                      <a:cubicBezTo>
                        <a:pt x="11" y="7"/>
                        <a:pt x="14" y="8"/>
                        <a:pt x="15" y="8"/>
                      </a:cubicBezTo>
                      <a:cubicBezTo>
                        <a:pt x="17" y="7"/>
                        <a:pt x="16" y="4"/>
                        <a:pt x="18" y="4"/>
                      </a:cubicBezTo>
                      <a:cubicBezTo>
                        <a:pt x="19" y="2"/>
                        <a:pt x="22" y="3"/>
                        <a:pt x="2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0" name="îṧ1ïdè">
                  <a:extLst>
                    <a:ext uri="{FF2B5EF4-FFF2-40B4-BE49-F238E27FC236}">
                      <a16:creationId xmlns:a16="http://schemas.microsoft.com/office/drawing/2014/main" id="{71F6E0F8-3961-408C-B61E-6947DFFD982B}"/>
                    </a:ext>
                  </a:extLst>
                </p:cNvPr>
                <p:cNvSpPr/>
                <p:nvPr/>
              </p:nvSpPr>
              <p:spPr bwMode="auto">
                <a:xfrm>
                  <a:off x="5831072" y="552163"/>
                  <a:ext cx="225526" cy="113464"/>
                </a:xfrm>
                <a:custGeom>
                  <a:avLst/>
                  <a:gdLst>
                    <a:gd name="T0" fmla="*/ 37 w 109"/>
                    <a:gd name="T1" fmla="*/ 38 h 55"/>
                    <a:gd name="T2" fmla="*/ 34 w 109"/>
                    <a:gd name="T3" fmla="*/ 40 h 55"/>
                    <a:gd name="T4" fmla="*/ 24 w 109"/>
                    <a:gd name="T5" fmla="*/ 38 h 55"/>
                    <a:gd name="T6" fmla="*/ 30 w 109"/>
                    <a:gd name="T7" fmla="*/ 34 h 55"/>
                    <a:gd name="T8" fmla="*/ 41 w 109"/>
                    <a:gd name="T9" fmla="*/ 27 h 55"/>
                    <a:gd name="T10" fmla="*/ 37 w 109"/>
                    <a:gd name="T11" fmla="*/ 21 h 55"/>
                    <a:gd name="T12" fmla="*/ 28 w 109"/>
                    <a:gd name="T13" fmla="*/ 21 h 55"/>
                    <a:gd name="T14" fmla="*/ 19 w 109"/>
                    <a:gd name="T15" fmla="*/ 28 h 55"/>
                    <a:gd name="T16" fmla="*/ 6 w 109"/>
                    <a:gd name="T17" fmla="*/ 27 h 55"/>
                    <a:gd name="T18" fmla="*/ 8 w 109"/>
                    <a:gd name="T19" fmla="*/ 14 h 55"/>
                    <a:gd name="T20" fmla="*/ 4 w 109"/>
                    <a:gd name="T21" fmla="*/ 15 h 55"/>
                    <a:gd name="T22" fmla="*/ 2 w 109"/>
                    <a:gd name="T23" fmla="*/ 6 h 55"/>
                    <a:gd name="T24" fmla="*/ 6 w 109"/>
                    <a:gd name="T25" fmla="*/ 8 h 55"/>
                    <a:gd name="T26" fmla="*/ 17 w 109"/>
                    <a:gd name="T27" fmla="*/ 4 h 55"/>
                    <a:gd name="T28" fmla="*/ 19 w 109"/>
                    <a:gd name="T29" fmla="*/ 10 h 55"/>
                    <a:gd name="T30" fmla="*/ 34 w 109"/>
                    <a:gd name="T31" fmla="*/ 12 h 55"/>
                    <a:gd name="T32" fmla="*/ 39 w 109"/>
                    <a:gd name="T33" fmla="*/ 4 h 55"/>
                    <a:gd name="T34" fmla="*/ 58 w 109"/>
                    <a:gd name="T35" fmla="*/ 6 h 55"/>
                    <a:gd name="T36" fmla="*/ 60 w 109"/>
                    <a:gd name="T37" fmla="*/ 6 h 55"/>
                    <a:gd name="T38" fmla="*/ 67 w 109"/>
                    <a:gd name="T39" fmla="*/ 12 h 55"/>
                    <a:gd name="T40" fmla="*/ 65 w 109"/>
                    <a:gd name="T41" fmla="*/ 15 h 55"/>
                    <a:gd name="T42" fmla="*/ 75 w 109"/>
                    <a:gd name="T43" fmla="*/ 14 h 55"/>
                    <a:gd name="T44" fmla="*/ 86 w 109"/>
                    <a:gd name="T45" fmla="*/ 17 h 55"/>
                    <a:gd name="T46" fmla="*/ 88 w 109"/>
                    <a:gd name="T47" fmla="*/ 21 h 55"/>
                    <a:gd name="T48" fmla="*/ 90 w 109"/>
                    <a:gd name="T49" fmla="*/ 23 h 55"/>
                    <a:gd name="T50" fmla="*/ 92 w 109"/>
                    <a:gd name="T51" fmla="*/ 27 h 55"/>
                    <a:gd name="T52" fmla="*/ 95 w 109"/>
                    <a:gd name="T53" fmla="*/ 27 h 55"/>
                    <a:gd name="T54" fmla="*/ 95 w 109"/>
                    <a:gd name="T55" fmla="*/ 30 h 55"/>
                    <a:gd name="T56" fmla="*/ 99 w 109"/>
                    <a:gd name="T57" fmla="*/ 30 h 55"/>
                    <a:gd name="T58" fmla="*/ 101 w 109"/>
                    <a:gd name="T59" fmla="*/ 36 h 55"/>
                    <a:gd name="T60" fmla="*/ 106 w 109"/>
                    <a:gd name="T61" fmla="*/ 36 h 55"/>
                    <a:gd name="T62" fmla="*/ 101 w 109"/>
                    <a:gd name="T63" fmla="*/ 40 h 55"/>
                    <a:gd name="T64" fmla="*/ 101 w 109"/>
                    <a:gd name="T65" fmla="*/ 41 h 55"/>
                    <a:gd name="T66" fmla="*/ 82 w 109"/>
                    <a:gd name="T67" fmla="*/ 41 h 55"/>
                    <a:gd name="T68" fmla="*/ 82 w 109"/>
                    <a:gd name="T69" fmla="*/ 30 h 55"/>
                    <a:gd name="T70" fmla="*/ 64 w 109"/>
                    <a:gd name="T71" fmla="*/ 28 h 55"/>
                    <a:gd name="T72" fmla="*/ 62 w 109"/>
                    <a:gd name="T73" fmla="*/ 34 h 55"/>
                    <a:gd name="T74" fmla="*/ 58 w 109"/>
                    <a:gd name="T75" fmla="*/ 34 h 55"/>
                    <a:gd name="T76" fmla="*/ 54 w 109"/>
                    <a:gd name="T77" fmla="*/ 38 h 55"/>
                    <a:gd name="T78" fmla="*/ 56 w 109"/>
                    <a:gd name="T79" fmla="*/ 40 h 55"/>
                    <a:gd name="T80" fmla="*/ 51 w 109"/>
                    <a:gd name="T81" fmla="*/ 41 h 55"/>
                    <a:gd name="T82" fmla="*/ 51 w 109"/>
                    <a:gd name="T83" fmla="*/ 53 h 55"/>
                    <a:gd name="T84" fmla="*/ 26 w 109"/>
                    <a:gd name="T85" fmla="*/ 45 h 55"/>
                    <a:gd name="T86" fmla="*/ 32 w 109"/>
                    <a:gd name="T87" fmla="*/ 41 h 55"/>
                    <a:gd name="T88" fmla="*/ 39 w 109"/>
                    <a:gd name="T89" fmla="*/ 41 h 55"/>
                    <a:gd name="T90" fmla="*/ 37 w 109"/>
                    <a:gd name="T91" fmla="*/ 3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9" h="55">
                      <a:moveTo>
                        <a:pt x="37" y="38"/>
                      </a:moveTo>
                      <a:cubicBezTo>
                        <a:pt x="37" y="34"/>
                        <a:pt x="34" y="40"/>
                        <a:pt x="34" y="40"/>
                      </a:cubicBezTo>
                      <a:cubicBezTo>
                        <a:pt x="31" y="40"/>
                        <a:pt x="29" y="36"/>
                        <a:pt x="24" y="38"/>
                      </a:cubicBezTo>
                      <a:cubicBezTo>
                        <a:pt x="25" y="34"/>
                        <a:pt x="28" y="35"/>
                        <a:pt x="30" y="34"/>
                      </a:cubicBezTo>
                      <a:cubicBezTo>
                        <a:pt x="34" y="32"/>
                        <a:pt x="36" y="27"/>
                        <a:pt x="41" y="27"/>
                      </a:cubicBezTo>
                      <a:cubicBezTo>
                        <a:pt x="40" y="25"/>
                        <a:pt x="37" y="25"/>
                        <a:pt x="37" y="21"/>
                      </a:cubicBezTo>
                      <a:cubicBezTo>
                        <a:pt x="34" y="20"/>
                        <a:pt x="30" y="26"/>
                        <a:pt x="28" y="21"/>
                      </a:cubicBezTo>
                      <a:cubicBezTo>
                        <a:pt x="25" y="24"/>
                        <a:pt x="23" y="27"/>
                        <a:pt x="19" y="28"/>
                      </a:cubicBezTo>
                      <a:cubicBezTo>
                        <a:pt x="13" y="29"/>
                        <a:pt x="12" y="25"/>
                        <a:pt x="6" y="27"/>
                      </a:cubicBezTo>
                      <a:cubicBezTo>
                        <a:pt x="10" y="23"/>
                        <a:pt x="10" y="19"/>
                        <a:pt x="8" y="14"/>
                      </a:cubicBezTo>
                      <a:cubicBezTo>
                        <a:pt x="5" y="13"/>
                        <a:pt x="4" y="14"/>
                        <a:pt x="4" y="15"/>
                      </a:cubicBezTo>
                      <a:cubicBezTo>
                        <a:pt x="0" y="16"/>
                        <a:pt x="3" y="9"/>
                        <a:pt x="2" y="6"/>
                      </a:cubicBezTo>
                      <a:cubicBezTo>
                        <a:pt x="4" y="6"/>
                        <a:pt x="5" y="6"/>
                        <a:pt x="6" y="8"/>
                      </a:cubicBezTo>
                      <a:cubicBezTo>
                        <a:pt x="7" y="4"/>
                        <a:pt x="16" y="8"/>
                        <a:pt x="17" y="4"/>
                      </a:cubicBezTo>
                      <a:cubicBezTo>
                        <a:pt x="19" y="4"/>
                        <a:pt x="19" y="8"/>
                        <a:pt x="19" y="10"/>
                      </a:cubicBezTo>
                      <a:cubicBezTo>
                        <a:pt x="26" y="11"/>
                        <a:pt x="33" y="0"/>
                        <a:pt x="34" y="12"/>
                      </a:cubicBezTo>
                      <a:cubicBezTo>
                        <a:pt x="39" y="12"/>
                        <a:pt x="40" y="9"/>
                        <a:pt x="39" y="4"/>
                      </a:cubicBezTo>
                      <a:cubicBezTo>
                        <a:pt x="44" y="6"/>
                        <a:pt x="51" y="5"/>
                        <a:pt x="58" y="6"/>
                      </a:cubicBezTo>
                      <a:cubicBezTo>
                        <a:pt x="59" y="6"/>
                        <a:pt x="60" y="9"/>
                        <a:pt x="60" y="6"/>
                      </a:cubicBezTo>
                      <a:cubicBezTo>
                        <a:pt x="63" y="7"/>
                        <a:pt x="60" y="15"/>
                        <a:pt x="67" y="12"/>
                      </a:cubicBezTo>
                      <a:cubicBezTo>
                        <a:pt x="67" y="13"/>
                        <a:pt x="65" y="13"/>
                        <a:pt x="65" y="15"/>
                      </a:cubicBezTo>
                      <a:cubicBezTo>
                        <a:pt x="68" y="14"/>
                        <a:pt x="75" y="18"/>
                        <a:pt x="75" y="14"/>
                      </a:cubicBezTo>
                      <a:cubicBezTo>
                        <a:pt x="76" y="15"/>
                        <a:pt x="78" y="19"/>
                        <a:pt x="86" y="17"/>
                      </a:cubicBezTo>
                      <a:cubicBezTo>
                        <a:pt x="83" y="21"/>
                        <a:pt x="85" y="20"/>
                        <a:pt x="88" y="21"/>
                      </a:cubicBezTo>
                      <a:cubicBezTo>
                        <a:pt x="89" y="21"/>
                        <a:pt x="88" y="23"/>
                        <a:pt x="90" y="23"/>
                      </a:cubicBezTo>
                      <a:cubicBezTo>
                        <a:pt x="92" y="23"/>
                        <a:pt x="90" y="25"/>
                        <a:pt x="92" y="27"/>
                      </a:cubicBezTo>
                      <a:cubicBezTo>
                        <a:pt x="92" y="27"/>
                        <a:pt x="95" y="26"/>
                        <a:pt x="95" y="27"/>
                      </a:cubicBezTo>
                      <a:cubicBezTo>
                        <a:pt x="96" y="27"/>
                        <a:pt x="95" y="30"/>
                        <a:pt x="95" y="30"/>
                      </a:cubicBezTo>
                      <a:cubicBezTo>
                        <a:pt x="96" y="31"/>
                        <a:pt x="99" y="30"/>
                        <a:pt x="99" y="30"/>
                      </a:cubicBezTo>
                      <a:cubicBezTo>
                        <a:pt x="100" y="32"/>
                        <a:pt x="99" y="35"/>
                        <a:pt x="101" y="36"/>
                      </a:cubicBezTo>
                      <a:cubicBezTo>
                        <a:pt x="104" y="36"/>
                        <a:pt x="106" y="33"/>
                        <a:pt x="106" y="36"/>
                      </a:cubicBezTo>
                      <a:cubicBezTo>
                        <a:pt x="109" y="41"/>
                        <a:pt x="102" y="38"/>
                        <a:pt x="101" y="40"/>
                      </a:cubicBezTo>
                      <a:cubicBezTo>
                        <a:pt x="101" y="40"/>
                        <a:pt x="101" y="41"/>
                        <a:pt x="101" y="41"/>
                      </a:cubicBezTo>
                      <a:cubicBezTo>
                        <a:pt x="96" y="43"/>
                        <a:pt x="88" y="40"/>
                        <a:pt x="82" y="41"/>
                      </a:cubicBezTo>
                      <a:cubicBezTo>
                        <a:pt x="80" y="36"/>
                        <a:pt x="82" y="37"/>
                        <a:pt x="82" y="30"/>
                      </a:cubicBezTo>
                      <a:cubicBezTo>
                        <a:pt x="80" y="25"/>
                        <a:pt x="68" y="25"/>
                        <a:pt x="64" y="28"/>
                      </a:cubicBezTo>
                      <a:cubicBezTo>
                        <a:pt x="61" y="28"/>
                        <a:pt x="63" y="32"/>
                        <a:pt x="62" y="34"/>
                      </a:cubicBezTo>
                      <a:cubicBezTo>
                        <a:pt x="61" y="35"/>
                        <a:pt x="58" y="33"/>
                        <a:pt x="58" y="34"/>
                      </a:cubicBezTo>
                      <a:cubicBezTo>
                        <a:pt x="57" y="36"/>
                        <a:pt x="58" y="39"/>
                        <a:pt x="54" y="38"/>
                      </a:cubicBezTo>
                      <a:cubicBezTo>
                        <a:pt x="54" y="39"/>
                        <a:pt x="55" y="40"/>
                        <a:pt x="56" y="40"/>
                      </a:cubicBezTo>
                      <a:cubicBezTo>
                        <a:pt x="56" y="42"/>
                        <a:pt x="53" y="41"/>
                        <a:pt x="51" y="41"/>
                      </a:cubicBezTo>
                      <a:cubicBezTo>
                        <a:pt x="48" y="47"/>
                        <a:pt x="50" y="46"/>
                        <a:pt x="51" y="53"/>
                      </a:cubicBezTo>
                      <a:cubicBezTo>
                        <a:pt x="44" y="54"/>
                        <a:pt x="27" y="55"/>
                        <a:pt x="26" y="45"/>
                      </a:cubicBezTo>
                      <a:cubicBezTo>
                        <a:pt x="30" y="45"/>
                        <a:pt x="31" y="44"/>
                        <a:pt x="32" y="41"/>
                      </a:cubicBezTo>
                      <a:cubicBezTo>
                        <a:pt x="37" y="41"/>
                        <a:pt x="36" y="45"/>
                        <a:pt x="39" y="41"/>
                      </a:cubicBezTo>
                      <a:cubicBezTo>
                        <a:pt x="38" y="40"/>
                        <a:pt x="34" y="39"/>
                        <a:pt x="37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1" name="íṥḷiḋé">
                  <a:extLst>
                    <a:ext uri="{FF2B5EF4-FFF2-40B4-BE49-F238E27FC236}">
                      <a16:creationId xmlns:a16="http://schemas.microsoft.com/office/drawing/2014/main" id="{9D6F9499-E2AC-4B7A-A118-F87F7DB384EB}"/>
                    </a:ext>
                  </a:extLst>
                </p:cNvPr>
                <p:cNvSpPr/>
                <p:nvPr/>
              </p:nvSpPr>
              <p:spPr bwMode="auto">
                <a:xfrm>
                  <a:off x="3721494" y="640411"/>
                  <a:ext cx="105059" cy="56031"/>
                </a:xfrm>
                <a:custGeom>
                  <a:avLst/>
                  <a:gdLst>
                    <a:gd name="T0" fmla="*/ 51 w 51"/>
                    <a:gd name="T1" fmla="*/ 4 h 27"/>
                    <a:gd name="T2" fmla="*/ 51 w 51"/>
                    <a:gd name="T3" fmla="*/ 10 h 27"/>
                    <a:gd name="T4" fmla="*/ 47 w 51"/>
                    <a:gd name="T5" fmla="*/ 10 h 27"/>
                    <a:gd name="T6" fmla="*/ 47 w 51"/>
                    <a:gd name="T7" fmla="*/ 15 h 27"/>
                    <a:gd name="T8" fmla="*/ 41 w 51"/>
                    <a:gd name="T9" fmla="*/ 19 h 27"/>
                    <a:gd name="T10" fmla="*/ 36 w 51"/>
                    <a:gd name="T11" fmla="*/ 13 h 27"/>
                    <a:gd name="T12" fmla="*/ 30 w 51"/>
                    <a:gd name="T13" fmla="*/ 17 h 27"/>
                    <a:gd name="T14" fmla="*/ 23 w 51"/>
                    <a:gd name="T15" fmla="*/ 25 h 27"/>
                    <a:gd name="T16" fmla="*/ 2 w 51"/>
                    <a:gd name="T17" fmla="*/ 25 h 27"/>
                    <a:gd name="T18" fmla="*/ 0 w 51"/>
                    <a:gd name="T19" fmla="*/ 17 h 27"/>
                    <a:gd name="T20" fmla="*/ 8 w 51"/>
                    <a:gd name="T21" fmla="*/ 19 h 27"/>
                    <a:gd name="T22" fmla="*/ 15 w 51"/>
                    <a:gd name="T23" fmla="*/ 13 h 27"/>
                    <a:gd name="T24" fmla="*/ 19 w 51"/>
                    <a:gd name="T25" fmla="*/ 10 h 27"/>
                    <a:gd name="T26" fmla="*/ 24 w 51"/>
                    <a:gd name="T27" fmla="*/ 8 h 27"/>
                    <a:gd name="T28" fmla="*/ 26 w 51"/>
                    <a:gd name="T29" fmla="*/ 8 h 27"/>
                    <a:gd name="T30" fmla="*/ 30 w 51"/>
                    <a:gd name="T31" fmla="*/ 4 h 27"/>
                    <a:gd name="T32" fmla="*/ 38 w 51"/>
                    <a:gd name="T33" fmla="*/ 4 h 27"/>
                    <a:gd name="T34" fmla="*/ 51 w 51"/>
                    <a:gd name="T35" fmla="*/ 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1" h="27">
                      <a:moveTo>
                        <a:pt x="51" y="4"/>
                      </a:moveTo>
                      <a:cubicBezTo>
                        <a:pt x="50" y="5"/>
                        <a:pt x="51" y="9"/>
                        <a:pt x="51" y="10"/>
                      </a:cubicBezTo>
                      <a:cubicBezTo>
                        <a:pt x="50" y="10"/>
                        <a:pt x="47" y="9"/>
                        <a:pt x="47" y="10"/>
                      </a:cubicBezTo>
                      <a:cubicBezTo>
                        <a:pt x="47" y="10"/>
                        <a:pt x="49" y="15"/>
                        <a:pt x="47" y="15"/>
                      </a:cubicBezTo>
                      <a:cubicBezTo>
                        <a:pt x="45" y="16"/>
                        <a:pt x="42" y="12"/>
                        <a:pt x="41" y="19"/>
                      </a:cubicBezTo>
                      <a:cubicBezTo>
                        <a:pt x="38" y="19"/>
                        <a:pt x="40" y="13"/>
                        <a:pt x="36" y="13"/>
                      </a:cubicBezTo>
                      <a:cubicBezTo>
                        <a:pt x="32" y="12"/>
                        <a:pt x="33" y="17"/>
                        <a:pt x="30" y="17"/>
                      </a:cubicBezTo>
                      <a:cubicBezTo>
                        <a:pt x="28" y="20"/>
                        <a:pt x="22" y="19"/>
                        <a:pt x="23" y="25"/>
                      </a:cubicBezTo>
                      <a:cubicBezTo>
                        <a:pt x="15" y="27"/>
                        <a:pt x="11" y="25"/>
                        <a:pt x="2" y="25"/>
                      </a:cubicBezTo>
                      <a:cubicBezTo>
                        <a:pt x="2" y="21"/>
                        <a:pt x="0" y="21"/>
                        <a:pt x="0" y="17"/>
                      </a:cubicBezTo>
                      <a:cubicBezTo>
                        <a:pt x="2" y="19"/>
                        <a:pt x="4" y="19"/>
                        <a:pt x="8" y="19"/>
                      </a:cubicBezTo>
                      <a:cubicBezTo>
                        <a:pt x="11" y="19"/>
                        <a:pt x="11" y="14"/>
                        <a:pt x="15" y="13"/>
                      </a:cubicBezTo>
                      <a:cubicBezTo>
                        <a:pt x="16" y="13"/>
                        <a:pt x="18" y="9"/>
                        <a:pt x="19" y="10"/>
                      </a:cubicBezTo>
                      <a:cubicBezTo>
                        <a:pt x="23" y="13"/>
                        <a:pt x="19" y="8"/>
                        <a:pt x="24" y="8"/>
                      </a:cubicBezTo>
                      <a:cubicBezTo>
                        <a:pt x="25" y="8"/>
                        <a:pt x="26" y="8"/>
                        <a:pt x="26" y="8"/>
                      </a:cubicBezTo>
                      <a:cubicBezTo>
                        <a:pt x="27" y="7"/>
                        <a:pt x="30" y="4"/>
                        <a:pt x="30" y="4"/>
                      </a:cubicBezTo>
                      <a:cubicBezTo>
                        <a:pt x="32" y="3"/>
                        <a:pt x="35" y="5"/>
                        <a:pt x="38" y="4"/>
                      </a:cubicBezTo>
                      <a:cubicBezTo>
                        <a:pt x="39" y="4"/>
                        <a:pt x="46" y="0"/>
                        <a:pt x="51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2" name="ïš1îďè">
                  <a:extLst>
                    <a:ext uri="{FF2B5EF4-FFF2-40B4-BE49-F238E27FC236}">
                      <a16:creationId xmlns:a16="http://schemas.microsoft.com/office/drawing/2014/main" id="{D1DA70BF-A82E-46AD-AFCC-D0A4EC68A848}"/>
                    </a:ext>
                  </a:extLst>
                </p:cNvPr>
                <p:cNvSpPr/>
                <p:nvPr/>
              </p:nvSpPr>
              <p:spPr bwMode="auto">
                <a:xfrm>
                  <a:off x="4011456" y="664225"/>
                  <a:ext cx="109261" cy="56031"/>
                </a:xfrm>
                <a:custGeom>
                  <a:avLst/>
                  <a:gdLst>
                    <a:gd name="T0" fmla="*/ 47 w 52"/>
                    <a:gd name="T1" fmla="*/ 2 h 27"/>
                    <a:gd name="T2" fmla="*/ 52 w 52"/>
                    <a:gd name="T3" fmla="*/ 19 h 27"/>
                    <a:gd name="T4" fmla="*/ 49 w 52"/>
                    <a:gd name="T5" fmla="*/ 17 h 27"/>
                    <a:gd name="T6" fmla="*/ 49 w 52"/>
                    <a:gd name="T7" fmla="*/ 23 h 27"/>
                    <a:gd name="T8" fmla="*/ 41 w 52"/>
                    <a:gd name="T9" fmla="*/ 25 h 27"/>
                    <a:gd name="T10" fmla="*/ 39 w 52"/>
                    <a:gd name="T11" fmla="*/ 27 h 27"/>
                    <a:gd name="T12" fmla="*/ 34 w 52"/>
                    <a:gd name="T13" fmla="*/ 27 h 27"/>
                    <a:gd name="T14" fmla="*/ 34 w 52"/>
                    <a:gd name="T15" fmla="*/ 19 h 27"/>
                    <a:gd name="T16" fmla="*/ 15 w 52"/>
                    <a:gd name="T17" fmla="*/ 17 h 27"/>
                    <a:gd name="T18" fmla="*/ 0 w 52"/>
                    <a:gd name="T19" fmla="*/ 8 h 27"/>
                    <a:gd name="T20" fmla="*/ 2 w 52"/>
                    <a:gd name="T21" fmla="*/ 4 h 27"/>
                    <a:gd name="T22" fmla="*/ 6 w 52"/>
                    <a:gd name="T23" fmla="*/ 6 h 27"/>
                    <a:gd name="T24" fmla="*/ 15 w 52"/>
                    <a:gd name="T25" fmla="*/ 10 h 27"/>
                    <a:gd name="T26" fmla="*/ 19 w 52"/>
                    <a:gd name="T27" fmla="*/ 10 h 27"/>
                    <a:gd name="T28" fmla="*/ 21 w 52"/>
                    <a:gd name="T29" fmla="*/ 14 h 27"/>
                    <a:gd name="T30" fmla="*/ 22 w 52"/>
                    <a:gd name="T31" fmla="*/ 6 h 27"/>
                    <a:gd name="T32" fmla="*/ 26 w 52"/>
                    <a:gd name="T33" fmla="*/ 10 h 27"/>
                    <a:gd name="T34" fmla="*/ 47 w 52"/>
                    <a:gd name="T35" fmla="*/ 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2" h="27">
                      <a:moveTo>
                        <a:pt x="47" y="2"/>
                      </a:moveTo>
                      <a:cubicBezTo>
                        <a:pt x="44" y="12"/>
                        <a:pt x="52" y="12"/>
                        <a:pt x="52" y="19"/>
                      </a:cubicBezTo>
                      <a:cubicBezTo>
                        <a:pt x="51" y="20"/>
                        <a:pt x="49" y="16"/>
                        <a:pt x="49" y="17"/>
                      </a:cubicBezTo>
                      <a:cubicBezTo>
                        <a:pt x="48" y="18"/>
                        <a:pt x="49" y="22"/>
                        <a:pt x="49" y="23"/>
                      </a:cubicBezTo>
                      <a:cubicBezTo>
                        <a:pt x="47" y="24"/>
                        <a:pt x="44" y="24"/>
                        <a:pt x="41" y="25"/>
                      </a:cubicBezTo>
                      <a:cubicBezTo>
                        <a:pt x="40" y="25"/>
                        <a:pt x="41" y="27"/>
                        <a:pt x="39" y="27"/>
                      </a:cubicBezTo>
                      <a:cubicBezTo>
                        <a:pt x="37" y="27"/>
                        <a:pt x="35" y="27"/>
                        <a:pt x="34" y="27"/>
                      </a:cubicBezTo>
                      <a:cubicBezTo>
                        <a:pt x="31" y="24"/>
                        <a:pt x="31" y="22"/>
                        <a:pt x="34" y="19"/>
                      </a:cubicBezTo>
                      <a:cubicBezTo>
                        <a:pt x="27" y="22"/>
                        <a:pt x="23" y="17"/>
                        <a:pt x="15" y="17"/>
                      </a:cubicBezTo>
                      <a:cubicBezTo>
                        <a:pt x="13" y="11"/>
                        <a:pt x="4" y="12"/>
                        <a:pt x="0" y="8"/>
                      </a:cubicBezTo>
                      <a:cubicBezTo>
                        <a:pt x="1" y="8"/>
                        <a:pt x="1" y="4"/>
                        <a:pt x="2" y="4"/>
                      </a:cubicBezTo>
                      <a:cubicBezTo>
                        <a:pt x="5" y="3"/>
                        <a:pt x="5" y="6"/>
                        <a:pt x="6" y="6"/>
                      </a:cubicBezTo>
                      <a:cubicBezTo>
                        <a:pt x="8" y="6"/>
                        <a:pt x="13" y="8"/>
                        <a:pt x="15" y="10"/>
                      </a:cubicBezTo>
                      <a:cubicBezTo>
                        <a:pt x="15" y="10"/>
                        <a:pt x="18" y="9"/>
                        <a:pt x="19" y="10"/>
                      </a:cubicBezTo>
                      <a:cubicBezTo>
                        <a:pt x="20" y="11"/>
                        <a:pt x="18" y="14"/>
                        <a:pt x="21" y="14"/>
                      </a:cubicBezTo>
                      <a:cubicBezTo>
                        <a:pt x="26" y="12"/>
                        <a:pt x="18" y="9"/>
                        <a:pt x="22" y="6"/>
                      </a:cubicBezTo>
                      <a:cubicBezTo>
                        <a:pt x="26" y="4"/>
                        <a:pt x="26" y="10"/>
                        <a:pt x="26" y="10"/>
                      </a:cubicBezTo>
                      <a:cubicBezTo>
                        <a:pt x="33" y="10"/>
                        <a:pt x="36" y="0"/>
                        <a:pt x="4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3" name="islîde">
                  <a:extLst>
                    <a:ext uri="{FF2B5EF4-FFF2-40B4-BE49-F238E27FC236}">
                      <a16:creationId xmlns:a16="http://schemas.microsoft.com/office/drawing/2014/main" id="{48590C01-CB16-4151-923F-AB6D9E8DA3B2}"/>
                    </a:ext>
                  </a:extLst>
                </p:cNvPr>
                <p:cNvSpPr/>
                <p:nvPr/>
              </p:nvSpPr>
              <p:spPr bwMode="auto">
                <a:xfrm>
                  <a:off x="3805541" y="665625"/>
                  <a:ext cx="191908" cy="72841"/>
                </a:xfrm>
                <a:custGeom>
                  <a:avLst/>
                  <a:gdLst>
                    <a:gd name="T0" fmla="*/ 41 w 92"/>
                    <a:gd name="T1" fmla="*/ 13 h 35"/>
                    <a:gd name="T2" fmla="*/ 60 w 92"/>
                    <a:gd name="T3" fmla="*/ 20 h 35"/>
                    <a:gd name="T4" fmla="*/ 60 w 92"/>
                    <a:gd name="T5" fmla="*/ 11 h 35"/>
                    <a:gd name="T6" fmla="*/ 54 w 92"/>
                    <a:gd name="T7" fmla="*/ 3 h 35"/>
                    <a:gd name="T8" fmla="*/ 67 w 92"/>
                    <a:gd name="T9" fmla="*/ 1 h 35"/>
                    <a:gd name="T10" fmla="*/ 71 w 92"/>
                    <a:gd name="T11" fmla="*/ 5 h 35"/>
                    <a:gd name="T12" fmla="*/ 71 w 92"/>
                    <a:gd name="T13" fmla="*/ 9 h 35"/>
                    <a:gd name="T14" fmla="*/ 79 w 92"/>
                    <a:gd name="T15" fmla="*/ 14 h 35"/>
                    <a:gd name="T16" fmla="*/ 84 w 92"/>
                    <a:gd name="T17" fmla="*/ 11 h 35"/>
                    <a:gd name="T18" fmla="*/ 90 w 92"/>
                    <a:gd name="T19" fmla="*/ 14 h 35"/>
                    <a:gd name="T20" fmla="*/ 92 w 92"/>
                    <a:gd name="T21" fmla="*/ 18 h 35"/>
                    <a:gd name="T22" fmla="*/ 90 w 92"/>
                    <a:gd name="T23" fmla="*/ 26 h 35"/>
                    <a:gd name="T24" fmla="*/ 79 w 92"/>
                    <a:gd name="T25" fmla="*/ 27 h 35"/>
                    <a:gd name="T26" fmla="*/ 71 w 92"/>
                    <a:gd name="T27" fmla="*/ 26 h 35"/>
                    <a:gd name="T28" fmla="*/ 54 w 92"/>
                    <a:gd name="T29" fmla="*/ 29 h 35"/>
                    <a:gd name="T30" fmla="*/ 51 w 92"/>
                    <a:gd name="T31" fmla="*/ 29 h 35"/>
                    <a:gd name="T32" fmla="*/ 45 w 92"/>
                    <a:gd name="T33" fmla="*/ 31 h 35"/>
                    <a:gd name="T34" fmla="*/ 26 w 92"/>
                    <a:gd name="T35" fmla="*/ 35 h 35"/>
                    <a:gd name="T36" fmla="*/ 43 w 92"/>
                    <a:gd name="T37" fmla="*/ 29 h 35"/>
                    <a:gd name="T38" fmla="*/ 34 w 92"/>
                    <a:gd name="T39" fmla="*/ 26 h 35"/>
                    <a:gd name="T40" fmla="*/ 26 w 92"/>
                    <a:gd name="T41" fmla="*/ 22 h 35"/>
                    <a:gd name="T42" fmla="*/ 19 w 92"/>
                    <a:gd name="T43" fmla="*/ 26 h 35"/>
                    <a:gd name="T44" fmla="*/ 13 w 92"/>
                    <a:gd name="T45" fmla="*/ 24 h 35"/>
                    <a:gd name="T46" fmla="*/ 0 w 92"/>
                    <a:gd name="T47" fmla="*/ 22 h 35"/>
                    <a:gd name="T48" fmla="*/ 4 w 92"/>
                    <a:gd name="T49" fmla="*/ 18 h 35"/>
                    <a:gd name="T50" fmla="*/ 6 w 92"/>
                    <a:gd name="T51" fmla="*/ 13 h 35"/>
                    <a:gd name="T52" fmla="*/ 13 w 92"/>
                    <a:gd name="T53" fmla="*/ 11 h 35"/>
                    <a:gd name="T54" fmla="*/ 11 w 92"/>
                    <a:gd name="T55" fmla="*/ 7 h 35"/>
                    <a:gd name="T56" fmla="*/ 15 w 92"/>
                    <a:gd name="T57" fmla="*/ 7 h 35"/>
                    <a:gd name="T58" fmla="*/ 21 w 92"/>
                    <a:gd name="T59" fmla="*/ 5 h 35"/>
                    <a:gd name="T60" fmla="*/ 30 w 92"/>
                    <a:gd name="T61" fmla="*/ 7 h 35"/>
                    <a:gd name="T62" fmla="*/ 32 w 92"/>
                    <a:gd name="T63" fmla="*/ 11 h 35"/>
                    <a:gd name="T64" fmla="*/ 36 w 92"/>
                    <a:gd name="T65" fmla="*/ 11 h 35"/>
                    <a:gd name="T66" fmla="*/ 36 w 92"/>
                    <a:gd name="T67" fmla="*/ 16 h 35"/>
                    <a:gd name="T68" fmla="*/ 41 w 92"/>
                    <a:gd name="T69" fmla="*/ 1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2" h="35">
                      <a:moveTo>
                        <a:pt x="41" y="13"/>
                      </a:moveTo>
                      <a:cubicBezTo>
                        <a:pt x="39" y="19"/>
                        <a:pt x="56" y="16"/>
                        <a:pt x="60" y="20"/>
                      </a:cubicBezTo>
                      <a:cubicBezTo>
                        <a:pt x="63" y="12"/>
                        <a:pt x="47" y="11"/>
                        <a:pt x="60" y="11"/>
                      </a:cubicBezTo>
                      <a:cubicBezTo>
                        <a:pt x="63" y="4"/>
                        <a:pt x="52" y="10"/>
                        <a:pt x="54" y="3"/>
                      </a:cubicBezTo>
                      <a:cubicBezTo>
                        <a:pt x="60" y="4"/>
                        <a:pt x="61" y="0"/>
                        <a:pt x="67" y="1"/>
                      </a:cubicBezTo>
                      <a:cubicBezTo>
                        <a:pt x="66" y="5"/>
                        <a:pt x="70" y="4"/>
                        <a:pt x="71" y="5"/>
                      </a:cubicBezTo>
                      <a:cubicBezTo>
                        <a:pt x="72" y="6"/>
                        <a:pt x="70" y="8"/>
                        <a:pt x="71" y="9"/>
                      </a:cubicBezTo>
                      <a:cubicBezTo>
                        <a:pt x="73" y="10"/>
                        <a:pt x="76" y="11"/>
                        <a:pt x="79" y="14"/>
                      </a:cubicBezTo>
                      <a:cubicBezTo>
                        <a:pt x="80" y="13"/>
                        <a:pt x="80" y="10"/>
                        <a:pt x="84" y="11"/>
                      </a:cubicBezTo>
                      <a:cubicBezTo>
                        <a:pt x="87" y="11"/>
                        <a:pt x="89" y="13"/>
                        <a:pt x="90" y="14"/>
                      </a:cubicBezTo>
                      <a:cubicBezTo>
                        <a:pt x="90" y="15"/>
                        <a:pt x="92" y="18"/>
                        <a:pt x="92" y="18"/>
                      </a:cubicBezTo>
                      <a:cubicBezTo>
                        <a:pt x="89" y="21"/>
                        <a:pt x="92" y="20"/>
                        <a:pt x="90" y="26"/>
                      </a:cubicBezTo>
                      <a:cubicBezTo>
                        <a:pt x="86" y="21"/>
                        <a:pt x="82" y="27"/>
                        <a:pt x="79" y="27"/>
                      </a:cubicBezTo>
                      <a:cubicBezTo>
                        <a:pt x="75" y="28"/>
                        <a:pt x="75" y="26"/>
                        <a:pt x="71" y="26"/>
                      </a:cubicBezTo>
                      <a:cubicBezTo>
                        <a:pt x="66" y="26"/>
                        <a:pt x="58" y="28"/>
                        <a:pt x="54" y="29"/>
                      </a:cubicBezTo>
                      <a:cubicBezTo>
                        <a:pt x="54" y="30"/>
                        <a:pt x="51" y="29"/>
                        <a:pt x="51" y="29"/>
                      </a:cubicBezTo>
                      <a:cubicBezTo>
                        <a:pt x="49" y="31"/>
                        <a:pt x="48" y="30"/>
                        <a:pt x="45" y="31"/>
                      </a:cubicBezTo>
                      <a:cubicBezTo>
                        <a:pt x="43" y="32"/>
                        <a:pt x="33" y="34"/>
                        <a:pt x="26" y="35"/>
                      </a:cubicBezTo>
                      <a:cubicBezTo>
                        <a:pt x="27" y="28"/>
                        <a:pt x="36" y="30"/>
                        <a:pt x="43" y="29"/>
                      </a:cubicBezTo>
                      <a:cubicBezTo>
                        <a:pt x="44" y="21"/>
                        <a:pt x="37" y="26"/>
                        <a:pt x="34" y="26"/>
                      </a:cubicBezTo>
                      <a:cubicBezTo>
                        <a:pt x="30" y="25"/>
                        <a:pt x="30" y="24"/>
                        <a:pt x="26" y="22"/>
                      </a:cubicBezTo>
                      <a:cubicBezTo>
                        <a:pt x="23" y="21"/>
                        <a:pt x="22" y="25"/>
                        <a:pt x="19" y="26"/>
                      </a:cubicBezTo>
                      <a:cubicBezTo>
                        <a:pt x="16" y="26"/>
                        <a:pt x="16" y="24"/>
                        <a:pt x="13" y="24"/>
                      </a:cubicBezTo>
                      <a:cubicBezTo>
                        <a:pt x="9" y="23"/>
                        <a:pt x="3" y="25"/>
                        <a:pt x="0" y="22"/>
                      </a:cubicBezTo>
                      <a:cubicBezTo>
                        <a:pt x="0" y="20"/>
                        <a:pt x="3" y="19"/>
                        <a:pt x="4" y="18"/>
                      </a:cubicBezTo>
                      <a:cubicBezTo>
                        <a:pt x="4" y="17"/>
                        <a:pt x="5" y="13"/>
                        <a:pt x="6" y="13"/>
                      </a:cubicBezTo>
                      <a:cubicBezTo>
                        <a:pt x="8" y="11"/>
                        <a:pt x="11" y="13"/>
                        <a:pt x="13" y="11"/>
                      </a:cubicBezTo>
                      <a:cubicBezTo>
                        <a:pt x="14" y="10"/>
                        <a:pt x="7" y="8"/>
                        <a:pt x="11" y="7"/>
                      </a:cubicBezTo>
                      <a:cubicBezTo>
                        <a:pt x="13" y="7"/>
                        <a:pt x="14" y="7"/>
                        <a:pt x="15" y="7"/>
                      </a:cubicBezTo>
                      <a:cubicBezTo>
                        <a:pt x="17" y="6"/>
                        <a:pt x="19" y="5"/>
                        <a:pt x="21" y="5"/>
                      </a:cubicBezTo>
                      <a:cubicBezTo>
                        <a:pt x="22" y="5"/>
                        <a:pt x="29" y="6"/>
                        <a:pt x="30" y="7"/>
                      </a:cubicBezTo>
                      <a:cubicBezTo>
                        <a:pt x="31" y="8"/>
                        <a:pt x="30" y="10"/>
                        <a:pt x="32" y="11"/>
                      </a:cubicBezTo>
                      <a:cubicBezTo>
                        <a:pt x="33" y="11"/>
                        <a:pt x="35" y="10"/>
                        <a:pt x="36" y="11"/>
                      </a:cubicBezTo>
                      <a:cubicBezTo>
                        <a:pt x="37" y="12"/>
                        <a:pt x="32" y="17"/>
                        <a:pt x="36" y="16"/>
                      </a:cubicBezTo>
                      <a:cubicBezTo>
                        <a:pt x="37" y="16"/>
                        <a:pt x="38" y="11"/>
                        <a:pt x="41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4" name="îşlïḓè">
                  <a:extLst>
                    <a:ext uri="{FF2B5EF4-FFF2-40B4-BE49-F238E27FC236}">
                      <a16:creationId xmlns:a16="http://schemas.microsoft.com/office/drawing/2014/main" id="{4E492722-B6A9-4D4B-AD62-6792A4C3C09A}"/>
                    </a:ext>
                  </a:extLst>
                </p:cNvPr>
                <p:cNvSpPr/>
                <p:nvPr/>
              </p:nvSpPr>
              <p:spPr bwMode="auto">
                <a:xfrm>
                  <a:off x="3675269" y="741268"/>
                  <a:ext cx="151284" cy="100856"/>
                </a:xfrm>
                <a:custGeom>
                  <a:avLst/>
                  <a:gdLst>
                    <a:gd name="T0" fmla="*/ 9 w 73"/>
                    <a:gd name="T1" fmla="*/ 1 h 49"/>
                    <a:gd name="T2" fmla="*/ 41 w 73"/>
                    <a:gd name="T3" fmla="*/ 3 h 49"/>
                    <a:gd name="T4" fmla="*/ 45 w 73"/>
                    <a:gd name="T5" fmla="*/ 3 h 49"/>
                    <a:gd name="T6" fmla="*/ 52 w 73"/>
                    <a:gd name="T7" fmla="*/ 5 h 49"/>
                    <a:gd name="T8" fmla="*/ 60 w 73"/>
                    <a:gd name="T9" fmla="*/ 5 h 49"/>
                    <a:gd name="T10" fmla="*/ 61 w 73"/>
                    <a:gd name="T11" fmla="*/ 6 h 49"/>
                    <a:gd name="T12" fmla="*/ 73 w 73"/>
                    <a:gd name="T13" fmla="*/ 14 h 49"/>
                    <a:gd name="T14" fmla="*/ 56 w 73"/>
                    <a:gd name="T15" fmla="*/ 18 h 49"/>
                    <a:gd name="T16" fmla="*/ 54 w 73"/>
                    <a:gd name="T17" fmla="*/ 21 h 49"/>
                    <a:gd name="T18" fmla="*/ 50 w 73"/>
                    <a:gd name="T19" fmla="*/ 19 h 49"/>
                    <a:gd name="T20" fmla="*/ 48 w 73"/>
                    <a:gd name="T21" fmla="*/ 21 h 49"/>
                    <a:gd name="T22" fmla="*/ 50 w 73"/>
                    <a:gd name="T23" fmla="*/ 23 h 49"/>
                    <a:gd name="T24" fmla="*/ 46 w 73"/>
                    <a:gd name="T25" fmla="*/ 25 h 49"/>
                    <a:gd name="T26" fmla="*/ 46 w 73"/>
                    <a:gd name="T27" fmla="*/ 29 h 49"/>
                    <a:gd name="T28" fmla="*/ 43 w 73"/>
                    <a:gd name="T29" fmla="*/ 29 h 49"/>
                    <a:gd name="T30" fmla="*/ 39 w 73"/>
                    <a:gd name="T31" fmla="*/ 32 h 49"/>
                    <a:gd name="T32" fmla="*/ 39 w 73"/>
                    <a:gd name="T33" fmla="*/ 40 h 49"/>
                    <a:gd name="T34" fmla="*/ 17 w 73"/>
                    <a:gd name="T35" fmla="*/ 46 h 49"/>
                    <a:gd name="T36" fmla="*/ 0 w 73"/>
                    <a:gd name="T37" fmla="*/ 34 h 49"/>
                    <a:gd name="T38" fmla="*/ 5 w 73"/>
                    <a:gd name="T39" fmla="*/ 31 h 49"/>
                    <a:gd name="T40" fmla="*/ 7 w 73"/>
                    <a:gd name="T41" fmla="*/ 27 h 49"/>
                    <a:gd name="T42" fmla="*/ 5 w 73"/>
                    <a:gd name="T43" fmla="*/ 19 h 49"/>
                    <a:gd name="T44" fmla="*/ 9 w 73"/>
                    <a:gd name="T45" fmla="*/ 18 h 49"/>
                    <a:gd name="T46" fmla="*/ 13 w 73"/>
                    <a:gd name="T47" fmla="*/ 10 h 49"/>
                    <a:gd name="T48" fmla="*/ 9 w 73"/>
                    <a:gd name="T49" fmla="*/ 1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3" h="49">
                      <a:moveTo>
                        <a:pt x="9" y="1"/>
                      </a:moveTo>
                      <a:cubicBezTo>
                        <a:pt x="21" y="1"/>
                        <a:pt x="33" y="0"/>
                        <a:pt x="41" y="3"/>
                      </a:cubicBezTo>
                      <a:cubicBezTo>
                        <a:pt x="42" y="3"/>
                        <a:pt x="44" y="2"/>
                        <a:pt x="45" y="3"/>
                      </a:cubicBezTo>
                      <a:cubicBezTo>
                        <a:pt x="46" y="5"/>
                        <a:pt x="50" y="3"/>
                        <a:pt x="52" y="5"/>
                      </a:cubicBezTo>
                      <a:cubicBezTo>
                        <a:pt x="55" y="8"/>
                        <a:pt x="52" y="2"/>
                        <a:pt x="60" y="5"/>
                      </a:cubicBezTo>
                      <a:cubicBezTo>
                        <a:pt x="60" y="5"/>
                        <a:pt x="60" y="6"/>
                        <a:pt x="61" y="6"/>
                      </a:cubicBezTo>
                      <a:cubicBezTo>
                        <a:pt x="63" y="6"/>
                        <a:pt x="73" y="9"/>
                        <a:pt x="73" y="14"/>
                      </a:cubicBezTo>
                      <a:cubicBezTo>
                        <a:pt x="66" y="15"/>
                        <a:pt x="60" y="16"/>
                        <a:pt x="56" y="18"/>
                      </a:cubicBezTo>
                      <a:cubicBezTo>
                        <a:pt x="54" y="18"/>
                        <a:pt x="55" y="21"/>
                        <a:pt x="54" y="21"/>
                      </a:cubicBezTo>
                      <a:cubicBezTo>
                        <a:pt x="53" y="22"/>
                        <a:pt x="51" y="19"/>
                        <a:pt x="50" y="19"/>
                      </a:cubicBezTo>
                      <a:cubicBezTo>
                        <a:pt x="51" y="19"/>
                        <a:pt x="48" y="23"/>
                        <a:pt x="48" y="21"/>
                      </a:cubicBezTo>
                      <a:cubicBezTo>
                        <a:pt x="48" y="22"/>
                        <a:pt x="50" y="24"/>
                        <a:pt x="50" y="23"/>
                      </a:cubicBezTo>
                      <a:cubicBezTo>
                        <a:pt x="49" y="25"/>
                        <a:pt x="47" y="24"/>
                        <a:pt x="46" y="25"/>
                      </a:cubicBezTo>
                      <a:cubicBezTo>
                        <a:pt x="46" y="26"/>
                        <a:pt x="47" y="28"/>
                        <a:pt x="46" y="29"/>
                      </a:cubicBezTo>
                      <a:cubicBezTo>
                        <a:pt x="46" y="29"/>
                        <a:pt x="43" y="28"/>
                        <a:pt x="43" y="29"/>
                      </a:cubicBezTo>
                      <a:cubicBezTo>
                        <a:pt x="42" y="30"/>
                        <a:pt x="41" y="32"/>
                        <a:pt x="39" y="32"/>
                      </a:cubicBezTo>
                      <a:cubicBezTo>
                        <a:pt x="39" y="35"/>
                        <a:pt x="39" y="37"/>
                        <a:pt x="39" y="40"/>
                      </a:cubicBezTo>
                      <a:cubicBezTo>
                        <a:pt x="30" y="40"/>
                        <a:pt x="31" y="49"/>
                        <a:pt x="17" y="46"/>
                      </a:cubicBezTo>
                      <a:cubicBezTo>
                        <a:pt x="18" y="34"/>
                        <a:pt x="7" y="37"/>
                        <a:pt x="0" y="34"/>
                      </a:cubicBezTo>
                      <a:cubicBezTo>
                        <a:pt x="1" y="32"/>
                        <a:pt x="4" y="32"/>
                        <a:pt x="5" y="31"/>
                      </a:cubicBezTo>
                      <a:cubicBezTo>
                        <a:pt x="6" y="30"/>
                        <a:pt x="2" y="25"/>
                        <a:pt x="7" y="27"/>
                      </a:cubicBezTo>
                      <a:cubicBezTo>
                        <a:pt x="8" y="24"/>
                        <a:pt x="5" y="23"/>
                        <a:pt x="5" y="19"/>
                      </a:cubicBezTo>
                      <a:cubicBezTo>
                        <a:pt x="8" y="22"/>
                        <a:pt x="8" y="21"/>
                        <a:pt x="9" y="18"/>
                      </a:cubicBezTo>
                      <a:cubicBezTo>
                        <a:pt x="10" y="15"/>
                        <a:pt x="13" y="16"/>
                        <a:pt x="13" y="10"/>
                      </a:cubicBezTo>
                      <a:cubicBezTo>
                        <a:pt x="14" y="4"/>
                        <a:pt x="7" y="8"/>
                        <a:pt x="9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5" name="íSļiḓe">
                  <a:extLst>
                    <a:ext uri="{FF2B5EF4-FFF2-40B4-BE49-F238E27FC236}">
                      <a16:creationId xmlns:a16="http://schemas.microsoft.com/office/drawing/2014/main" id="{3797D147-1CF3-4634-BCD2-94744AFDC60A}"/>
                    </a:ext>
                  </a:extLst>
                </p:cNvPr>
                <p:cNvSpPr/>
                <p:nvPr/>
              </p:nvSpPr>
              <p:spPr bwMode="auto">
                <a:xfrm>
                  <a:off x="3980639" y="760879"/>
                  <a:ext cx="30817" cy="23814"/>
                </a:xfrm>
                <a:custGeom>
                  <a:avLst/>
                  <a:gdLst>
                    <a:gd name="T0" fmla="*/ 2 w 15"/>
                    <a:gd name="T1" fmla="*/ 0 h 11"/>
                    <a:gd name="T2" fmla="*/ 13 w 15"/>
                    <a:gd name="T3" fmla="*/ 0 h 11"/>
                    <a:gd name="T4" fmla="*/ 15 w 15"/>
                    <a:gd name="T5" fmla="*/ 8 h 11"/>
                    <a:gd name="T6" fmla="*/ 11 w 15"/>
                    <a:gd name="T7" fmla="*/ 11 h 11"/>
                    <a:gd name="T8" fmla="*/ 0 w 15"/>
                    <a:gd name="T9" fmla="*/ 6 h 11"/>
                    <a:gd name="T10" fmla="*/ 2 w 15"/>
                    <a:gd name="T11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11">
                      <a:moveTo>
                        <a:pt x="2" y="0"/>
                      </a:moveTo>
                      <a:cubicBezTo>
                        <a:pt x="6" y="0"/>
                        <a:pt x="9" y="0"/>
                        <a:pt x="13" y="0"/>
                      </a:cubicBezTo>
                      <a:cubicBezTo>
                        <a:pt x="13" y="3"/>
                        <a:pt x="15" y="4"/>
                        <a:pt x="15" y="8"/>
                      </a:cubicBezTo>
                      <a:cubicBezTo>
                        <a:pt x="12" y="7"/>
                        <a:pt x="11" y="9"/>
                        <a:pt x="11" y="11"/>
                      </a:cubicBezTo>
                      <a:cubicBezTo>
                        <a:pt x="8" y="9"/>
                        <a:pt x="7" y="5"/>
                        <a:pt x="0" y="6"/>
                      </a:cubicBezTo>
                      <a:cubicBezTo>
                        <a:pt x="1" y="4"/>
                        <a:pt x="2" y="3"/>
                        <a:pt x="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6" name="iśḷïḋé">
                  <a:extLst>
                    <a:ext uri="{FF2B5EF4-FFF2-40B4-BE49-F238E27FC236}">
                      <a16:creationId xmlns:a16="http://schemas.microsoft.com/office/drawing/2014/main" id="{738AB040-F5E3-4CFE-9BD7-132B4404A357}"/>
                    </a:ext>
                  </a:extLst>
                </p:cNvPr>
                <p:cNvSpPr/>
                <p:nvPr/>
              </p:nvSpPr>
              <p:spPr bwMode="auto">
                <a:xfrm>
                  <a:off x="4148733" y="751074"/>
                  <a:ext cx="77043" cy="54631"/>
                </a:xfrm>
                <a:custGeom>
                  <a:avLst/>
                  <a:gdLst>
                    <a:gd name="T0" fmla="*/ 33 w 37"/>
                    <a:gd name="T1" fmla="*/ 1 h 26"/>
                    <a:gd name="T2" fmla="*/ 35 w 37"/>
                    <a:gd name="T3" fmla="*/ 11 h 26"/>
                    <a:gd name="T4" fmla="*/ 31 w 37"/>
                    <a:gd name="T5" fmla="*/ 14 h 26"/>
                    <a:gd name="T6" fmla="*/ 22 w 37"/>
                    <a:gd name="T7" fmla="*/ 16 h 26"/>
                    <a:gd name="T8" fmla="*/ 7 w 37"/>
                    <a:gd name="T9" fmla="*/ 26 h 26"/>
                    <a:gd name="T10" fmla="*/ 5 w 37"/>
                    <a:gd name="T11" fmla="*/ 18 h 26"/>
                    <a:gd name="T12" fmla="*/ 1 w 37"/>
                    <a:gd name="T13" fmla="*/ 14 h 26"/>
                    <a:gd name="T14" fmla="*/ 1 w 37"/>
                    <a:gd name="T15" fmla="*/ 5 h 26"/>
                    <a:gd name="T16" fmla="*/ 5 w 37"/>
                    <a:gd name="T17" fmla="*/ 1 h 26"/>
                    <a:gd name="T18" fmla="*/ 10 w 37"/>
                    <a:gd name="T19" fmla="*/ 0 h 26"/>
                    <a:gd name="T20" fmla="*/ 25 w 37"/>
                    <a:gd name="T21" fmla="*/ 3 h 26"/>
                    <a:gd name="T22" fmla="*/ 33 w 37"/>
                    <a:gd name="T23" fmla="*/ 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" h="26">
                      <a:moveTo>
                        <a:pt x="33" y="1"/>
                      </a:moveTo>
                      <a:cubicBezTo>
                        <a:pt x="37" y="1"/>
                        <a:pt x="34" y="8"/>
                        <a:pt x="35" y="11"/>
                      </a:cubicBezTo>
                      <a:cubicBezTo>
                        <a:pt x="32" y="10"/>
                        <a:pt x="31" y="12"/>
                        <a:pt x="31" y="14"/>
                      </a:cubicBezTo>
                      <a:cubicBezTo>
                        <a:pt x="25" y="11"/>
                        <a:pt x="23" y="21"/>
                        <a:pt x="22" y="16"/>
                      </a:cubicBezTo>
                      <a:cubicBezTo>
                        <a:pt x="17" y="20"/>
                        <a:pt x="14" y="25"/>
                        <a:pt x="7" y="26"/>
                      </a:cubicBezTo>
                      <a:cubicBezTo>
                        <a:pt x="5" y="24"/>
                        <a:pt x="5" y="21"/>
                        <a:pt x="5" y="18"/>
                      </a:cubicBezTo>
                      <a:cubicBezTo>
                        <a:pt x="4" y="16"/>
                        <a:pt x="2" y="17"/>
                        <a:pt x="1" y="14"/>
                      </a:cubicBezTo>
                      <a:cubicBezTo>
                        <a:pt x="0" y="12"/>
                        <a:pt x="2" y="8"/>
                        <a:pt x="1" y="5"/>
                      </a:cubicBezTo>
                      <a:cubicBezTo>
                        <a:pt x="4" y="6"/>
                        <a:pt x="5" y="4"/>
                        <a:pt x="5" y="1"/>
                      </a:cubicBezTo>
                      <a:cubicBezTo>
                        <a:pt x="7" y="2"/>
                        <a:pt x="10" y="2"/>
                        <a:pt x="10" y="0"/>
                      </a:cubicBezTo>
                      <a:cubicBezTo>
                        <a:pt x="13" y="3"/>
                        <a:pt x="23" y="0"/>
                        <a:pt x="25" y="3"/>
                      </a:cubicBezTo>
                      <a:cubicBezTo>
                        <a:pt x="28" y="3"/>
                        <a:pt x="32" y="4"/>
                        <a:pt x="3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7" name="ï$ļïḍê">
                  <a:extLst>
                    <a:ext uri="{FF2B5EF4-FFF2-40B4-BE49-F238E27FC236}">
                      <a16:creationId xmlns:a16="http://schemas.microsoft.com/office/drawing/2014/main" id="{F551AE6D-028F-4E4C-86AA-252339F7E58E}"/>
                    </a:ext>
                  </a:extLst>
                </p:cNvPr>
                <p:cNvSpPr/>
                <p:nvPr/>
              </p:nvSpPr>
              <p:spPr bwMode="auto">
                <a:xfrm>
                  <a:off x="5279164" y="962591"/>
                  <a:ext cx="166694" cy="81245"/>
                </a:xfrm>
                <a:custGeom>
                  <a:avLst/>
                  <a:gdLst>
                    <a:gd name="T0" fmla="*/ 58 w 80"/>
                    <a:gd name="T1" fmla="*/ 0 h 39"/>
                    <a:gd name="T2" fmla="*/ 66 w 80"/>
                    <a:gd name="T3" fmla="*/ 4 h 39"/>
                    <a:gd name="T4" fmla="*/ 71 w 80"/>
                    <a:gd name="T5" fmla="*/ 6 h 39"/>
                    <a:gd name="T6" fmla="*/ 69 w 80"/>
                    <a:gd name="T7" fmla="*/ 9 h 39"/>
                    <a:gd name="T8" fmla="*/ 79 w 80"/>
                    <a:gd name="T9" fmla="*/ 15 h 39"/>
                    <a:gd name="T10" fmla="*/ 73 w 80"/>
                    <a:gd name="T11" fmla="*/ 26 h 39"/>
                    <a:gd name="T12" fmla="*/ 68 w 80"/>
                    <a:gd name="T13" fmla="*/ 28 h 39"/>
                    <a:gd name="T14" fmla="*/ 60 w 80"/>
                    <a:gd name="T15" fmla="*/ 32 h 39"/>
                    <a:gd name="T16" fmla="*/ 55 w 80"/>
                    <a:gd name="T17" fmla="*/ 34 h 39"/>
                    <a:gd name="T18" fmla="*/ 51 w 80"/>
                    <a:gd name="T19" fmla="*/ 35 h 39"/>
                    <a:gd name="T20" fmla="*/ 28 w 80"/>
                    <a:gd name="T21" fmla="*/ 37 h 39"/>
                    <a:gd name="T22" fmla="*/ 27 w 80"/>
                    <a:gd name="T23" fmla="*/ 35 h 39"/>
                    <a:gd name="T24" fmla="*/ 19 w 80"/>
                    <a:gd name="T25" fmla="*/ 32 h 39"/>
                    <a:gd name="T26" fmla="*/ 15 w 80"/>
                    <a:gd name="T27" fmla="*/ 30 h 39"/>
                    <a:gd name="T28" fmla="*/ 19 w 80"/>
                    <a:gd name="T29" fmla="*/ 28 h 39"/>
                    <a:gd name="T30" fmla="*/ 14 w 80"/>
                    <a:gd name="T31" fmla="*/ 24 h 39"/>
                    <a:gd name="T32" fmla="*/ 14 w 80"/>
                    <a:gd name="T33" fmla="*/ 13 h 39"/>
                    <a:gd name="T34" fmla="*/ 2 w 80"/>
                    <a:gd name="T35" fmla="*/ 15 h 39"/>
                    <a:gd name="T36" fmla="*/ 6 w 80"/>
                    <a:gd name="T37" fmla="*/ 7 h 39"/>
                    <a:gd name="T38" fmla="*/ 21 w 80"/>
                    <a:gd name="T39" fmla="*/ 7 h 39"/>
                    <a:gd name="T40" fmla="*/ 23 w 80"/>
                    <a:gd name="T41" fmla="*/ 15 h 39"/>
                    <a:gd name="T42" fmla="*/ 28 w 80"/>
                    <a:gd name="T43" fmla="*/ 7 h 39"/>
                    <a:gd name="T44" fmla="*/ 40 w 80"/>
                    <a:gd name="T45" fmla="*/ 11 h 39"/>
                    <a:gd name="T46" fmla="*/ 43 w 80"/>
                    <a:gd name="T47" fmla="*/ 7 h 39"/>
                    <a:gd name="T48" fmla="*/ 55 w 80"/>
                    <a:gd name="T49" fmla="*/ 6 h 39"/>
                    <a:gd name="T50" fmla="*/ 58 w 80"/>
                    <a:gd name="T5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80" h="39">
                      <a:moveTo>
                        <a:pt x="58" y="0"/>
                      </a:moveTo>
                      <a:cubicBezTo>
                        <a:pt x="60" y="1"/>
                        <a:pt x="63" y="2"/>
                        <a:pt x="66" y="4"/>
                      </a:cubicBezTo>
                      <a:cubicBezTo>
                        <a:pt x="66" y="4"/>
                        <a:pt x="71" y="5"/>
                        <a:pt x="71" y="6"/>
                      </a:cubicBezTo>
                      <a:cubicBezTo>
                        <a:pt x="72" y="6"/>
                        <a:pt x="69" y="9"/>
                        <a:pt x="69" y="9"/>
                      </a:cubicBezTo>
                      <a:cubicBezTo>
                        <a:pt x="70" y="13"/>
                        <a:pt x="74" y="16"/>
                        <a:pt x="79" y="15"/>
                      </a:cubicBezTo>
                      <a:cubicBezTo>
                        <a:pt x="80" y="20"/>
                        <a:pt x="78" y="22"/>
                        <a:pt x="73" y="26"/>
                      </a:cubicBezTo>
                      <a:cubicBezTo>
                        <a:pt x="72" y="27"/>
                        <a:pt x="69" y="27"/>
                        <a:pt x="68" y="28"/>
                      </a:cubicBezTo>
                      <a:cubicBezTo>
                        <a:pt x="64" y="30"/>
                        <a:pt x="65" y="30"/>
                        <a:pt x="60" y="32"/>
                      </a:cubicBezTo>
                      <a:cubicBezTo>
                        <a:pt x="60" y="32"/>
                        <a:pt x="55" y="33"/>
                        <a:pt x="55" y="34"/>
                      </a:cubicBezTo>
                      <a:cubicBezTo>
                        <a:pt x="53" y="35"/>
                        <a:pt x="53" y="35"/>
                        <a:pt x="51" y="35"/>
                      </a:cubicBezTo>
                      <a:cubicBezTo>
                        <a:pt x="49" y="36"/>
                        <a:pt x="35" y="39"/>
                        <a:pt x="28" y="37"/>
                      </a:cubicBezTo>
                      <a:cubicBezTo>
                        <a:pt x="28" y="37"/>
                        <a:pt x="28" y="36"/>
                        <a:pt x="27" y="35"/>
                      </a:cubicBezTo>
                      <a:cubicBezTo>
                        <a:pt x="24" y="35"/>
                        <a:pt x="23" y="32"/>
                        <a:pt x="19" y="32"/>
                      </a:cubicBezTo>
                      <a:cubicBezTo>
                        <a:pt x="18" y="32"/>
                        <a:pt x="17" y="30"/>
                        <a:pt x="15" y="30"/>
                      </a:cubicBezTo>
                      <a:cubicBezTo>
                        <a:pt x="15" y="28"/>
                        <a:pt x="18" y="28"/>
                        <a:pt x="19" y="28"/>
                      </a:cubicBezTo>
                      <a:cubicBezTo>
                        <a:pt x="19" y="26"/>
                        <a:pt x="14" y="26"/>
                        <a:pt x="14" y="24"/>
                      </a:cubicBezTo>
                      <a:cubicBezTo>
                        <a:pt x="12" y="21"/>
                        <a:pt x="15" y="18"/>
                        <a:pt x="14" y="13"/>
                      </a:cubicBezTo>
                      <a:cubicBezTo>
                        <a:pt x="6" y="11"/>
                        <a:pt x="7" y="20"/>
                        <a:pt x="2" y="15"/>
                      </a:cubicBezTo>
                      <a:cubicBezTo>
                        <a:pt x="0" y="9"/>
                        <a:pt x="8" y="14"/>
                        <a:pt x="6" y="7"/>
                      </a:cubicBezTo>
                      <a:cubicBezTo>
                        <a:pt x="14" y="9"/>
                        <a:pt x="13" y="8"/>
                        <a:pt x="21" y="7"/>
                      </a:cubicBezTo>
                      <a:cubicBezTo>
                        <a:pt x="22" y="11"/>
                        <a:pt x="27" y="11"/>
                        <a:pt x="23" y="15"/>
                      </a:cubicBezTo>
                      <a:cubicBezTo>
                        <a:pt x="28" y="15"/>
                        <a:pt x="29" y="12"/>
                        <a:pt x="28" y="7"/>
                      </a:cubicBezTo>
                      <a:cubicBezTo>
                        <a:pt x="29" y="11"/>
                        <a:pt x="45" y="3"/>
                        <a:pt x="40" y="11"/>
                      </a:cubicBezTo>
                      <a:cubicBezTo>
                        <a:pt x="44" y="13"/>
                        <a:pt x="42" y="8"/>
                        <a:pt x="43" y="7"/>
                      </a:cubicBezTo>
                      <a:cubicBezTo>
                        <a:pt x="46" y="6"/>
                        <a:pt x="51" y="7"/>
                        <a:pt x="55" y="6"/>
                      </a:cubicBezTo>
                      <a:cubicBezTo>
                        <a:pt x="57" y="5"/>
                        <a:pt x="58" y="3"/>
                        <a:pt x="5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8" name="ïslïḋê">
                  <a:extLst>
                    <a:ext uri="{FF2B5EF4-FFF2-40B4-BE49-F238E27FC236}">
                      <a16:creationId xmlns:a16="http://schemas.microsoft.com/office/drawing/2014/main" id="{17ECF252-1A25-4FD2-83E7-100CEC616941}"/>
                    </a:ext>
                  </a:extLst>
                </p:cNvPr>
                <p:cNvSpPr/>
                <p:nvPr/>
              </p:nvSpPr>
              <p:spPr bwMode="auto">
                <a:xfrm>
                  <a:off x="4284608" y="982202"/>
                  <a:ext cx="99456" cy="70039"/>
                </a:xfrm>
                <a:custGeom>
                  <a:avLst/>
                  <a:gdLst>
                    <a:gd name="T0" fmla="*/ 13 w 48"/>
                    <a:gd name="T1" fmla="*/ 0 h 34"/>
                    <a:gd name="T2" fmla="*/ 24 w 48"/>
                    <a:gd name="T3" fmla="*/ 12 h 34"/>
                    <a:gd name="T4" fmla="*/ 27 w 48"/>
                    <a:gd name="T5" fmla="*/ 10 h 34"/>
                    <a:gd name="T6" fmla="*/ 33 w 48"/>
                    <a:gd name="T7" fmla="*/ 15 h 34"/>
                    <a:gd name="T8" fmla="*/ 41 w 48"/>
                    <a:gd name="T9" fmla="*/ 25 h 34"/>
                    <a:gd name="T10" fmla="*/ 48 w 48"/>
                    <a:gd name="T11" fmla="*/ 26 h 34"/>
                    <a:gd name="T12" fmla="*/ 24 w 48"/>
                    <a:gd name="T13" fmla="*/ 28 h 34"/>
                    <a:gd name="T14" fmla="*/ 14 w 48"/>
                    <a:gd name="T15" fmla="*/ 34 h 34"/>
                    <a:gd name="T16" fmla="*/ 0 w 48"/>
                    <a:gd name="T17" fmla="*/ 28 h 34"/>
                    <a:gd name="T18" fmla="*/ 3 w 48"/>
                    <a:gd name="T19" fmla="*/ 26 h 34"/>
                    <a:gd name="T20" fmla="*/ 5 w 48"/>
                    <a:gd name="T21" fmla="*/ 23 h 34"/>
                    <a:gd name="T22" fmla="*/ 5 w 48"/>
                    <a:gd name="T23" fmla="*/ 6 h 34"/>
                    <a:gd name="T24" fmla="*/ 13 w 48"/>
                    <a:gd name="T25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8" h="34">
                      <a:moveTo>
                        <a:pt x="13" y="0"/>
                      </a:moveTo>
                      <a:cubicBezTo>
                        <a:pt x="15" y="5"/>
                        <a:pt x="25" y="3"/>
                        <a:pt x="24" y="12"/>
                      </a:cubicBezTo>
                      <a:cubicBezTo>
                        <a:pt x="25" y="13"/>
                        <a:pt x="28" y="10"/>
                        <a:pt x="27" y="10"/>
                      </a:cubicBezTo>
                      <a:cubicBezTo>
                        <a:pt x="30" y="11"/>
                        <a:pt x="29" y="15"/>
                        <a:pt x="33" y="15"/>
                      </a:cubicBezTo>
                      <a:cubicBezTo>
                        <a:pt x="36" y="15"/>
                        <a:pt x="38" y="22"/>
                        <a:pt x="41" y="25"/>
                      </a:cubicBezTo>
                      <a:cubicBezTo>
                        <a:pt x="46" y="23"/>
                        <a:pt x="44" y="23"/>
                        <a:pt x="48" y="26"/>
                      </a:cubicBezTo>
                      <a:cubicBezTo>
                        <a:pt x="44" y="31"/>
                        <a:pt x="31" y="27"/>
                        <a:pt x="24" y="28"/>
                      </a:cubicBezTo>
                      <a:cubicBezTo>
                        <a:pt x="21" y="30"/>
                        <a:pt x="16" y="31"/>
                        <a:pt x="14" y="34"/>
                      </a:cubicBezTo>
                      <a:cubicBezTo>
                        <a:pt x="10" y="31"/>
                        <a:pt x="8" y="26"/>
                        <a:pt x="0" y="28"/>
                      </a:cubicBezTo>
                      <a:cubicBezTo>
                        <a:pt x="0" y="27"/>
                        <a:pt x="2" y="27"/>
                        <a:pt x="3" y="26"/>
                      </a:cubicBezTo>
                      <a:cubicBezTo>
                        <a:pt x="1" y="24"/>
                        <a:pt x="2" y="23"/>
                        <a:pt x="5" y="23"/>
                      </a:cubicBezTo>
                      <a:cubicBezTo>
                        <a:pt x="2" y="16"/>
                        <a:pt x="5" y="14"/>
                        <a:pt x="5" y="6"/>
                      </a:cubicBezTo>
                      <a:cubicBezTo>
                        <a:pt x="9" y="5"/>
                        <a:pt x="13" y="5"/>
                        <a:pt x="1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89" name="išḷiḋe">
                  <a:extLst>
                    <a:ext uri="{FF2B5EF4-FFF2-40B4-BE49-F238E27FC236}">
                      <a16:creationId xmlns:a16="http://schemas.microsoft.com/office/drawing/2014/main" id="{D52DAD41-2811-45BC-A4D3-F43C0D789AF5}"/>
                    </a:ext>
                  </a:extLst>
                </p:cNvPr>
                <p:cNvSpPr/>
                <p:nvPr/>
              </p:nvSpPr>
              <p:spPr bwMode="auto">
                <a:xfrm>
                  <a:off x="7168819" y="2123840"/>
                  <a:ext cx="165292" cy="177900"/>
                </a:xfrm>
                <a:custGeom>
                  <a:avLst/>
                  <a:gdLst>
                    <a:gd name="T0" fmla="*/ 8 w 80"/>
                    <a:gd name="T1" fmla="*/ 12 h 86"/>
                    <a:gd name="T2" fmla="*/ 4 w 80"/>
                    <a:gd name="T3" fmla="*/ 11 h 86"/>
                    <a:gd name="T4" fmla="*/ 0 w 80"/>
                    <a:gd name="T5" fmla="*/ 5 h 86"/>
                    <a:gd name="T6" fmla="*/ 15 w 80"/>
                    <a:gd name="T7" fmla="*/ 3 h 86"/>
                    <a:gd name="T8" fmla="*/ 23 w 80"/>
                    <a:gd name="T9" fmla="*/ 7 h 86"/>
                    <a:gd name="T10" fmla="*/ 23 w 80"/>
                    <a:gd name="T11" fmla="*/ 11 h 86"/>
                    <a:gd name="T12" fmla="*/ 26 w 80"/>
                    <a:gd name="T13" fmla="*/ 14 h 86"/>
                    <a:gd name="T14" fmla="*/ 34 w 80"/>
                    <a:gd name="T15" fmla="*/ 18 h 86"/>
                    <a:gd name="T16" fmla="*/ 47 w 80"/>
                    <a:gd name="T17" fmla="*/ 29 h 86"/>
                    <a:gd name="T18" fmla="*/ 51 w 80"/>
                    <a:gd name="T19" fmla="*/ 35 h 86"/>
                    <a:gd name="T20" fmla="*/ 56 w 80"/>
                    <a:gd name="T21" fmla="*/ 37 h 86"/>
                    <a:gd name="T22" fmla="*/ 60 w 80"/>
                    <a:gd name="T23" fmla="*/ 40 h 86"/>
                    <a:gd name="T24" fmla="*/ 60 w 80"/>
                    <a:gd name="T25" fmla="*/ 44 h 86"/>
                    <a:gd name="T26" fmla="*/ 64 w 80"/>
                    <a:gd name="T27" fmla="*/ 48 h 86"/>
                    <a:gd name="T28" fmla="*/ 69 w 80"/>
                    <a:gd name="T29" fmla="*/ 53 h 86"/>
                    <a:gd name="T30" fmla="*/ 73 w 80"/>
                    <a:gd name="T31" fmla="*/ 57 h 86"/>
                    <a:gd name="T32" fmla="*/ 77 w 80"/>
                    <a:gd name="T33" fmla="*/ 66 h 86"/>
                    <a:gd name="T34" fmla="*/ 79 w 80"/>
                    <a:gd name="T35" fmla="*/ 74 h 86"/>
                    <a:gd name="T36" fmla="*/ 80 w 80"/>
                    <a:gd name="T37" fmla="*/ 80 h 86"/>
                    <a:gd name="T38" fmla="*/ 71 w 80"/>
                    <a:gd name="T39" fmla="*/ 81 h 86"/>
                    <a:gd name="T40" fmla="*/ 64 w 80"/>
                    <a:gd name="T41" fmla="*/ 81 h 86"/>
                    <a:gd name="T42" fmla="*/ 64 w 80"/>
                    <a:gd name="T43" fmla="*/ 78 h 86"/>
                    <a:gd name="T44" fmla="*/ 60 w 80"/>
                    <a:gd name="T45" fmla="*/ 78 h 86"/>
                    <a:gd name="T46" fmla="*/ 51 w 80"/>
                    <a:gd name="T47" fmla="*/ 70 h 86"/>
                    <a:gd name="T48" fmla="*/ 52 w 80"/>
                    <a:gd name="T49" fmla="*/ 66 h 86"/>
                    <a:gd name="T50" fmla="*/ 51 w 80"/>
                    <a:gd name="T51" fmla="*/ 66 h 86"/>
                    <a:gd name="T52" fmla="*/ 49 w 80"/>
                    <a:gd name="T53" fmla="*/ 63 h 86"/>
                    <a:gd name="T54" fmla="*/ 45 w 80"/>
                    <a:gd name="T55" fmla="*/ 63 h 86"/>
                    <a:gd name="T56" fmla="*/ 38 w 80"/>
                    <a:gd name="T57" fmla="*/ 55 h 86"/>
                    <a:gd name="T58" fmla="*/ 34 w 80"/>
                    <a:gd name="T59" fmla="*/ 42 h 86"/>
                    <a:gd name="T60" fmla="*/ 32 w 80"/>
                    <a:gd name="T61" fmla="*/ 46 h 86"/>
                    <a:gd name="T62" fmla="*/ 28 w 80"/>
                    <a:gd name="T63" fmla="*/ 37 h 86"/>
                    <a:gd name="T64" fmla="*/ 24 w 80"/>
                    <a:gd name="T65" fmla="*/ 33 h 86"/>
                    <a:gd name="T66" fmla="*/ 21 w 80"/>
                    <a:gd name="T67" fmla="*/ 31 h 86"/>
                    <a:gd name="T68" fmla="*/ 19 w 80"/>
                    <a:gd name="T69" fmla="*/ 24 h 86"/>
                    <a:gd name="T70" fmla="*/ 13 w 80"/>
                    <a:gd name="T71" fmla="*/ 20 h 86"/>
                    <a:gd name="T72" fmla="*/ 10 w 80"/>
                    <a:gd name="T73" fmla="*/ 16 h 86"/>
                    <a:gd name="T74" fmla="*/ 8 w 80"/>
                    <a:gd name="T75" fmla="*/ 1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86">
                      <a:moveTo>
                        <a:pt x="8" y="12"/>
                      </a:moveTo>
                      <a:cubicBezTo>
                        <a:pt x="8" y="10"/>
                        <a:pt x="5" y="11"/>
                        <a:pt x="4" y="11"/>
                      </a:cubicBezTo>
                      <a:cubicBezTo>
                        <a:pt x="2" y="9"/>
                        <a:pt x="4" y="4"/>
                        <a:pt x="0" y="5"/>
                      </a:cubicBezTo>
                      <a:cubicBezTo>
                        <a:pt x="5" y="0"/>
                        <a:pt x="9" y="6"/>
                        <a:pt x="15" y="3"/>
                      </a:cubicBezTo>
                      <a:cubicBezTo>
                        <a:pt x="15" y="8"/>
                        <a:pt x="20" y="5"/>
                        <a:pt x="23" y="7"/>
                      </a:cubicBezTo>
                      <a:cubicBezTo>
                        <a:pt x="23" y="7"/>
                        <a:pt x="22" y="10"/>
                        <a:pt x="23" y="11"/>
                      </a:cubicBezTo>
                      <a:cubicBezTo>
                        <a:pt x="24" y="12"/>
                        <a:pt x="27" y="10"/>
                        <a:pt x="26" y="14"/>
                      </a:cubicBezTo>
                      <a:cubicBezTo>
                        <a:pt x="31" y="13"/>
                        <a:pt x="30" y="18"/>
                        <a:pt x="34" y="18"/>
                      </a:cubicBezTo>
                      <a:cubicBezTo>
                        <a:pt x="37" y="18"/>
                        <a:pt x="42" y="29"/>
                        <a:pt x="47" y="29"/>
                      </a:cubicBezTo>
                      <a:cubicBezTo>
                        <a:pt x="51" y="29"/>
                        <a:pt x="49" y="33"/>
                        <a:pt x="51" y="35"/>
                      </a:cubicBezTo>
                      <a:cubicBezTo>
                        <a:pt x="52" y="36"/>
                        <a:pt x="55" y="36"/>
                        <a:pt x="56" y="37"/>
                      </a:cubicBezTo>
                      <a:cubicBezTo>
                        <a:pt x="57" y="37"/>
                        <a:pt x="59" y="40"/>
                        <a:pt x="60" y="40"/>
                      </a:cubicBezTo>
                      <a:cubicBezTo>
                        <a:pt x="61" y="41"/>
                        <a:pt x="59" y="43"/>
                        <a:pt x="60" y="44"/>
                      </a:cubicBezTo>
                      <a:cubicBezTo>
                        <a:pt x="61" y="45"/>
                        <a:pt x="63" y="47"/>
                        <a:pt x="64" y="48"/>
                      </a:cubicBezTo>
                      <a:cubicBezTo>
                        <a:pt x="65" y="49"/>
                        <a:pt x="66" y="53"/>
                        <a:pt x="69" y="53"/>
                      </a:cubicBezTo>
                      <a:cubicBezTo>
                        <a:pt x="70" y="53"/>
                        <a:pt x="72" y="57"/>
                        <a:pt x="73" y="57"/>
                      </a:cubicBezTo>
                      <a:cubicBezTo>
                        <a:pt x="75" y="59"/>
                        <a:pt x="74" y="66"/>
                        <a:pt x="77" y="66"/>
                      </a:cubicBezTo>
                      <a:cubicBezTo>
                        <a:pt x="79" y="67"/>
                        <a:pt x="79" y="72"/>
                        <a:pt x="79" y="74"/>
                      </a:cubicBezTo>
                      <a:cubicBezTo>
                        <a:pt x="78" y="77"/>
                        <a:pt x="74" y="80"/>
                        <a:pt x="80" y="80"/>
                      </a:cubicBezTo>
                      <a:cubicBezTo>
                        <a:pt x="80" y="86"/>
                        <a:pt x="74" y="82"/>
                        <a:pt x="71" y="81"/>
                      </a:cubicBezTo>
                      <a:cubicBezTo>
                        <a:pt x="69" y="81"/>
                        <a:pt x="66" y="82"/>
                        <a:pt x="64" y="81"/>
                      </a:cubicBezTo>
                      <a:cubicBezTo>
                        <a:pt x="63" y="81"/>
                        <a:pt x="64" y="78"/>
                        <a:pt x="64" y="78"/>
                      </a:cubicBezTo>
                      <a:cubicBezTo>
                        <a:pt x="63" y="77"/>
                        <a:pt x="61" y="78"/>
                        <a:pt x="60" y="78"/>
                      </a:cubicBezTo>
                      <a:cubicBezTo>
                        <a:pt x="58" y="76"/>
                        <a:pt x="55" y="70"/>
                        <a:pt x="51" y="70"/>
                      </a:cubicBezTo>
                      <a:cubicBezTo>
                        <a:pt x="51" y="69"/>
                        <a:pt x="52" y="68"/>
                        <a:pt x="52" y="66"/>
                      </a:cubicBezTo>
                      <a:cubicBezTo>
                        <a:pt x="52" y="64"/>
                        <a:pt x="51" y="65"/>
                        <a:pt x="51" y="66"/>
                      </a:cubicBezTo>
                      <a:cubicBezTo>
                        <a:pt x="48" y="67"/>
                        <a:pt x="50" y="63"/>
                        <a:pt x="49" y="63"/>
                      </a:cubicBezTo>
                      <a:cubicBezTo>
                        <a:pt x="48" y="62"/>
                        <a:pt x="46" y="63"/>
                        <a:pt x="45" y="63"/>
                      </a:cubicBezTo>
                      <a:cubicBezTo>
                        <a:pt x="43" y="60"/>
                        <a:pt x="43" y="55"/>
                        <a:pt x="38" y="55"/>
                      </a:cubicBezTo>
                      <a:cubicBezTo>
                        <a:pt x="40" y="48"/>
                        <a:pt x="34" y="48"/>
                        <a:pt x="34" y="42"/>
                      </a:cubicBezTo>
                      <a:cubicBezTo>
                        <a:pt x="32" y="42"/>
                        <a:pt x="32" y="44"/>
                        <a:pt x="32" y="46"/>
                      </a:cubicBezTo>
                      <a:cubicBezTo>
                        <a:pt x="29" y="44"/>
                        <a:pt x="30" y="40"/>
                        <a:pt x="28" y="37"/>
                      </a:cubicBezTo>
                      <a:cubicBezTo>
                        <a:pt x="28" y="36"/>
                        <a:pt x="25" y="34"/>
                        <a:pt x="24" y="33"/>
                      </a:cubicBezTo>
                      <a:cubicBezTo>
                        <a:pt x="24" y="32"/>
                        <a:pt x="23" y="31"/>
                        <a:pt x="21" y="31"/>
                      </a:cubicBezTo>
                      <a:cubicBezTo>
                        <a:pt x="22" y="27"/>
                        <a:pt x="20" y="26"/>
                        <a:pt x="19" y="24"/>
                      </a:cubicBezTo>
                      <a:cubicBezTo>
                        <a:pt x="18" y="21"/>
                        <a:pt x="15" y="21"/>
                        <a:pt x="13" y="20"/>
                      </a:cubicBezTo>
                      <a:cubicBezTo>
                        <a:pt x="13" y="20"/>
                        <a:pt x="9" y="16"/>
                        <a:pt x="10" y="16"/>
                      </a:cubicBezTo>
                      <a:cubicBezTo>
                        <a:pt x="8" y="12"/>
                        <a:pt x="14" y="9"/>
                        <a:pt x="8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90" name="iṥḷíḓe">
                  <a:extLst>
                    <a:ext uri="{FF2B5EF4-FFF2-40B4-BE49-F238E27FC236}">
                      <a16:creationId xmlns:a16="http://schemas.microsoft.com/office/drawing/2014/main" id="{1AEAD9F6-A256-4AC7-818A-BD425DF1A0C6}"/>
                    </a:ext>
                  </a:extLst>
                </p:cNvPr>
                <p:cNvSpPr/>
                <p:nvPr/>
              </p:nvSpPr>
              <p:spPr bwMode="auto">
                <a:xfrm>
                  <a:off x="6346560" y="2401195"/>
                  <a:ext cx="119067" cy="217122"/>
                </a:xfrm>
                <a:custGeom>
                  <a:avLst/>
                  <a:gdLst>
                    <a:gd name="T0" fmla="*/ 43 w 57"/>
                    <a:gd name="T1" fmla="*/ 0 h 104"/>
                    <a:gd name="T2" fmla="*/ 50 w 57"/>
                    <a:gd name="T3" fmla="*/ 1 h 104"/>
                    <a:gd name="T4" fmla="*/ 47 w 57"/>
                    <a:gd name="T5" fmla="*/ 35 h 104"/>
                    <a:gd name="T6" fmla="*/ 43 w 57"/>
                    <a:gd name="T7" fmla="*/ 57 h 104"/>
                    <a:gd name="T8" fmla="*/ 37 w 57"/>
                    <a:gd name="T9" fmla="*/ 67 h 104"/>
                    <a:gd name="T10" fmla="*/ 36 w 57"/>
                    <a:gd name="T11" fmla="*/ 78 h 104"/>
                    <a:gd name="T12" fmla="*/ 36 w 57"/>
                    <a:gd name="T13" fmla="*/ 82 h 104"/>
                    <a:gd name="T14" fmla="*/ 32 w 57"/>
                    <a:gd name="T15" fmla="*/ 83 h 104"/>
                    <a:gd name="T16" fmla="*/ 30 w 57"/>
                    <a:gd name="T17" fmla="*/ 95 h 104"/>
                    <a:gd name="T18" fmla="*/ 28 w 57"/>
                    <a:gd name="T19" fmla="*/ 96 h 104"/>
                    <a:gd name="T20" fmla="*/ 26 w 57"/>
                    <a:gd name="T21" fmla="*/ 102 h 104"/>
                    <a:gd name="T22" fmla="*/ 8 w 57"/>
                    <a:gd name="T23" fmla="*/ 104 h 104"/>
                    <a:gd name="T24" fmla="*/ 6 w 57"/>
                    <a:gd name="T25" fmla="*/ 95 h 104"/>
                    <a:gd name="T26" fmla="*/ 4 w 57"/>
                    <a:gd name="T27" fmla="*/ 91 h 104"/>
                    <a:gd name="T28" fmla="*/ 0 w 57"/>
                    <a:gd name="T29" fmla="*/ 89 h 104"/>
                    <a:gd name="T30" fmla="*/ 0 w 57"/>
                    <a:gd name="T31" fmla="*/ 82 h 104"/>
                    <a:gd name="T32" fmla="*/ 2 w 57"/>
                    <a:gd name="T33" fmla="*/ 80 h 104"/>
                    <a:gd name="T34" fmla="*/ 0 w 57"/>
                    <a:gd name="T35" fmla="*/ 78 h 104"/>
                    <a:gd name="T36" fmla="*/ 4 w 57"/>
                    <a:gd name="T37" fmla="*/ 70 h 104"/>
                    <a:gd name="T38" fmla="*/ 4 w 57"/>
                    <a:gd name="T39" fmla="*/ 67 h 104"/>
                    <a:gd name="T40" fmla="*/ 8 w 57"/>
                    <a:gd name="T41" fmla="*/ 65 h 104"/>
                    <a:gd name="T42" fmla="*/ 11 w 57"/>
                    <a:gd name="T43" fmla="*/ 55 h 104"/>
                    <a:gd name="T44" fmla="*/ 8 w 57"/>
                    <a:gd name="T45" fmla="*/ 50 h 104"/>
                    <a:gd name="T46" fmla="*/ 8 w 57"/>
                    <a:gd name="T47" fmla="*/ 39 h 104"/>
                    <a:gd name="T48" fmla="*/ 11 w 57"/>
                    <a:gd name="T49" fmla="*/ 35 h 104"/>
                    <a:gd name="T50" fmla="*/ 17 w 57"/>
                    <a:gd name="T51" fmla="*/ 31 h 104"/>
                    <a:gd name="T52" fmla="*/ 26 w 57"/>
                    <a:gd name="T53" fmla="*/ 24 h 104"/>
                    <a:gd name="T54" fmla="*/ 32 w 57"/>
                    <a:gd name="T55" fmla="*/ 26 h 104"/>
                    <a:gd name="T56" fmla="*/ 34 w 57"/>
                    <a:gd name="T57" fmla="*/ 14 h 104"/>
                    <a:gd name="T58" fmla="*/ 39 w 57"/>
                    <a:gd name="T59" fmla="*/ 13 h 104"/>
                    <a:gd name="T60" fmla="*/ 43 w 57"/>
                    <a:gd name="T61" fmla="*/ 0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57" h="104">
                      <a:moveTo>
                        <a:pt x="43" y="0"/>
                      </a:moveTo>
                      <a:cubicBezTo>
                        <a:pt x="45" y="1"/>
                        <a:pt x="47" y="2"/>
                        <a:pt x="50" y="1"/>
                      </a:cubicBezTo>
                      <a:cubicBezTo>
                        <a:pt x="47" y="11"/>
                        <a:pt x="57" y="28"/>
                        <a:pt x="47" y="35"/>
                      </a:cubicBezTo>
                      <a:cubicBezTo>
                        <a:pt x="47" y="43"/>
                        <a:pt x="46" y="50"/>
                        <a:pt x="43" y="57"/>
                      </a:cubicBezTo>
                      <a:cubicBezTo>
                        <a:pt x="42" y="61"/>
                        <a:pt x="41" y="66"/>
                        <a:pt x="37" y="67"/>
                      </a:cubicBezTo>
                      <a:cubicBezTo>
                        <a:pt x="39" y="71"/>
                        <a:pt x="36" y="75"/>
                        <a:pt x="36" y="78"/>
                      </a:cubicBezTo>
                      <a:cubicBezTo>
                        <a:pt x="35" y="79"/>
                        <a:pt x="36" y="81"/>
                        <a:pt x="36" y="82"/>
                      </a:cubicBezTo>
                      <a:cubicBezTo>
                        <a:pt x="35" y="82"/>
                        <a:pt x="32" y="83"/>
                        <a:pt x="32" y="83"/>
                      </a:cubicBezTo>
                      <a:cubicBezTo>
                        <a:pt x="31" y="87"/>
                        <a:pt x="32" y="91"/>
                        <a:pt x="30" y="95"/>
                      </a:cubicBezTo>
                      <a:cubicBezTo>
                        <a:pt x="30" y="95"/>
                        <a:pt x="28" y="95"/>
                        <a:pt x="28" y="96"/>
                      </a:cubicBezTo>
                      <a:cubicBezTo>
                        <a:pt x="28" y="98"/>
                        <a:pt x="25" y="99"/>
                        <a:pt x="26" y="102"/>
                      </a:cubicBezTo>
                      <a:cubicBezTo>
                        <a:pt x="21" y="104"/>
                        <a:pt x="15" y="104"/>
                        <a:pt x="8" y="104"/>
                      </a:cubicBezTo>
                      <a:cubicBezTo>
                        <a:pt x="8" y="99"/>
                        <a:pt x="4" y="100"/>
                        <a:pt x="6" y="95"/>
                      </a:cubicBezTo>
                      <a:cubicBezTo>
                        <a:pt x="4" y="95"/>
                        <a:pt x="4" y="92"/>
                        <a:pt x="4" y="91"/>
                      </a:cubicBezTo>
                      <a:cubicBezTo>
                        <a:pt x="2" y="91"/>
                        <a:pt x="1" y="90"/>
                        <a:pt x="0" y="89"/>
                      </a:cubicBezTo>
                      <a:cubicBezTo>
                        <a:pt x="0" y="87"/>
                        <a:pt x="0" y="84"/>
                        <a:pt x="0" y="82"/>
                      </a:cubicBezTo>
                      <a:cubicBezTo>
                        <a:pt x="0" y="80"/>
                        <a:pt x="2" y="80"/>
                        <a:pt x="2" y="80"/>
                      </a:cubicBezTo>
                      <a:cubicBezTo>
                        <a:pt x="2" y="78"/>
                        <a:pt x="0" y="78"/>
                        <a:pt x="0" y="78"/>
                      </a:cubicBezTo>
                      <a:cubicBezTo>
                        <a:pt x="1" y="75"/>
                        <a:pt x="3" y="72"/>
                        <a:pt x="4" y="70"/>
                      </a:cubicBezTo>
                      <a:cubicBezTo>
                        <a:pt x="4" y="70"/>
                        <a:pt x="3" y="67"/>
                        <a:pt x="4" y="67"/>
                      </a:cubicBezTo>
                      <a:cubicBezTo>
                        <a:pt x="4" y="66"/>
                        <a:pt x="8" y="65"/>
                        <a:pt x="8" y="65"/>
                      </a:cubicBezTo>
                      <a:cubicBezTo>
                        <a:pt x="9" y="62"/>
                        <a:pt x="5" y="49"/>
                        <a:pt x="11" y="55"/>
                      </a:cubicBezTo>
                      <a:cubicBezTo>
                        <a:pt x="12" y="51"/>
                        <a:pt x="8" y="53"/>
                        <a:pt x="8" y="50"/>
                      </a:cubicBezTo>
                      <a:cubicBezTo>
                        <a:pt x="8" y="46"/>
                        <a:pt x="8" y="42"/>
                        <a:pt x="8" y="39"/>
                      </a:cubicBezTo>
                      <a:cubicBezTo>
                        <a:pt x="11" y="39"/>
                        <a:pt x="11" y="37"/>
                        <a:pt x="11" y="35"/>
                      </a:cubicBezTo>
                      <a:cubicBezTo>
                        <a:pt x="15" y="36"/>
                        <a:pt x="15" y="32"/>
                        <a:pt x="17" y="31"/>
                      </a:cubicBezTo>
                      <a:cubicBezTo>
                        <a:pt x="19" y="30"/>
                        <a:pt x="27" y="31"/>
                        <a:pt x="26" y="24"/>
                      </a:cubicBezTo>
                      <a:cubicBezTo>
                        <a:pt x="29" y="23"/>
                        <a:pt x="29" y="26"/>
                        <a:pt x="32" y="26"/>
                      </a:cubicBezTo>
                      <a:cubicBezTo>
                        <a:pt x="30" y="20"/>
                        <a:pt x="34" y="19"/>
                        <a:pt x="34" y="14"/>
                      </a:cubicBezTo>
                      <a:cubicBezTo>
                        <a:pt x="39" y="17"/>
                        <a:pt x="38" y="2"/>
                        <a:pt x="39" y="13"/>
                      </a:cubicBezTo>
                      <a:cubicBezTo>
                        <a:pt x="46" y="10"/>
                        <a:pt x="40" y="2"/>
                        <a:pt x="4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191" name="ïš1ïḍé">
                  <a:extLst>
                    <a:ext uri="{FF2B5EF4-FFF2-40B4-BE49-F238E27FC236}">
                      <a16:creationId xmlns:a16="http://schemas.microsoft.com/office/drawing/2014/main" id="{B8C330C8-AC7F-47AC-BE4E-4886D63B1510}"/>
                    </a:ext>
                  </a:extLst>
                </p:cNvPr>
                <p:cNvSpPr/>
                <p:nvPr/>
              </p:nvSpPr>
              <p:spPr bwMode="auto">
                <a:xfrm>
                  <a:off x="7448976" y="2389989"/>
                  <a:ext cx="638757" cy="469263"/>
                </a:xfrm>
                <a:custGeom>
                  <a:avLst/>
                  <a:gdLst>
                    <a:gd name="T0" fmla="*/ 178 w 307"/>
                    <a:gd name="T1" fmla="*/ 19 h 226"/>
                    <a:gd name="T2" fmla="*/ 171 w 307"/>
                    <a:gd name="T3" fmla="*/ 22 h 226"/>
                    <a:gd name="T4" fmla="*/ 180 w 307"/>
                    <a:gd name="T5" fmla="*/ 34 h 226"/>
                    <a:gd name="T6" fmla="*/ 206 w 307"/>
                    <a:gd name="T7" fmla="*/ 48 h 226"/>
                    <a:gd name="T8" fmla="*/ 214 w 307"/>
                    <a:gd name="T9" fmla="*/ 37 h 226"/>
                    <a:gd name="T10" fmla="*/ 216 w 307"/>
                    <a:gd name="T11" fmla="*/ 30 h 226"/>
                    <a:gd name="T12" fmla="*/ 218 w 307"/>
                    <a:gd name="T13" fmla="*/ 13 h 226"/>
                    <a:gd name="T14" fmla="*/ 223 w 307"/>
                    <a:gd name="T15" fmla="*/ 4 h 226"/>
                    <a:gd name="T16" fmla="*/ 229 w 307"/>
                    <a:gd name="T17" fmla="*/ 11 h 226"/>
                    <a:gd name="T18" fmla="*/ 238 w 307"/>
                    <a:gd name="T19" fmla="*/ 30 h 226"/>
                    <a:gd name="T20" fmla="*/ 247 w 307"/>
                    <a:gd name="T21" fmla="*/ 43 h 226"/>
                    <a:gd name="T22" fmla="*/ 257 w 307"/>
                    <a:gd name="T23" fmla="*/ 56 h 226"/>
                    <a:gd name="T24" fmla="*/ 262 w 307"/>
                    <a:gd name="T25" fmla="*/ 71 h 226"/>
                    <a:gd name="T26" fmla="*/ 268 w 307"/>
                    <a:gd name="T27" fmla="*/ 75 h 226"/>
                    <a:gd name="T28" fmla="*/ 279 w 307"/>
                    <a:gd name="T29" fmla="*/ 82 h 226"/>
                    <a:gd name="T30" fmla="*/ 288 w 307"/>
                    <a:gd name="T31" fmla="*/ 101 h 226"/>
                    <a:gd name="T32" fmla="*/ 292 w 307"/>
                    <a:gd name="T33" fmla="*/ 104 h 226"/>
                    <a:gd name="T34" fmla="*/ 303 w 307"/>
                    <a:gd name="T35" fmla="*/ 112 h 226"/>
                    <a:gd name="T36" fmla="*/ 307 w 307"/>
                    <a:gd name="T37" fmla="*/ 143 h 226"/>
                    <a:gd name="T38" fmla="*/ 301 w 307"/>
                    <a:gd name="T39" fmla="*/ 158 h 226"/>
                    <a:gd name="T40" fmla="*/ 301 w 307"/>
                    <a:gd name="T41" fmla="*/ 164 h 226"/>
                    <a:gd name="T42" fmla="*/ 298 w 307"/>
                    <a:gd name="T43" fmla="*/ 175 h 226"/>
                    <a:gd name="T44" fmla="*/ 287 w 307"/>
                    <a:gd name="T45" fmla="*/ 185 h 226"/>
                    <a:gd name="T46" fmla="*/ 277 w 307"/>
                    <a:gd name="T47" fmla="*/ 212 h 226"/>
                    <a:gd name="T48" fmla="*/ 260 w 307"/>
                    <a:gd name="T49" fmla="*/ 220 h 226"/>
                    <a:gd name="T50" fmla="*/ 253 w 307"/>
                    <a:gd name="T51" fmla="*/ 226 h 226"/>
                    <a:gd name="T52" fmla="*/ 238 w 307"/>
                    <a:gd name="T53" fmla="*/ 222 h 226"/>
                    <a:gd name="T54" fmla="*/ 205 w 307"/>
                    <a:gd name="T55" fmla="*/ 216 h 226"/>
                    <a:gd name="T56" fmla="*/ 203 w 307"/>
                    <a:gd name="T57" fmla="*/ 205 h 226"/>
                    <a:gd name="T58" fmla="*/ 201 w 307"/>
                    <a:gd name="T59" fmla="*/ 199 h 226"/>
                    <a:gd name="T60" fmla="*/ 186 w 307"/>
                    <a:gd name="T61" fmla="*/ 188 h 226"/>
                    <a:gd name="T62" fmla="*/ 178 w 307"/>
                    <a:gd name="T63" fmla="*/ 179 h 226"/>
                    <a:gd name="T64" fmla="*/ 164 w 307"/>
                    <a:gd name="T65" fmla="*/ 173 h 226"/>
                    <a:gd name="T66" fmla="*/ 156 w 307"/>
                    <a:gd name="T67" fmla="*/ 170 h 226"/>
                    <a:gd name="T68" fmla="*/ 121 w 307"/>
                    <a:gd name="T69" fmla="*/ 162 h 226"/>
                    <a:gd name="T70" fmla="*/ 102 w 307"/>
                    <a:gd name="T71" fmla="*/ 168 h 226"/>
                    <a:gd name="T72" fmla="*/ 95 w 307"/>
                    <a:gd name="T73" fmla="*/ 171 h 226"/>
                    <a:gd name="T74" fmla="*/ 89 w 307"/>
                    <a:gd name="T75" fmla="*/ 177 h 226"/>
                    <a:gd name="T76" fmla="*/ 85 w 307"/>
                    <a:gd name="T77" fmla="*/ 177 h 226"/>
                    <a:gd name="T78" fmla="*/ 52 w 307"/>
                    <a:gd name="T79" fmla="*/ 183 h 226"/>
                    <a:gd name="T80" fmla="*/ 46 w 307"/>
                    <a:gd name="T81" fmla="*/ 186 h 226"/>
                    <a:gd name="T82" fmla="*/ 14 w 307"/>
                    <a:gd name="T83" fmla="*/ 192 h 226"/>
                    <a:gd name="T84" fmla="*/ 18 w 307"/>
                    <a:gd name="T85" fmla="*/ 171 h 226"/>
                    <a:gd name="T86" fmla="*/ 14 w 307"/>
                    <a:gd name="T87" fmla="*/ 160 h 226"/>
                    <a:gd name="T88" fmla="*/ 14 w 307"/>
                    <a:gd name="T89" fmla="*/ 153 h 226"/>
                    <a:gd name="T90" fmla="*/ 9 w 307"/>
                    <a:gd name="T91" fmla="*/ 142 h 226"/>
                    <a:gd name="T92" fmla="*/ 7 w 307"/>
                    <a:gd name="T93" fmla="*/ 132 h 226"/>
                    <a:gd name="T94" fmla="*/ 3 w 307"/>
                    <a:gd name="T95" fmla="*/ 121 h 226"/>
                    <a:gd name="T96" fmla="*/ 5 w 307"/>
                    <a:gd name="T97" fmla="*/ 112 h 226"/>
                    <a:gd name="T98" fmla="*/ 5 w 307"/>
                    <a:gd name="T99" fmla="*/ 88 h 226"/>
                    <a:gd name="T100" fmla="*/ 26 w 307"/>
                    <a:gd name="T101" fmla="*/ 75 h 226"/>
                    <a:gd name="T102" fmla="*/ 50 w 307"/>
                    <a:gd name="T103" fmla="*/ 69 h 226"/>
                    <a:gd name="T104" fmla="*/ 63 w 307"/>
                    <a:gd name="T105" fmla="*/ 63 h 226"/>
                    <a:gd name="T106" fmla="*/ 68 w 307"/>
                    <a:gd name="T107" fmla="*/ 43 h 226"/>
                    <a:gd name="T108" fmla="*/ 85 w 307"/>
                    <a:gd name="T109" fmla="*/ 43 h 226"/>
                    <a:gd name="T110" fmla="*/ 89 w 307"/>
                    <a:gd name="T111" fmla="*/ 30 h 226"/>
                    <a:gd name="T112" fmla="*/ 104 w 307"/>
                    <a:gd name="T113" fmla="*/ 20 h 226"/>
                    <a:gd name="T114" fmla="*/ 115 w 307"/>
                    <a:gd name="T115" fmla="*/ 26 h 226"/>
                    <a:gd name="T116" fmla="*/ 119 w 307"/>
                    <a:gd name="T117" fmla="*/ 28 h 226"/>
                    <a:gd name="T118" fmla="*/ 123 w 307"/>
                    <a:gd name="T119" fmla="*/ 24 h 226"/>
                    <a:gd name="T120" fmla="*/ 136 w 307"/>
                    <a:gd name="T121" fmla="*/ 13 h 226"/>
                    <a:gd name="T122" fmla="*/ 145 w 307"/>
                    <a:gd name="T123" fmla="*/ 9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07" h="226">
                      <a:moveTo>
                        <a:pt x="178" y="9"/>
                      </a:moveTo>
                      <a:cubicBezTo>
                        <a:pt x="178" y="12"/>
                        <a:pt x="178" y="16"/>
                        <a:pt x="178" y="19"/>
                      </a:cubicBezTo>
                      <a:cubicBezTo>
                        <a:pt x="177" y="19"/>
                        <a:pt x="175" y="19"/>
                        <a:pt x="173" y="19"/>
                      </a:cubicBezTo>
                      <a:cubicBezTo>
                        <a:pt x="175" y="21"/>
                        <a:pt x="174" y="22"/>
                        <a:pt x="171" y="22"/>
                      </a:cubicBezTo>
                      <a:cubicBezTo>
                        <a:pt x="174" y="26"/>
                        <a:pt x="171" y="25"/>
                        <a:pt x="171" y="30"/>
                      </a:cubicBezTo>
                      <a:cubicBezTo>
                        <a:pt x="173" y="33"/>
                        <a:pt x="176" y="34"/>
                        <a:pt x="180" y="34"/>
                      </a:cubicBezTo>
                      <a:cubicBezTo>
                        <a:pt x="181" y="42"/>
                        <a:pt x="193" y="38"/>
                        <a:pt x="193" y="47"/>
                      </a:cubicBezTo>
                      <a:cubicBezTo>
                        <a:pt x="198" y="47"/>
                        <a:pt x="204" y="46"/>
                        <a:pt x="206" y="48"/>
                      </a:cubicBezTo>
                      <a:cubicBezTo>
                        <a:pt x="210" y="48"/>
                        <a:pt x="207" y="40"/>
                        <a:pt x="214" y="43"/>
                      </a:cubicBezTo>
                      <a:cubicBezTo>
                        <a:pt x="213" y="42"/>
                        <a:pt x="211" y="37"/>
                        <a:pt x="214" y="37"/>
                      </a:cubicBezTo>
                      <a:cubicBezTo>
                        <a:pt x="216" y="37"/>
                        <a:pt x="213" y="34"/>
                        <a:pt x="214" y="32"/>
                      </a:cubicBezTo>
                      <a:cubicBezTo>
                        <a:pt x="214" y="32"/>
                        <a:pt x="216" y="31"/>
                        <a:pt x="216" y="30"/>
                      </a:cubicBezTo>
                      <a:cubicBezTo>
                        <a:pt x="216" y="28"/>
                        <a:pt x="218" y="26"/>
                        <a:pt x="218" y="22"/>
                      </a:cubicBezTo>
                      <a:cubicBezTo>
                        <a:pt x="217" y="21"/>
                        <a:pt x="215" y="19"/>
                        <a:pt x="218" y="13"/>
                      </a:cubicBezTo>
                      <a:cubicBezTo>
                        <a:pt x="218" y="13"/>
                        <a:pt x="221" y="13"/>
                        <a:pt x="221" y="13"/>
                      </a:cubicBezTo>
                      <a:cubicBezTo>
                        <a:pt x="223" y="11"/>
                        <a:pt x="221" y="5"/>
                        <a:pt x="223" y="4"/>
                      </a:cubicBezTo>
                      <a:cubicBezTo>
                        <a:pt x="227" y="3"/>
                        <a:pt x="224" y="9"/>
                        <a:pt x="227" y="11"/>
                      </a:cubicBezTo>
                      <a:cubicBezTo>
                        <a:pt x="227" y="11"/>
                        <a:pt x="229" y="11"/>
                        <a:pt x="229" y="11"/>
                      </a:cubicBezTo>
                      <a:cubicBezTo>
                        <a:pt x="230" y="14"/>
                        <a:pt x="231" y="18"/>
                        <a:pt x="232" y="20"/>
                      </a:cubicBezTo>
                      <a:cubicBezTo>
                        <a:pt x="234" y="24"/>
                        <a:pt x="238" y="26"/>
                        <a:pt x="238" y="30"/>
                      </a:cubicBezTo>
                      <a:cubicBezTo>
                        <a:pt x="243" y="25"/>
                        <a:pt x="240" y="33"/>
                        <a:pt x="246" y="32"/>
                      </a:cubicBezTo>
                      <a:cubicBezTo>
                        <a:pt x="245" y="36"/>
                        <a:pt x="245" y="40"/>
                        <a:pt x="247" y="43"/>
                      </a:cubicBezTo>
                      <a:cubicBezTo>
                        <a:pt x="250" y="46"/>
                        <a:pt x="247" y="50"/>
                        <a:pt x="249" y="56"/>
                      </a:cubicBezTo>
                      <a:cubicBezTo>
                        <a:pt x="254" y="50"/>
                        <a:pt x="250" y="55"/>
                        <a:pt x="257" y="56"/>
                      </a:cubicBezTo>
                      <a:cubicBezTo>
                        <a:pt x="257" y="59"/>
                        <a:pt x="255" y="59"/>
                        <a:pt x="255" y="61"/>
                      </a:cubicBezTo>
                      <a:cubicBezTo>
                        <a:pt x="258" y="64"/>
                        <a:pt x="263" y="64"/>
                        <a:pt x="262" y="71"/>
                      </a:cubicBezTo>
                      <a:cubicBezTo>
                        <a:pt x="264" y="71"/>
                        <a:pt x="267" y="70"/>
                        <a:pt x="268" y="71"/>
                      </a:cubicBezTo>
                      <a:cubicBezTo>
                        <a:pt x="268" y="71"/>
                        <a:pt x="267" y="74"/>
                        <a:pt x="268" y="75"/>
                      </a:cubicBezTo>
                      <a:cubicBezTo>
                        <a:pt x="268" y="75"/>
                        <a:pt x="271" y="74"/>
                        <a:pt x="272" y="75"/>
                      </a:cubicBezTo>
                      <a:cubicBezTo>
                        <a:pt x="274" y="77"/>
                        <a:pt x="273" y="83"/>
                        <a:pt x="279" y="82"/>
                      </a:cubicBezTo>
                      <a:cubicBezTo>
                        <a:pt x="279" y="87"/>
                        <a:pt x="282" y="92"/>
                        <a:pt x="285" y="95"/>
                      </a:cubicBezTo>
                      <a:cubicBezTo>
                        <a:pt x="286" y="97"/>
                        <a:pt x="287" y="99"/>
                        <a:pt x="288" y="101"/>
                      </a:cubicBezTo>
                      <a:cubicBezTo>
                        <a:pt x="289" y="101"/>
                        <a:pt x="291" y="100"/>
                        <a:pt x="292" y="101"/>
                      </a:cubicBezTo>
                      <a:cubicBezTo>
                        <a:pt x="293" y="101"/>
                        <a:pt x="291" y="104"/>
                        <a:pt x="292" y="104"/>
                      </a:cubicBezTo>
                      <a:cubicBezTo>
                        <a:pt x="294" y="106"/>
                        <a:pt x="297" y="105"/>
                        <a:pt x="296" y="104"/>
                      </a:cubicBezTo>
                      <a:cubicBezTo>
                        <a:pt x="300" y="108"/>
                        <a:pt x="297" y="113"/>
                        <a:pt x="303" y="112"/>
                      </a:cubicBezTo>
                      <a:cubicBezTo>
                        <a:pt x="299" y="117"/>
                        <a:pt x="304" y="124"/>
                        <a:pt x="305" y="132"/>
                      </a:cubicBezTo>
                      <a:cubicBezTo>
                        <a:pt x="306" y="137"/>
                        <a:pt x="303" y="141"/>
                        <a:pt x="307" y="143"/>
                      </a:cubicBezTo>
                      <a:cubicBezTo>
                        <a:pt x="303" y="146"/>
                        <a:pt x="304" y="149"/>
                        <a:pt x="303" y="157"/>
                      </a:cubicBezTo>
                      <a:cubicBezTo>
                        <a:pt x="303" y="156"/>
                        <a:pt x="300" y="157"/>
                        <a:pt x="301" y="158"/>
                      </a:cubicBezTo>
                      <a:cubicBezTo>
                        <a:pt x="302" y="158"/>
                        <a:pt x="303" y="158"/>
                        <a:pt x="303" y="158"/>
                      </a:cubicBezTo>
                      <a:cubicBezTo>
                        <a:pt x="303" y="159"/>
                        <a:pt x="302" y="163"/>
                        <a:pt x="301" y="164"/>
                      </a:cubicBezTo>
                      <a:cubicBezTo>
                        <a:pt x="301" y="164"/>
                        <a:pt x="298" y="166"/>
                        <a:pt x="298" y="166"/>
                      </a:cubicBezTo>
                      <a:cubicBezTo>
                        <a:pt x="297" y="168"/>
                        <a:pt x="301" y="171"/>
                        <a:pt x="298" y="175"/>
                      </a:cubicBezTo>
                      <a:cubicBezTo>
                        <a:pt x="294" y="175"/>
                        <a:pt x="295" y="180"/>
                        <a:pt x="290" y="179"/>
                      </a:cubicBezTo>
                      <a:cubicBezTo>
                        <a:pt x="291" y="183"/>
                        <a:pt x="290" y="185"/>
                        <a:pt x="287" y="185"/>
                      </a:cubicBezTo>
                      <a:cubicBezTo>
                        <a:pt x="288" y="192"/>
                        <a:pt x="284" y="194"/>
                        <a:pt x="285" y="201"/>
                      </a:cubicBezTo>
                      <a:cubicBezTo>
                        <a:pt x="277" y="200"/>
                        <a:pt x="278" y="207"/>
                        <a:pt x="277" y="212"/>
                      </a:cubicBezTo>
                      <a:cubicBezTo>
                        <a:pt x="275" y="212"/>
                        <a:pt x="272" y="212"/>
                        <a:pt x="272" y="214"/>
                      </a:cubicBezTo>
                      <a:cubicBezTo>
                        <a:pt x="271" y="218"/>
                        <a:pt x="264" y="218"/>
                        <a:pt x="260" y="220"/>
                      </a:cubicBezTo>
                      <a:cubicBezTo>
                        <a:pt x="259" y="221"/>
                        <a:pt x="258" y="223"/>
                        <a:pt x="257" y="224"/>
                      </a:cubicBezTo>
                      <a:cubicBezTo>
                        <a:pt x="255" y="224"/>
                        <a:pt x="253" y="223"/>
                        <a:pt x="253" y="226"/>
                      </a:cubicBezTo>
                      <a:cubicBezTo>
                        <a:pt x="249" y="223"/>
                        <a:pt x="247" y="219"/>
                        <a:pt x="242" y="218"/>
                      </a:cubicBezTo>
                      <a:cubicBezTo>
                        <a:pt x="238" y="216"/>
                        <a:pt x="239" y="221"/>
                        <a:pt x="238" y="222"/>
                      </a:cubicBezTo>
                      <a:cubicBezTo>
                        <a:pt x="234" y="224"/>
                        <a:pt x="228" y="221"/>
                        <a:pt x="225" y="226"/>
                      </a:cubicBezTo>
                      <a:cubicBezTo>
                        <a:pt x="218" y="222"/>
                        <a:pt x="213" y="217"/>
                        <a:pt x="205" y="216"/>
                      </a:cubicBezTo>
                      <a:cubicBezTo>
                        <a:pt x="207" y="214"/>
                        <a:pt x="207" y="212"/>
                        <a:pt x="205" y="207"/>
                      </a:cubicBezTo>
                      <a:cubicBezTo>
                        <a:pt x="204" y="206"/>
                        <a:pt x="203" y="207"/>
                        <a:pt x="203" y="205"/>
                      </a:cubicBezTo>
                      <a:cubicBezTo>
                        <a:pt x="203" y="205"/>
                        <a:pt x="203" y="203"/>
                        <a:pt x="203" y="203"/>
                      </a:cubicBezTo>
                      <a:cubicBezTo>
                        <a:pt x="202" y="201"/>
                        <a:pt x="197" y="200"/>
                        <a:pt x="201" y="199"/>
                      </a:cubicBezTo>
                      <a:cubicBezTo>
                        <a:pt x="200" y="198"/>
                        <a:pt x="192" y="194"/>
                        <a:pt x="191" y="198"/>
                      </a:cubicBezTo>
                      <a:cubicBezTo>
                        <a:pt x="189" y="195"/>
                        <a:pt x="189" y="190"/>
                        <a:pt x="186" y="188"/>
                      </a:cubicBezTo>
                      <a:cubicBezTo>
                        <a:pt x="185" y="184"/>
                        <a:pt x="187" y="183"/>
                        <a:pt x="188" y="181"/>
                      </a:cubicBezTo>
                      <a:cubicBezTo>
                        <a:pt x="186" y="179"/>
                        <a:pt x="184" y="180"/>
                        <a:pt x="178" y="179"/>
                      </a:cubicBezTo>
                      <a:cubicBezTo>
                        <a:pt x="175" y="181"/>
                        <a:pt x="175" y="188"/>
                        <a:pt x="167" y="186"/>
                      </a:cubicBezTo>
                      <a:cubicBezTo>
                        <a:pt x="169" y="179"/>
                        <a:pt x="162" y="181"/>
                        <a:pt x="164" y="173"/>
                      </a:cubicBezTo>
                      <a:cubicBezTo>
                        <a:pt x="159" y="173"/>
                        <a:pt x="158" y="170"/>
                        <a:pt x="152" y="171"/>
                      </a:cubicBezTo>
                      <a:cubicBezTo>
                        <a:pt x="152" y="170"/>
                        <a:pt x="155" y="170"/>
                        <a:pt x="156" y="170"/>
                      </a:cubicBezTo>
                      <a:cubicBezTo>
                        <a:pt x="151" y="164"/>
                        <a:pt x="147" y="169"/>
                        <a:pt x="137" y="168"/>
                      </a:cubicBezTo>
                      <a:cubicBezTo>
                        <a:pt x="131" y="166"/>
                        <a:pt x="126" y="164"/>
                        <a:pt x="121" y="162"/>
                      </a:cubicBezTo>
                      <a:cubicBezTo>
                        <a:pt x="116" y="164"/>
                        <a:pt x="111" y="163"/>
                        <a:pt x="109" y="168"/>
                      </a:cubicBezTo>
                      <a:cubicBezTo>
                        <a:pt x="107" y="168"/>
                        <a:pt x="104" y="167"/>
                        <a:pt x="102" y="168"/>
                      </a:cubicBezTo>
                      <a:cubicBezTo>
                        <a:pt x="100" y="168"/>
                        <a:pt x="101" y="169"/>
                        <a:pt x="100" y="170"/>
                      </a:cubicBezTo>
                      <a:cubicBezTo>
                        <a:pt x="97" y="170"/>
                        <a:pt x="98" y="166"/>
                        <a:pt x="95" y="171"/>
                      </a:cubicBezTo>
                      <a:cubicBezTo>
                        <a:pt x="94" y="172"/>
                        <a:pt x="92" y="173"/>
                        <a:pt x="93" y="175"/>
                      </a:cubicBezTo>
                      <a:cubicBezTo>
                        <a:pt x="90" y="173"/>
                        <a:pt x="89" y="169"/>
                        <a:pt x="89" y="177"/>
                      </a:cubicBezTo>
                      <a:cubicBezTo>
                        <a:pt x="87" y="177"/>
                        <a:pt x="87" y="175"/>
                        <a:pt x="85" y="175"/>
                      </a:cubicBezTo>
                      <a:cubicBezTo>
                        <a:pt x="83" y="175"/>
                        <a:pt x="85" y="177"/>
                        <a:pt x="85" y="177"/>
                      </a:cubicBezTo>
                      <a:cubicBezTo>
                        <a:pt x="83" y="181"/>
                        <a:pt x="77" y="179"/>
                        <a:pt x="76" y="185"/>
                      </a:cubicBezTo>
                      <a:cubicBezTo>
                        <a:pt x="71" y="181"/>
                        <a:pt x="60" y="183"/>
                        <a:pt x="52" y="183"/>
                      </a:cubicBezTo>
                      <a:cubicBezTo>
                        <a:pt x="49" y="182"/>
                        <a:pt x="51" y="186"/>
                        <a:pt x="50" y="186"/>
                      </a:cubicBezTo>
                      <a:cubicBezTo>
                        <a:pt x="49" y="187"/>
                        <a:pt x="47" y="186"/>
                        <a:pt x="46" y="186"/>
                      </a:cubicBezTo>
                      <a:cubicBezTo>
                        <a:pt x="44" y="187"/>
                        <a:pt x="43" y="188"/>
                        <a:pt x="40" y="188"/>
                      </a:cubicBezTo>
                      <a:cubicBezTo>
                        <a:pt x="35" y="190"/>
                        <a:pt x="26" y="194"/>
                        <a:pt x="14" y="192"/>
                      </a:cubicBezTo>
                      <a:cubicBezTo>
                        <a:pt x="15" y="187"/>
                        <a:pt x="14" y="181"/>
                        <a:pt x="20" y="181"/>
                      </a:cubicBezTo>
                      <a:cubicBezTo>
                        <a:pt x="19" y="178"/>
                        <a:pt x="22" y="172"/>
                        <a:pt x="18" y="171"/>
                      </a:cubicBezTo>
                      <a:cubicBezTo>
                        <a:pt x="13" y="171"/>
                        <a:pt x="20" y="170"/>
                        <a:pt x="18" y="164"/>
                      </a:cubicBezTo>
                      <a:cubicBezTo>
                        <a:pt x="16" y="159"/>
                        <a:pt x="16" y="168"/>
                        <a:pt x="14" y="160"/>
                      </a:cubicBezTo>
                      <a:cubicBezTo>
                        <a:pt x="14" y="160"/>
                        <a:pt x="15" y="157"/>
                        <a:pt x="14" y="157"/>
                      </a:cubicBezTo>
                      <a:cubicBezTo>
                        <a:pt x="12" y="154"/>
                        <a:pt x="15" y="156"/>
                        <a:pt x="14" y="153"/>
                      </a:cubicBezTo>
                      <a:cubicBezTo>
                        <a:pt x="14" y="149"/>
                        <a:pt x="10" y="146"/>
                        <a:pt x="13" y="143"/>
                      </a:cubicBezTo>
                      <a:cubicBezTo>
                        <a:pt x="13" y="141"/>
                        <a:pt x="10" y="143"/>
                        <a:pt x="9" y="142"/>
                      </a:cubicBezTo>
                      <a:cubicBezTo>
                        <a:pt x="8" y="141"/>
                        <a:pt x="9" y="139"/>
                        <a:pt x="9" y="138"/>
                      </a:cubicBezTo>
                      <a:cubicBezTo>
                        <a:pt x="9" y="138"/>
                        <a:pt x="7" y="132"/>
                        <a:pt x="7" y="132"/>
                      </a:cubicBezTo>
                      <a:cubicBezTo>
                        <a:pt x="4" y="130"/>
                        <a:pt x="8" y="131"/>
                        <a:pt x="7" y="129"/>
                      </a:cubicBezTo>
                      <a:cubicBezTo>
                        <a:pt x="6" y="126"/>
                        <a:pt x="2" y="125"/>
                        <a:pt x="3" y="121"/>
                      </a:cubicBezTo>
                      <a:cubicBezTo>
                        <a:pt x="8" y="122"/>
                        <a:pt x="5" y="114"/>
                        <a:pt x="9" y="114"/>
                      </a:cubicBezTo>
                      <a:cubicBezTo>
                        <a:pt x="9" y="111"/>
                        <a:pt x="6" y="113"/>
                        <a:pt x="5" y="112"/>
                      </a:cubicBezTo>
                      <a:cubicBezTo>
                        <a:pt x="4" y="110"/>
                        <a:pt x="6" y="105"/>
                        <a:pt x="1" y="106"/>
                      </a:cubicBezTo>
                      <a:cubicBezTo>
                        <a:pt x="0" y="98"/>
                        <a:pt x="4" y="94"/>
                        <a:pt x="5" y="88"/>
                      </a:cubicBezTo>
                      <a:cubicBezTo>
                        <a:pt x="7" y="91"/>
                        <a:pt x="14" y="89"/>
                        <a:pt x="14" y="84"/>
                      </a:cubicBezTo>
                      <a:cubicBezTo>
                        <a:pt x="15" y="80"/>
                        <a:pt x="26" y="83"/>
                        <a:pt x="26" y="75"/>
                      </a:cubicBezTo>
                      <a:cubicBezTo>
                        <a:pt x="36" y="76"/>
                        <a:pt x="41" y="71"/>
                        <a:pt x="50" y="71"/>
                      </a:cubicBezTo>
                      <a:cubicBezTo>
                        <a:pt x="52" y="71"/>
                        <a:pt x="50" y="68"/>
                        <a:pt x="50" y="69"/>
                      </a:cubicBezTo>
                      <a:cubicBezTo>
                        <a:pt x="53" y="65"/>
                        <a:pt x="59" y="68"/>
                        <a:pt x="59" y="61"/>
                      </a:cubicBezTo>
                      <a:cubicBezTo>
                        <a:pt x="61" y="62"/>
                        <a:pt x="61" y="63"/>
                        <a:pt x="63" y="63"/>
                      </a:cubicBezTo>
                      <a:cubicBezTo>
                        <a:pt x="67" y="64"/>
                        <a:pt x="62" y="55"/>
                        <a:pt x="68" y="58"/>
                      </a:cubicBezTo>
                      <a:cubicBezTo>
                        <a:pt x="67" y="50"/>
                        <a:pt x="68" y="51"/>
                        <a:pt x="68" y="43"/>
                      </a:cubicBezTo>
                      <a:cubicBezTo>
                        <a:pt x="73" y="43"/>
                        <a:pt x="76" y="45"/>
                        <a:pt x="80" y="47"/>
                      </a:cubicBezTo>
                      <a:cubicBezTo>
                        <a:pt x="82" y="45"/>
                        <a:pt x="82" y="42"/>
                        <a:pt x="85" y="43"/>
                      </a:cubicBezTo>
                      <a:cubicBezTo>
                        <a:pt x="83" y="39"/>
                        <a:pt x="90" y="36"/>
                        <a:pt x="85" y="35"/>
                      </a:cubicBezTo>
                      <a:cubicBezTo>
                        <a:pt x="86" y="33"/>
                        <a:pt x="89" y="33"/>
                        <a:pt x="89" y="30"/>
                      </a:cubicBezTo>
                      <a:cubicBezTo>
                        <a:pt x="95" y="31"/>
                        <a:pt x="91" y="23"/>
                        <a:pt x="98" y="26"/>
                      </a:cubicBezTo>
                      <a:cubicBezTo>
                        <a:pt x="100" y="24"/>
                        <a:pt x="102" y="22"/>
                        <a:pt x="104" y="20"/>
                      </a:cubicBezTo>
                      <a:cubicBezTo>
                        <a:pt x="106" y="22"/>
                        <a:pt x="109" y="23"/>
                        <a:pt x="113" y="22"/>
                      </a:cubicBezTo>
                      <a:cubicBezTo>
                        <a:pt x="109" y="26"/>
                        <a:pt x="114" y="24"/>
                        <a:pt x="115" y="26"/>
                      </a:cubicBezTo>
                      <a:cubicBezTo>
                        <a:pt x="115" y="26"/>
                        <a:pt x="115" y="28"/>
                        <a:pt x="115" y="28"/>
                      </a:cubicBezTo>
                      <a:cubicBezTo>
                        <a:pt x="116" y="28"/>
                        <a:pt x="118" y="27"/>
                        <a:pt x="119" y="28"/>
                      </a:cubicBezTo>
                      <a:cubicBezTo>
                        <a:pt x="119" y="28"/>
                        <a:pt x="121" y="33"/>
                        <a:pt x="126" y="32"/>
                      </a:cubicBezTo>
                      <a:cubicBezTo>
                        <a:pt x="129" y="33"/>
                        <a:pt x="127" y="22"/>
                        <a:pt x="123" y="24"/>
                      </a:cubicBezTo>
                      <a:cubicBezTo>
                        <a:pt x="124" y="22"/>
                        <a:pt x="126" y="21"/>
                        <a:pt x="128" y="20"/>
                      </a:cubicBezTo>
                      <a:cubicBezTo>
                        <a:pt x="128" y="16"/>
                        <a:pt x="131" y="13"/>
                        <a:pt x="136" y="13"/>
                      </a:cubicBezTo>
                      <a:cubicBezTo>
                        <a:pt x="135" y="9"/>
                        <a:pt x="137" y="7"/>
                        <a:pt x="141" y="7"/>
                      </a:cubicBezTo>
                      <a:cubicBezTo>
                        <a:pt x="138" y="13"/>
                        <a:pt x="140" y="10"/>
                        <a:pt x="145" y="9"/>
                      </a:cubicBezTo>
                      <a:cubicBezTo>
                        <a:pt x="153" y="0"/>
                        <a:pt x="168" y="9"/>
                        <a:pt x="178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0" name="iṡ1îdê">
                <a:extLst>
                  <a:ext uri="{FF2B5EF4-FFF2-40B4-BE49-F238E27FC236}">
                    <a16:creationId xmlns:a16="http://schemas.microsoft.com/office/drawing/2014/main" id="{1DCF5227-EBE5-4AB9-A69C-2AD465D89543}"/>
                  </a:ext>
                </a:extLst>
              </p:cNvPr>
              <p:cNvGrpSpPr/>
              <p:nvPr/>
            </p:nvGrpSpPr>
            <p:grpSpPr>
              <a:xfrm>
                <a:off x="5001661" y="2913512"/>
                <a:ext cx="718166" cy="540452"/>
                <a:chOff x="971550" y="1765300"/>
                <a:chExt cx="1090613" cy="820738"/>
              </a:xfrm>
            </p:grpSpPr>
            <p:sp>
              <p:nvSpPr>
                <p:cNvPr id="81" name="îśḻîḓê">
                  <a:extLst>
                    <a:ext uri="{FF2B5EF4-FFF2-40B4-BE49-F238E27FC236}">
                      <a16:creationId xmlns:a16="http://schemas.microsoft.com/office/drawing/2014/main" id="{9E5ED69D-2BAA-4865-BEEF-9767200A55E0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2" name="îṣļídé">
                  <a:extLst>
                    <a:ext uri="{FF2B5EF4-FFF2-40B4-BE49-F238E27FC236}">
                      <a16:creationId xmlns:a16="http://schemas.microsoft.com/office/drawing/2014/main" id="{0873C50A-B7BF-4AD7-8200-A8C073F46076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3" name="iṩḷïďê">
                  <a:extLst>
                    <a:ext uri="{FF2B5EF4-FFF2-40B4-BE49-F238E27FC236}">
                      <a16:creationId xmlns:a16="http://schemas.microsoft.com/office/drawing/2014/main" id="{36F2497C-5212-438D-8039-44090F1C132E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4" name="í$ḻîḓé">
                  <a:extLst>
                    <a:ext uri="{FF2B5EF4-FFF2-40B4-BE49-F238E27FC236}">
                      <a16:creationId xmlns:a16="http://schemas.microsoft.com/office/drawing/2014/main" id="{23E4B10C-DA15-4AF9-9B95-C7CE26EBA27E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1" name="íṩlíḋè">
                <a:extLst>
                  <a:ext uri="{FF2B5EF4-FFF2-40B4-BE49-F238E27FC236}">
                    <a16:creationId xmlns:a16="http://schemas.microsoft.com/office/drawing/2014/main" id="{368E8C3D-7457-4C95-A5A5-1F5F52CA34B4}"/>
                  </a:ext>
                </a:extLst>
              </p:cNvPr>
              <p:cNvGrpSpPr/>
              <p:nvPr/>
            </p:nvGrpSpPr>
            <p:grpSpPr>
              <a:xfrm>
                <a:off x="5570455" y="2586944"/>
                <a:ext cx="1339879" cy="1008321"/>
                <a:chOff x="971550" y="1765300"/>
                <a:chExt cx="1090613" cy="820738"/>
              </a:xfrm>
            </p:grpSpPr>
            <p:sp>
              <p:nvSpPr>
                <p:cNvPr id="77" name="ïṥľídè">
                  <a:extLst>
                    <a:ext uri="{FF2B5EF4-FFF2-40B4-BE49-F238E27FC236}">
                      <a16:creationId xmlns:a16="http://schemas.microsoft.com/office/drawing/2014/main" id="{C0F678D7-438C-4835-8065-099BC7A9526E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8" name="îṧḷïḋê">
                  <a:extLst>
                    <a:ext uri="{FF2B5EF4-FFF2-40B4-BE49-F238E27FC236}">
                      <a16:creationId xmlns:a16="http://schemas.microsoft.com/office/drawing/2014/main" id="{307A89A0-29E3-43C6-81F4-D05AD19D6076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9" name="ïṩ1ïḑé">
                  <a:extLst>
                    <a:ext uri="{FF2B5EF4-FFF2-40B4-BE49-F238E27FC236}">
                      <a16:creationId xmlns:a16="http://schemas.microsoft.com/office/drawing/2014/main" id="{0BDCC179-DE44-470C-B985-74E47F6909DE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80" name="íṣľïḋe">
                  <a:extLst>
                    <a:ext uri="{FF2B5EF4-FFF2-40B4-BE49-F238E27FC236}">
                      <a16:creationId xmlns:a16="http://schemas.microsoft.com/office/drawing/2014/main" id="{3DDBDA67-B497-48C0-9D1E-0DCB07819523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2" name="îŝḷíḓè">
                <a:extLst>
                  <a:ext uri="{FF2B5EF4-FFF2-40B4-BE49-F238E27FC236}">
                    <a16:creationId xmlns:a16="http://schemas.microsoft.com/office/drawing/2014/main" id="{5B99D5FD-920E-4EF9-9BCA-3FDCD2C68B3C}"/>
                  </a:ext>
                </a:extLst>
              </p:cNvPr>
              <p:cNvGrpSpPr/>
              <p:nvPr/>
            </p:nvGrpSpPr>
            <p:grpSpPr>
              <a:xfrm>
                <a:off x="9644609" y="2175414"/>
                <a:ext cx="1339879" cy="1008321"/>
                <a:chOff x="971550" y="1765300"/>
                <a:chExt cx="1090613" cy="820738"/>
              </a:xfrm>
            </p:grpSpPr>
            <p:sp>
              <p:nvSpPr>
                <p:cNvPr id="73" name="ís1íḓe">
                  <a:extLst>
                    <a:ext uri="{FF2B5EF4-FFF2-40B4-BE49-F238E27FC236}">
                      <a16:creationId xmlns:a16="http://schemas.microsoft.com/office/drawing/2014/main" id="{346D94A6-4A11-4476-BBCC-9216D90A4959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4" name="îšľiďè">
                  <a:extLst>
                    <a:ext uri="{FF2B5EF4-FFF2-40B4-BE49-F238E27FC236}">
                      <a16:creationId xmlns:a16="http://schemas.microsoft.com/office/drawing/2014/main" id="{20291CB2-117E-47A9-BA0E-DC2B7E50AF96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5" name="ísļiḓe">
                  <a:extLst>
                    <a:ext uri="{FF2B5EF4-FFF2-40B4-BE49-F238E27FC236}">
                      <a16:creationId xmlns:a16="http://schemas.microsoft.com/office/drawing/2014/main" id="{557BE5C9-3AA1-4ED4-A2E1-924842A3185F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6" name="ïślïḓè">
                  <a:extLst>
                    <a:ext uri="{FF2B5EF4-FFF2-40B4-BE49-F238E27FC236}">
                      <a16:creationId xmlns:a16="http://schemas.microsoft.com/office/drawing/2014/main" id="{22301E8E-670F-4F97-9CA8-E8FFD4A58506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3" name="íṣḷîḓê">
                <a:extLst>
                  <a:ext uri="{FF2B5EF4-FFF2-40B4-BE49-F238E27FC236}">
                    <a16:creationId xmlns:a16="http://schemas.microsoft.com/office/drawing/2014/main" id="{B96971F8-26C5-49AB-8819-BFBCA372F220}"/>
                  </a:ext>
                </a:extLst>
              </p:cNvPr>
              <p:cNvGrpSpPr/>
              <p:nvPr/>
            </p:nvGrpSpPr>
            <p:grpSpPr>
              <a:xfrm>
                <a:off x="10299124" y="4370346"/>
                <a:ext cx="605229" cy="455463"/>
                <a:chOff x="971550" y="1765300"/>
                <a:chExt cx="1090613" cy="820738"/>
              </a:xfrm>
            </p:grpSpPr>
            <p:sp>
              <p:nvSpPr>
                <p:cNvPr id="69" name="ïṡḷíḋe">
                  <a:extLst>
                    <a:ext uri="{FF2B5EF4-FFF2-40B4-BE49-F238E27FC236}">
                      <a16:creationId xmlns:a16="http://schemas.microsoft.com/office/drawing/2014/main" id="{BF33B668-7F45-4C1F-87B9-2847A2BA3903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0" name="išlídê">
                  <a:extLst>
                    <a:ext uri="{FF2B5EF4-FFF2-40B4-BE49-F238E27FC236}">
                      <a16:creationId xmlns:a16="http://schemas.microsoft.com/office/drawing/2014/main" id="{97798B22-D9AF-48A6-B029-6A2AE849AA7B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1" name="íṡ1îḋè">
                  <a:extLst>
                    <a:ext uri="{FF2B5EF4-FFF2-40B4-BE49-F238E27FC236}">
                      <a16:creationId xmlns:a16="http://schemas.microsoft.com/office/drawing/2014/main" id="{62F3816F-016D-42EA-BA8C-613211C273D3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72" name="íṧļîḑè">
                  <a:extLst>
                    <a:ext uri="{FF2B5EF4-FFF2-40B4-BE49-F238E27FC236}">
                      <a16:creationId xmlns:a16="http://schemas.microsoft.com/office/drawing/2014/main" id="{305C150D-1BE6-46B7-BFC5-D61EDAA6BA13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4" name="îsļïďè">
                <a:extLst>
                  <a:ext uri="{FF2B5EF4-FFF2-40B4-BE49-F238E27FC236}">
                    <a16:creationId xmlns:a16="http://schemas.microsoft.com/office/drawing/2014/main" id="{FAC9BFC9-BB48-494C-9261-0257550DE8A7}"/>
                  </a:ext>
                </a:extLst>
              </p:cNvPr>
              <p:cNvGrpSpPr/>
              <p:nvPr/>
            </p:nvGrpSpPr>
            <p:grpSpPr>
              <a:xfrm>
                <a:off x="7311131" y="3075979"/>
                <a:ext cx="1330521" cy="1001277"/>
                <a:chOff x="971550" y="1765300"/>
                <a:chExt cx="1090613" cy="820738"/>
              </a:xfrm>
            </p:grpSpPr>
            <p:sp>
              <p:nvSpPr>
                <p:cNvPr id="65" name="iśḻídê">
                  <a:extLst>
                    <a:ext uri="{FF2B5EF4-FFF2-40B4-BE49-F238E27FC236}">
                      <a16:creationId xmlns:a16="http://schemas.microsoft.com/office/drawing/2014/main" id="{F5E0E95E-A242-42F5-A379-D8DBC17B832B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6" name="ïṥľîḍè">
                  <a:extLst>
                    <a:ext uri="{FF2B5EF4-FFF2-40B4-BE49-F238E27FC236}">
                      <a16:creationId xmlns:a16="http://schemas.microsoft.com/office/drawing/2014/main" id="{2C9933E4-2905-4FC0-B12D-1A06BF6DE877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7" name="í$ļíďê">
                  <a:extLst>
                    <a:ext uri="{FF2B5EF4-FFF2-40B4-BE49-F238E27FC236}">
                      <a16:creationId xmlns:a16="http://schemas.microsoft.com/office/drawing/2014/main" id="{E5CB406B-DEA8-4869-9511-94B165AA6220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8" name="iS1îḑè">
                  <a:extLst>
                    <a:ext uri="{FF2B5EF4-FFF2-40B4-BE49-F238E27FC236}">
                      <a16:creationId xmlns:a16="http://schemas.microsoft.com/office/drawing/2014/main" id="{BB9937AF-BA07-4F72-AF7C-F6C7B31DA5B6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5" name="iṥlíďê">
                <a:extLst>
                  <a:ext uri="{FF2B5EF4-FFF2-40B4-BE49-F238E27FC236}">
                    <a16:creationId xmlns:a16="http://schemas.microsoft.com/office/drawing/2014/main" id="{F24525E4-EB59-4B9F-8C8C-2673640A0DD0}"/>
                  </a:ext>
                </a:extLst>
              </p:cNvPr>
              <p:cNvGrpSpPr/>
              <p:nvPr/>
            </p:nvGrpSpPr>
            <p:grpSpPr>
              <a:xfrm>
                <a:off x="6200157" y="3844198"/>
                <a:ext cx="1513194" cy="1138753"/>
                <a:chOff x="971550" y="1765300"/>
                <a:chExt cx="1090613" cy="820738"/>
              </a:xfrm>
            </p:grpSpPr>
            <p:sp>
              <p:nvSpPr>
                <p:cNvPr id="61" name="iśḻïḍê">
                  <a:extLst>
                    <a:ext uri="{FF2B5EF4-FFF2-40B4-BE49-F238E27FC236}">
                      <a16:creationId xmlns:a16="http://schemas.microsoft.com/office/drawing/2014/main" id="{061E725D-A068-4307-BFEA-E69E990141D4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2" name="ïSḷíde">
                  <a:extLst>
                    <a:ext uri="{FF2B5EF4-FFF2-40B4-BE49-F238E27FC236}">
                      <a16:creationId xmlns:a16="http://schemas.microsoft.com/office/drawing/2014/main" id="{AE4BAC3B-A62A-42A1-AD4F-A0576A78CEAB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3" name="íşḷíḋè">
                  <a:extLst>
                    <a:ext uri="{FF2B5EF4-FFF2-40B4-BE49-F238E27FC236}">
                      <a16:creationId xmlns:a16="http://schemas.microsoft.com/office/drawing/2014/main" id="{4B69B8A2-FDB4-4CFE-A321-E9687F2A84C1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4" name="îšḻîḋe">
                  <a:extLst>
                    <a:ext uri="{FF2B5EF4-FFF2-40B4-BE49-F238E27FC236}">
                      <a16:creationId xmlns:a16="http://schemas.microsoft.com/office/drawing/2014/main" id="{02AE9566-B275-46F2-A5A9-02E6EEAD9570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6" name="íṩ1îḑè">
                <a:extLst>
                  <a:ext uri="{FF2B5EF4-FFF2-40B4-BE49-F238E27FC236}">
                    <a16:creationId xmlns:a16="http://schemas.microsoft.com/office/drawing/2014/main" id="{FD588DEC-8862-4F6E-81F7-4F71C28D074A}"/>
                  </a:ext>
                </a:extLst>
              </p:cNvPr>
              <p:cNvGrpSpPr/>
              <p:nvPr/>
            </p:nvGrpSpPr>
            <p:grpSpPr>
              <a:xfrm>
                <a:off x="9782035" y="3298908"/>
                <a:ext cx="605229" cy="455463"/>
                <a:chOff x="971550" y="1765300"/>
                <a:chExt cx="1090613" cy="820738"/>
              </a:xfrm>
            </p:grpSpPr>
            <p:sp>
              <p:nvSpPr>
                <p:cNvPr id="57" name="ïsḻîḓé">
                  <a:extLst>
                    <a:ext uri="{FF2B5EF4-FFF2-40B4-BE49-F238E27FC236}">
                      <a16:creationId xmlns:a16="http://schemas.microsoft.com/office/drawing/2014/main" id="{9B9FE96A-D87F-4F5A-870C-5945B0925254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8" name="íṣļídê">
                  <a:extLst>
                    <a:ext uri="{FF2B5EF4-FFF2-40B4-BE49-F238E27FC236}">
                      <a16:creationId xmlns:a16="http://schemas.microsoft.com/office/drawing/2014/main" id="{CFB49EE7-3C1C-470C-B0BE-F3CD33C8C0E0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9" name="ïS1íḓè">
                  <a:extLst>
                    <a:ext uri="{FF2B5EF4-FFF2-40B4-BE49-F238E27FC236}">
                      <a16:creationId xmlns:a16="http://schemas.microsoft.com/office/drawing/2014/main" id="{40948C76-DC2B-4AFF-B35C-1581BD771DF4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60" name="îslîdê">
                  <a:extLst>
                    <a:ext uri="{FF2B5EF4-FFF2-40B4-BE49-F238E27FC236}">
                      <a16:creationId xmlns:a16="http://schemas.microsoft.com/office/drawing/2014/main" id="{2CEF3B0F-3869-4A82-8997-9C6E7B830CD6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7" name="ïṥľiďè">
                <a:extLst>
                  <a:ext uri="{FF2B5EF4-FFF2-40B4-BE49-F238E27FC236}">
                    <a16:creationId xmlns:a16="http://schemas.microsoft.com/office/drawing/2014/main" id="{CB41EE54-B830-4F29-B758-B8EDF3532DC3}"/>
                  </a:ext>
                </a:extLst>
              </p:cNvPr>
              <p:cNvGrpSpPr/>
              <p:nvPr/>
            </p:nvGrpSpPr>
            <p:grpSpPr>
              <a:xfrm>
                <a:off x="8337507" y="3329979"/>
                <a:ext cx="774938" cy="583179"/>
                <a:chOff x="971550" y="1765300"/>
                <a:chExt cx="1090613" cy="820738"/>
              </a:xfrm>
            </p:grpSpPr>
            <p:sp>
              <p:nvSpPr>
                <p:cNvPr id="53" name="iṣḷîďé">
                  <a:extLst>
                    <a:ext uri="{FF2B5EF4-FFF2-40B4-BE49-F238E27FC236}">
                      <a16:creationId xmlns:a16="http://schemas.microsoft.com/office/drawing/2014/main" id="{2BA2E6EC-6D46-46D3-8A08-A613BFB984FC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4" name="íṡ1ïde">
                  <a:extLst>
                    <a:ext uri="{FF2B5EF4-FFF2-40B4-BE49-F238E27FC236}">
                      <a16:creationId xmlns:a16="http://schemas.microsoft.com/office/drawing/2014/main" id="{2F82DE97-98F7-4C48-B2D2-749136E551C1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5" name="iśľídè">
                  <a:extLst>
                    <a:ext uri="{FF2B5EF4-FFF2-40B4-BE49-F238E27FC236}">
                      <a16:creationId xmlns:a16="http://schemas.microsoft.com/office/drawing/2014/main" id="{72157E4C-6DBC-4B98-B194-20A90FD11D58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6" name="íṧḻïḍè">
                  <a:extLst>
                    <a:ext uri="{FF2B5EF4-FFF2-40B4-BE49-F238E27FC236}">
                      <a16:creationId xmlns:a16="http://schemas.microsoft.com/office/drawing/2014/main" id="{49BEFB4A-8C31-4DA8-B00C-7B3512EC8834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</p:grpSp>
          <p:grpSp>
            <p:nvGrpSpPr>
              <p:cNvPr id="48" name="î$1îḍê">
                <a:extLst>
                  <a:ext uri="{FF2B5EF4-FFF2-40B4-BE49-F238E27FC236}">
                    <a16:creationId xmlns:a16="http://schemas.microsoft.com/office/drawing/2014/main" id="{5F96A09A-D016-474C-A9D6-8D7252DB551A}"/>
                  </a:ext>
                </a:extLst>
              </p:cNvPr>
              <p:cNvGrpSpPr/>
              <p:nvPr/>
            </p:nvGrpSpPr>
            <p:grpSpPr>
              <a:xfrm>
                <a:off x="7896103" y="4580309"/>
                <a:ext cx="492418" cy="370567"/>
                <a:chOff x="971550" y="1765300"/>
                <a:chExt cx="1090613" cy="820738"/>
              </a:xfrm>
            </p:grpSpPr>
            <p:sp>
              <p:nvSpPr>
                <p:cNvPr id="49" name="í$lîḋe">
                  <a:extLst>
                    <a:ext uri="{FF2B5EF4-FFF2-40B4-BE49-F238E27FC236}">
                      <a16:creationId xmlns:a16="http://schemas.microsoft.com/office/drawing/2014/main" id="{B098A93A-DF90-48A9-95FD-D35CF2C5B1C1}"/>
                    </a:ext>
                  </a:extLst>
                </p:cNvPr>
                <p:cNvSpPr/>
                <p:nvPr/>
              </p:nvSpPr>
              <p:spPr bwMode="auto">
                <a:xfrm>
                  <a:off x="1057275" y="2230438"/>
                  <a:ext cx="1004888" cy="355600"/>
                </a:xfrm>
                <a:custGeom>
                  <a:avLst/>
                  <a:gdLst>
                    <a:gd name="T0" fmla="*/ 5 w 633"/>
                    <a:gd name="T1" fmla="*/ 224 h 224"/>
                    <a:gd name="T2" fmla="*/ 0 w 633"/>
                    <a:gd name="T3" fmla="*/ 137 h 224"/>
                    <a:gd name="T4" fmla="*/ 633 w 633"/>
                    <a:gd name="T5" fmla="*/ 0 h 224"/>
                    <a:gd name="T6" fmla="*/ 5 w 633"/>
                    <a:gd name="T7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33" h="224">
                      <a:moveTo>
                        <a:pt x="5" y="224"/>
                      </a:moveTo>
                      <a:lnTo>
                        <a:pt x="0" y="137"/>
                      </a:lnTo>
                      <a:lnTo>
                        <a:pt x="633" y="0"/>
                      </a:lnTo>
                      <a:lnTo>
                        <a:pt x="5" y="22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0" name="ïś1ïḍe">
                  <a:extLst>
                    <a:ext uri="{FF2B5EF4-FFF2-40B4-BE49-F238E27FC236}">
                      <a16:creationId xmlns:a16="http://schemas.microsoft.com/office/drawing/2014/main" id="{DFC36FC6-2146-4809-943C-C652C305A4E3}"/>
                    </a:ext>
                  </a:extLst>
                </p:cNvPr>
                <p:cNvSpPr/>
                <p:nvPr/>
              </p:nvSpPr>
              <p:spPr bwMode="auto">
                <a:xfrm>
                  <a:off x="971550" y="1765300"/>
                  <a:ext cx="93663" cy="820738"/>
                </a:xfrm>
                <a:custGeom>
                  <a:avLst/>
                  <a:gdLst>
                    <a:gd name="T0" fmla="*/ 59 w 59"/>
                    <a:gd name="T1" fmla="*/ 0 h 517"/>
                    <a:gd name="T2" fmla="*/ 59 w 59"/>
                    <a:gd name="T3" fmla="*/ 517 h 517"/>
                    <a:gd name="T4" fmla="*/ 0 w 59"/>
                    <a:gd name="T5" fmla="*/ 460 h 517"/>
                    <a:gd name="T6" fmla="*/ 59 w 59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517">
                      <a:moveTo>
                        <a:pt x="59" y="0"/>
                      </a:moveTo>
                      <a:lnTo>
                        <a:pt x="59" y="517"/>
                      </a:lnTo>
                      <a:lnTo>
                        <a:pt x="0" y="460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1" name="ïṣḷïdé">
                  <a:extLst>
                    <a:ext uri="{FF2B5EF4-FFF2-40B4-BE49-F238E27FC236}">
                      <a16:creationId xmlns:a16="http://schemas.microsoft.com/office/drawing/2014/main" id="{A25AD783-BAE5-4A80-87AD-4BF27DDA1CB4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3C9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52" name="îşḻïḋè">
                  <a:extLst>
                    <a:ext uri="{FF2B5EF4-FFF2-40B4-BE49-F238E27FC236}">
                      <a16:creationId xmlns:a16="http://schemas.microsoft.com/office/drawing/2014/main" id="{0FE20289-237C-4698-A86B-1A4B35687037}"/>
                    </a:ext>
                  </a:extLst>
                </p:cNvPr>
                <p:cNvSpPr/>
                <p:nvPr/>
              </p:nvSpPr>
              <p:spPr bwMode="auto">
                <a:xfrm>
                  <a:off x="1065213" y="1765300"/>
                  <a:ext cx="85725" cy="820738"/>
                </a:xfrm>
                <a:custGeom>
                  <a:avLst/>
                  <a:gdLst>
                    <a:gd name="T0" fmla="*/ 0 w 54"/>
                    <a:gd name="T1" fmla="*/ 0 h 517"/>
                    <a:gd name="T2" fmla="*/ 0 w 54"/>
                    <a:gd name="T3" fmla="*/ 517 h 517"/>
                    <a:gd name="T4" fmla="*/ 54 w 54"/>
                    <a:gd name="T5" fmla="*/ 460 h 517"/>
                    <a:gd name="T6" fmla="*/ 0 w 54"/>
                    <a:gd name="T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17">
                      <a:moveTo>
                        <a:pt x="0" y="0"/>
                      </a:moveTo>
                      <a:lnTo>
                        <a:pt x="0" y="517"/>
                      </a:lnTo>
                      <a:lnTo>
                        <a:pt x="54" y="4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 dirty="0"/>
                </a:p>
              </p:txBody>
            </p:sp>
          </p:grpSp>
        </p:grpSp>
        <p:sp>
          <p:nvSpPr>
            <p:cNvPr id="7" name="iś1ïde">
              <a:extLst>
                <a:ext uri="{FF2B5EF4-FFF2-40B4-BE49-F238E27FC236}">
                  <a16:creationId xmlns:a16="http://schemas.microsoft.com/office/drawing/2014/main" id="{B109CB6B-052B-4FF9-864F-9D1E8C2C69CB}"/>
                </a:ext>
              </a:extLst>
            </p:cNvPr>
            <p:cNvSpPr txBox="1"/>
            <p:nvPr/>
          </p:nvSpPr>
          <p:spPr>
            <a:xfrm>
              <a:off x="683368" y="1166719"/>
              <a:ext cx="5249053" cy="122413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rmAutofit/>
            </a:bodyPr>
            <a:lstStyle/>
            <a:p>
              <a:pPr algn="just">
                <a:lnSpc>
                  <a:spcPct val="150000"/>
                </a:lnSpc>
              </a:pPr>
              <a:endPara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0FC132FE-375F-4549-B538-9C01F279BAA4}"/>
                </a:ext>
              </a:extLst>
            </p:cNvPr>
            <p:cNvCxnSpPr>
              <a:cxnSpLocks/>
            </p:cNvCxnSpPr>
            <p:nvPr/>
          </p:nvCxnSpPr>
          <p:spPr>
            <a:xfrm>
              <a:off x="788591" y="2528998"/>
              <a:ext cx="5428864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iṩļiďê">
              <a:extLst>
                <a:ext uri="{FF2B5EF4-FFF2-40B4-BE49-F238E27FC236}">
                  <a16:creationId xmlns:a16="http://schemas.microsoft.com/office/drawing/2014/main" id="{5BDF0FB1-B3EF-4FA5-8EAE-22162EFFFF72}"/>
                </a:ext>
              </a:extLst>
            </p:cNvPr>
            <p:cNvGrpSpPr/>
            <p:nvPr/>
          </p:nvGrpSpPr>
          <p:grpSpPr>
            <a:xfrm>
              <a:off x="683366" y="2890599"/>
              <a:ext cx="5592833" cy="666411"/>
              <a:chOff x="683366" y="2890599"/>
              <a:chExt cx="5592833" cy="666411"/>
            </a:xfrm>
          </p:grpSpPr>
          <p:sp>
            <p:nvSpPr>
              <p:cNvPr id="31" name="iś1íḋê">
                <a:extLst>
                  <a:ext uri="{FF2B5EF4-FFF2-40B4-BE49-F238E27FC236}">
                    <a16:creationId xmlns:a16="http://schemas.microsoft.com/office/drawing/2014/main" id="{CBD9F96B-B11D-4A95-B3B8-52D7B344F184}"/>
                  </a:ext>
                </a:extLst>
              </p:cNvPr>
              <p:cNvSpPr txBox="1"/>
              <p:nvPr/>
            </p:nvSpPr>
            <p:spPr>
              <a:xfrm>
                <a:off x="2348785" y="3037541"/>
                <a:ext cx="3927414" cy="359464"/>
              </a:xfrm>
              <a:prstGeom prst="rect">
                <a:avLst/>
              </a:prstGeom>
            </p:spPr>
            <p:txBody>
              <a:bodyPr vert="horz" wrap="square" lIns="108745" tIns="54373" rIns="108745" bIns="54373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000" dirty="0"/>
                  <a:t>Copy paste fonts. Choose the only option to retain text.</a:t>
                </a:r>
              </a:p>
            </p:txBody>
          </p:sp>
          <p:sp>
            <p:nvSpPr>
              <p:cNvPr id="32" name="îşlïdê">
                <a:extLst>
                  <a:ext uri="{FF2B5EF4-FFF2-40B4-BE49-F238E27FC236}">
                    <a16:creationId xmlns:a16="http://schemas.microsoft.com/office/drawing/2014/main" id="{D00818D5-D839-4B3C-A835-DB6FE198A390}"/>
                  </a:ext>
                </a:extLst>
              </p:cNvPr>
              <p:cNvSpPr txBox="1"/>
              <p:nvPr/>
            </p:nvSpPr>
            <p:spPr>
              <a:xfrm>
                <a:off x="683366" y="3032026"/>
                <a:ext cx="1036704" cy="364979"/>
              </a:xfrm>
              <a:prstGeom prst="rect">
                <a:avLst/>
              </a:prstGeom>
              <a:noFill/>
            </p:spPr>
            <p:txBody>
              <a:bodyPr wrap="none" anchor="ctr" anchorCtr="0">
                <a:normAutofit/>
              </a:bodyPr>
              <a:lstStyle/>
              <a:p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  <p:grpSp>
            <p:nvGrpSpPr>
              <p:cNvPr id="33" name="íśľïḍé">
                <a:extLst>
                  <a:ext uri="{FF2B5EF4-FFF2-40B4-BE49-F238E27FC236}">
                    <a16:creationId xmlns:a16="http://schemas.microsoft.com/office/drawing/2014/main" id="{1D6D17AC-140A-4623-9791-E53209A9A8B3}"/>
                  </a:ext>
                </a:extLst>
              </p:cNvPr>
              <p:cNvGrpSpPr/>
              <p:nvPr/>
            </p:nvGrpSpPr>
            <p:grpSpPr>
              <a:xfrm>
                <a:off x="1721670" y="2890599"/>
                <a:ext cx="623014" cy="666411"/>
                <a:chOff x="12188503" y="4014252"/>
                <a:chExt cx="4083160" cy="4086395"/>
              </a:xfrm>
            </p:grpSpPr>
            <p:grpSp>
              <p:nvGrpSpPr>
                <p:cNvPr id="34" name="i$ḻïdè">
                  <a:extLst>
                    <a:ext uri="{FF2B5EF4-FFF2-40B4-BE49-F238E27FC236}">
                      <a16:creationId xmlns:a16="http://schemas.microsoft.com/office/drawing/2014/main" id="{989D027C-357F-44B9-A1C4-E2D3A9744B9F}"/>
                    </a:ext>
                  </a:extLst>
                </p:cNvPr>
                <p:cNvGrpSpPr/>
                <p:nvPr/>
              </p:nvGrpSpPr>
              <p:grpSpPr>
                <a:xfrm>
                  <a:off x="12188503" y="4014252"/>
                  <a:ext cx="4083160" cy="4086395"/>
                  <a:chOff x="13330222" y="5764695"/>
                  <a:chExt cx="2321989" cy="2323829"/>
                </a:xfrm>
              </p:grpSpPr>
              <p:sp>
                <p:nvSpPr>
                  <p:cNvPr id="36" name="iśḻiḍè">
                    <a:extLst>
                      <a:ext uri="{FF2B5EF4-FFF2-40B4-BE49-F238E27FC236}">
                        <a16:creationId xmlns:a16="http://schemas.microsoft.com/office/drawing/2014/main" id="{4BF30803-91D1-40B1-A629-E193724F2D8B}"/>
                      </a:ext>
                    </a:extLst>
                  </p:cNvPr>
                  <p:cNvSpPr/>
                  <p:nvPr/>
                </p:nvSpPr>
                <p:spPr>
                  <a:xfrm rot="11840417">
                    <a:off x="13330222" y="5766832"/>
                    <a:ext cx="2321691" cy="2321692"/>
                  </a:xfrm>
                  <a:prstGeom prst="ellipse">
                    <a:avLst/>
                  </a:prstGeom>
                  <a:solidFill>
                    <a:schemeClr val="accent1">
                      <a:alpha val="40000"/>
                    </a:schemeClr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37" name="îṥḷiḋè">
                    <a:extLst>
                      <a:ext uri="{FF2B5EF4-FFF2-40B4-BE49-F238E27FC236}">
                        <a16:creationId xmlns:a16="http://schemas.microsoft.com/office/drawing/2014/main" id="{061A5093-CC7A-4220-A76B-1EBEA8A3D507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345422" y="5764398"/>
                    <a:ext cx="2306492" cy="2307086"/>
                  </a:xfrm>
                  <a:prstGeom prst="pie">
                    <a:avLst>
                      <a:gd name="adj1" fmla="val 10766470"/>
                      <a:gd name="adj2" fmla="val 9371070"/>
                    </a:avLst>
                  </a:prstGeom>
                  <a:solidFill>
                    <a:schemeClr val="accent1"/>
                  </a:solidFill>
                  <a:ln>
                    <a:noFill/>
                  </a:ln>
                  <a:effectLst>
                    <a:outerShdw dist="38100" algn="ctr" rotWithShape="0">
                      <a:srgbClr val="000000">
                        <a:alpha val="18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38" name="íṩḻïḍê">
                    <a:extLst>
                      <a:ext uri="{FF2B5EF4-FFF2-40B4-BE49-F238E27FC236}">
                        <a16:creationId xmlns:a16="http://schemas.microsoft.com/office/drawing/2014/main" id="{E35773D9-8C32-4F95-9865-182E5E3AF72C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578017" y="6023651"/>
                    <a:ext cx="1826101" cy="182610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</p:grpSp>
            <p:sp>
              <p:nvSpPr>
                <p:cNvPr id="35" name="iS1ïḓe">
                  <a:extLst>
                    <a:ext uri="{FF2B5EF4-FFF2-40B4-BE49-F238E27FC236}">
                      <a16:creationId xmlns:a16="http://schemas.microsoft.com/office/drawing/2014/main" id="{CA35C08F-8269-4AE3-9A97-9B63E715B51D}"/>
                    </a:ext>
                  </a:extLst>
                </p:cNvPr>
                <p:cNvSpPr/>
                <p:nvPr/>
              </p:nvSpPr>
              <p:spPr bwMode="auto">
                <a:xfrm>
                  <a:off x="13746204" y="5634280"/>
                  <a:ext cx="993968" cy="985868"/>
                </a:xfrm>
                <a:custGeom>
                  <a:avLst/>
                  <a:gdLst>
                    <a:gd name="T0" fmla="*/ 381 w 417"/>
                    <a:gd name="T1" fmla="*/ 203 h 417"/>
                    <a:gd name="T2" fmla="*/ 381 w 417"/>
                    <a:gd name="T3" fmla="*/ 203 h 417"/>
                    <a:gd name="T4" fmla="*/ 416 w 417"/>
                    <a:gd name="T5" fmla="*/ 141 h 417"/>
                    <a:gd name="T6" fmla="*/ 408 w 417"/>
                    <a:gd name="T7" fmla="*/ 106 h 417"/>
                    <a:gd name="T8" fmla="*/ 337 w 417"/>
                    <a:gd name="T9" fmla="*/ 79 h 417"/>
                    <a:gd name="T10" fmla="*/ 319 w 417"/>
                    <a:gd name="T11" fmla="*/ 17 h 417"/>
                    <a:gd name="T12" fmla="*/ 275 w 417"/>
                    <a:gd name="T13" fmla="*/ 0 h 417"/>
                    <a:gd name="T14" fmla="*/ 213 w 417"/>
                    <a:gd name="T15" fmla="*/ 35 h 417"/>
                    <a:gd name="T16" fmla="*/ 151 w 417"/>
                    <a:gd name="T17" fmla="*/ 0 h 417"/>
                    <a:gd name="T18" fmla="*/ 107 w 417"/>
                    <a:gd name="T19" fmla="*/ 17 h 417"/>
                    <a:gd name="T20" fmla="*/ 89 w 417"/>
                    <a:gd name="T21" fmla="*/ 79 h 417"/>
                    <a:gd name="T22" fmla="*/ 18 w 417"/>
                    <a:gd name="T23" fmla="*/ 106 h 417"/>
                    <a:gd name="T24" fmla="*/ 0 w 417"/>
                    <a:gd name="T25" fmla="*/ 141 h 417"/>
                    <a:gd name="T26" fmla="*/ 44 w 417"/>
                    <a:gd name="T27" fmla="*/ 203 h 417"/>
                    <a:gd name="T28" fmla="*/ 0 w 417"/>
                    <a:gd name="T29" fmla="*/ 275 h 417"/>
                    <a:gd name="T30" fmla="*/ 18 w 417"/>
                    <a:gd name="T31" fmla="*/ 310 h 417"/>
                    <a:gd name="T32" fmla="*/ 89 w 417"/>
                    <a:gd name="T33" fmla="*/ 328 h 417"/>
                    <a:gd name="T34" fmla="*/ 107 w 417"/>
                    <a:gd name="T35" fmla="*/ 398 h 417"/>
                    <a:gd name="T36" fmla="*/ 151 w 417"/>
                    <a:gd name="T37" fmla="*/ 416 h 417"/>
                    <a:gd name="T38" fmla="*/ 213 w 417"/>
                    <a:gd name="T39" fmla="*/ 372 h 417"/>
                    <a:gd name="T40" fmla="*/ 275 w 417"/>
                    <a:gd name="T41" fmla="*/ 416 h 417"/>
                    <a:gd name="T42" fmla="*/ 319 w 417"/>
                    <a:gd name="T43" fmla="*/ 398 h 417"/>
                    <a:gd name="T44" fmla="*/ 337 w 417"/>
                    <a:gd name="T45" fmla="*/ 328 h 417"/>
                    <a:gd name="T46" fmla="*/ 408 w 417"/>
                    <a:gd name="T47" fmla="*/ 310 h 417"/>
                    <a:gd name="T48" fmla="*/ 416 w 417"/>
                    <a:gd name="T49" fmla="*/ 265 h 417"/>
                    <a:gd name="T50" fmla="*/ 381 w 417"/>
                    <a:gd name="T51" fmla="*/ 203 h 417"/>
                    <a:gd name="T52" fmla="*/ 213 w 417"/>
                    <a:gd name="T53" fmla="*/ 292 h 417"/>
                    <a:gd name="T54" fmla="*/ 213 w 417"/>
                    <a:gd name="T55" fmla="*/ 292 h 417"/>
                    <a:gd name="T56" fmla="*/ 125 w 417"/>
                    <a:gd name="T57" fmla="*/ 203 h 417"/>
                    <a:gd name="T58" fmla="*/ 213 w 417"/>
                    <a:gd name="T59" fmla="*/ 115 h 417"/>
                    <a:gd name="T60" fmla="*/ 301 w 417"/>
                    <a:gd name="T61" fmla="*/ 203 h 417"/>
                    <a:gd name="T62" fmla="*/ 213 w 417"/>
                    <a:gd name="T63" fmla="*/ 292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17" h="417">
                      <a:moveTo>
                        <a:pt x="381" y="203"/>
                      </a:moveTo>
                      <a:lnTo>
                        <a:pt x="381" y="203"/>
                      </a:lnTo>
                      <a:cubicBezTo>
                        <a:pt x="381" y="177"/>
                        <a:pt x="399" y="159"/>
                        <a:pt x="416" y="141"/>
                      </a:cubicBezTo>
                      <a:cubicBezTo>
                        <a:pt x="416" y="132"/>
                        <a:pt x="408" y="115"/>
                        <a:pt x="408" y="106"/>
                      </a:cubicBezTo>
                      <a:cubicBezTo>
                        <a:pt x="372" y="115"/>
                        <a:pt x="354" y="97"/>
                        <a:pt x="337" y="79"/>
                      </a:cubicBezTo>
                      <a:cubicBezTo>
                        <a:pt x="319" y="62"/>
                        <a:pt x="310" y="44"/>
                        <a:pt x="319" y="17"/>
                      </a:cubicBezTo>
                      <a:cubicBezTo>
                        <a:pt x="310" y="9"/>
                        <a:pt x="293" y="0"/>
                        <a:pt x="275" y="0"/>
                      </a:cubicBezTo>
                      <a:cubicBezTo>
                        <a:pt x="266" y="17"/>
                        <a:pt x="240" y="35"/>
                        <a:pt x="213" y="35"/>
                      </a:cubicBezTo>
                      <a:cubicBezTo>
                        <a:pt x="187" y="35"/>
                        <a:pt x="160" y="17"/>
                        <a:pt x="151" y="0"/>
                      </a:cubicBezTo>
                      <a:cubicBezTo>
                        <a:pt x="133" y="0"/>
                        <a:pt x="116" y="9"/>
                        <a:pt x="107" y="17"/>
                      </a:cubicBezTo>
                      <a:cubicBezTo>
                        <a:pt x="116" y="44"/>
                        <a:pt x="107" y="62"/>
                        <a:pt x="89" y="79"/>
                      </a:cubicBezTo>
                      <a:cubicBezTo>
                        <a:pt x="72" y="97"/>
                        <a:pt x="44" y="115"/>
                        <a:pt x="18" y="106"/>
                      </a:cubicBezTo>
                      <a:cubicBezTo>
                        <a:pt x="18" y="115"/>
                        <a:pt x="9" y="132"/>
                        <a:pt x="0" y="141"/>
                      </a:cubicBezTo>
                      <a:cubicBezTo>
                        <a:pt x="27" y="159"/>
                        <a:pt x="44" y="177"/>
                        <a:pt x="44" y="203"/>
                      </a:cubicBezTo>
                      <a:cubicBezTo>
                        <a:pt x="44" y="230"/>
                        <a:pt x="27" y="256"/>
                        <a:pt x="0" y="275"/>
                      </a:cubicBezTo>
                      <a:cubicBezTo>
                        <a:pt x="9" y="283"/>
                        <a:pt x="18" y="301"/>
                        <a:pt x="18" y="310"/>
                      </a:cubicBezTo>
                      <a:cubicBezTo>
                        <a:pt x="44" y="310"/>
                        <a:pt x="72" y="310"/>
                        <a:pt x="89" y="328"/>
                      </a:cubicBezTo>
                      <a:cubicBezTo>
                        <a:pt x="107" y="345"/>
                        <a:pt x="116" y="372"/>
                        <a:pt x="107" y="398"/>
                      </a:cubicBezTo>
                      <a:cubicBezTo>
                        <a:pt x="116" y="407"/>
                        <a:pt x="133" y="407"/>
                        <a:pt x="151" y="416"/>
                      </a:cubicBezTo>
                      <a:cubicBezTo>
                        <a:pt x="160" y="389"/>
                        <a:pt x="187" y="372"/>
                        <a:pt x="213" y="372"/>
                      </a:cubicBezTo>
                      <a:cubicBezTo>
                        <a:pt x="240" y="372"/>
                        <a:pt x="266" y="389"/>
                        <a:pt x="275" y="416"/>
                      </a:cubicBezTo>
                      <a:cubicBezTo>
                        <a:pt x="293" y="407"/>
                        <a:pt x="310" y="407"/>
                        <a:pt x="319" y="398"/>
                      </a:cubicBezTo>
                      <a:cubicBezTo>
                        <a:pt x="310" y="372"/>
                        <a:pt x="319" y="345"/>
                        <a:pt x="337" y="328"/>
                      </a:cubicBezTo>
                      <a:cubicBezTo>
                        <a:pt x="354" y="310"/>
                        <a:pt x="372" y="301"/>
                        <a:pt x="408" y="310"/>
                      </a:cubicBezTo>
                      <a:cubicBezTo>
                        <a:pt x="408" y="292"/>
                        <a:pt x="416" y="283"/>
                        <a:pt x="416" y="265"/>
                      </a:cubicBezTo>
                      <a:cubicBezTo>
                        <a:pt x="399" y="256"/>
                        <a:pt x="381" y="230"/>
                        <a:pt x="381" y="203"/>
                      </a:cubicBezTo>
                      <a:close/>
                      <a:moveTo>
                        <a:pt x="213" y="292"/>
                      </a:moveTo>
                      <a:lnTo>
                        <a:pt x="213" y="292"/>
                      </a:lnTo>
                      <a:cubicBezTo>
                        <a:pt x="160" y="292"/>
                        <a:pt x="125" y="256"/>
                        <a:pt x="125" y="203"/>
                      </a:cubicBezTo>
                      <a:cubicBezTo>
                        <a:pt x="125" y="159"/>
                        <a:pt x="160" y="115"/>
                        <a:pt x="213" y="115"/>
                      </a:cubicBezTo>
                      <a:cubicBezTo>
                        <a:pt x="266" y="115"/>
                        <a:pt x="301" y="159"/>
                        <a:pt x="301" y="203"/>
                      </a:cubicBezTo>
                      <a:cubicBezTo>
                        <a:pt x="301" y="256"/>
                        <a:pt x="266" y="292"/>
                        <a:pt x="213" y="29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algn="ctr"/>
                  <a:endParaRPr dirty="0"/>
                </a:p>
              </p:txBody>
            </p:sp>
          </p:grpSp>
        </p:grpSp>
        <p:grpSp>
          <p:nvGrpSpPr>
            <p:cNvPr id="10" name="iŝ1íḓe">
              <a:extLst>
                <a:ext uri="{FF2B5EF4-FFF2-40B4-BE49-F238E27FC236}">
                  <a16:creationId xmlns:a16="http://schemas.microsoft.com/office/drawing/2014/main" id="{38607CF0-5931-4A43-B918-B88594856D8B}"/>
                </a:ext>
              </a:extLst>
            </p:cNvPr>
            <p:cNvGrpSpPr/>
            <p:nvPr/>
          </p:nvGrpSpPr>
          <p:grpSpPr>
            <a:xfrm>
              <a:off x="683366" y="4175657"/>
              <a:ext cx="5534089" cy="666411"/>
              <a:chOff x="683366" y="4175657"/>
              <a:chExt cx="5534089" cy="666411"/>
            </a:xfrm>
          </p:grpSpPr>
          <p:sp>
            <p:nvSpPr>
              <p:cNvPr id="23" name="ïśľïḍe">
                <a:extLst>
                  <a:ext uri="{FF2B5EF4-FFF2-40B4-BE49-F238E27FC236}">
                    <a16:creationId xmlns:a16="http://schemas.microsoft.com/office/drawing/2014/main" id="{995935C9-1EE7-43C5-92A3-F92F4C45FDAD}"/>
                  </a:ext>
                </a:extLst>
              </p:cNvPr>
              <p:cNvSpPr txBox="1"/>
              <p:nvPr/>
            </p:nvSpPr>
            <p:spPr>
              <a:xfrm>
                <a:off x="2290041" y="4313978"/>
                <a:ext cx="3927414" cy="368085"/>
              </a:xfrm>
              <a:prstGeom prst="rect">
                <a:avLst/>
              </a:prstGeom>
            </p:spPr>
            <p:txBody>
              <a:bodyPr vert="horz" wrap="square" lIns="108745" tIns="54373" rIns="108745" bIns="54373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000" dirty="0"/>
                  <a:t>Copy paste fonts. Choose the only option to retain text.</a:t>
                </a:r>
              </a:p>
            </p:txBody>
          </p:sp>
          <p:sp>
            <p:nvSpPr>
              <p:cNvPr id="24" name="íṧḻiďê">
                <a:extLst>
                  <a:ext uri="{FF2B5EF4-FFF2-40B4-BE49-F238E27FC236}">
                    <a16:creationId xmlns:a16="http://schemas.microsoft.com/office/drawing/2014/main" id="{98EACEBB-F5D1-49F8-8DF2-1FBC996C73E5}"/>
                  </a:ext>
                </a:extLst>
              </p:cNvPr>
              <p:cNvSpPr txBox="1"/>
              <p:nvPr/>
            </p:nvSpPr>
            <p:spPr>
              <a:xfrm>
                <a:off x="683366" y="4313978"/>
                <a:ext cx="1036704" cy="368085"/>
              </a:xfrm>
              <a:prstGeom prst="rect">
                <a:avLst/>
              </a:prstGeom>
              <a:noFill/>
            </p:spPr>
            <p:txBody>
              <a:bodyPr wrap="none" anchor="ctr" anchorCtr="0">
                <a:normAutofit/>
              </a:bodyPr>
              <a:lstStyle/>
              <a:p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  <p:grpSp>
            <p:nvGrpSpPr>
              <p:cNvPr id="25" name="îṩlíḋê">
                <a:extLst>
                  <a:ext uri="{FF2B5EF4-FFF2-40B4-BE49-F238E27FC236}">
                    <a16:creationId xmlns:a16="http://schemas.microsoft.com/office/drawing/2014/main" id="{6BC5B489-645F-4D2D-AAD2-D9E330B222EC}"/>
                  </a:ext>
                </a:extLst>
              </p:cNvPr>
              <p:cNvGrpSpPr/>
              <p:nvPr/>
            </p:nvGrpSpPr>
            <p:grpSpPr>
              <a:xfrm>
                <a:off x="1721670" y="4175657"/>
                <a:ext cx="623014" cy="666411"/>
                <a:chOff x="12188503" y="4014252"/>
                <a:chExt cx="4083160" cy="4086395"/>
              </a:xfrm>
            </p:grpSpPr>
            <p:grpSp>
              <p:nvGrpSpPr>
                <p:cNvPr id="26" name="íṩ1ídè">
                  <a:extLst>
                    <a:ext uri="{FF2B5EF4-FFF2-40B4-BE49-F238E27FC236}">
                      <a16:creationId xmlns:a16="http://schemas.microsoft.com/office/drawing/2014/main" id="{BA96BA2F-E176-4077-B749-EFC0614020B4}"/>
                    </a:ext>
                  </a:extLst>
                </p:cNvPr>
                <p:cNvGrpSpPr/>
                <p:nvPr/>
              </p:nvGrpSpPr>
              <p:grpSpPr>
                <a:xfrm>
                  <a:off x="12188503" y="4014252"/>
                  <a:ext cx="4083160" cy="4086395"/>
                  <a:chOff x="13330222" y="5764695"/>
                  <a:chExt cx="2321989" cy="2323829"/>
                </a:xfrm>
              </p:grpSpPr>
              <p:sp>
                <p:nvSpPr>
                  <p:cNvPr id="28" name="íšḷîdé">
                    <a:extLst>
                      <a:ext uri="{FF2B5EF4-FFF2-40B4-BE49-F238E27FC236}">
                        <a16:creationId xmlns:a16="http://schemas.microsoft.com/office/drawing/2014/main" id="{1404165A-6964-4A74-B20F-FEF7DA24EE82}"/>
                      </a:ext>
                    </a:extLst>
                  </p:cNvPr>
                  <p:cNvSpPr/>
                  <p:nvPr/>
                </p:nvSpPr>
                <p:spPr>
                  <a:xfrm rot="11840417">
                    <a:off x="13330222" y="5766832"/>
                    <a:ext cx="2321691" cy="2321692"/>
                  </a:xfrm>
                  <a:prstGeom prst="ellipse">
                    <a:avLst/>
                  </a:prstGeom>
                  <a:solidFill>
                    <a:schemeClr val="accent2">
                      <a:alpha val="40000"/>
                    </a:schemeClr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29" name="íS1îdê">
                    <a:extLst>
                      <a:ext uri="{FF2B5EF4-FFF2-40B4-BE49-F238E27FC236}">
                        <a16:creationId xmlns:a16="http://schemas.microsoft.com/office/drawing/2014/main" id="{4A739202-65CC-46F9-90F0-C15D5AE249A0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345422" y="5764398"/>
                    <a:ext cx="2306492" cy="2307086"/>
                  </a:xfrm>
                  <a:prstGeom prst="pie">
                    <a:avLst>
                      <a:gd name="adj1" fmla="val 10766470"/>
                      <a:gd name="adj2" fmla="val 9371070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  <a:effectLst>
                    <a:outerShdw dist="38100" algn="ctr" rotWithShape="0">
                      <a:srgbClr val="000000">
                        <a:alpha val="18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30" name="ïṣľíďe">
                    <a:extLst>
                      <a:ext uri="{FF2B5EF4-FFF2-40B4-BE49-F238E27FC236}">
                        <a16:creationId xmlns:a16="http://schemas.microsoft.com/office/drawing/2014/main" id="{7BBC9FC8-C2E3-4DB8-A28E-F915B02ACC94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578017" y="6023651"/>
                    <a:ext cx="1826101" cy="182610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</p:grpSp>
            <p:sp>
              <p:nvSpPr>
                <p:cNvPr id="27" name="îSļïḋe">
                  <a:extLst>
                    <a:ext uri="{FF2B5EF4-FFF2-40B4-BE49-F238E27FC236}">
                      <a16:creationId xmlns:a16="http://schemas.microsoft.com/office/drawing/2014/main" id="{EEFE390C-B714-44AC-A5D7-E1AE74B52169}"/>
                    </a:ext>
                  </a:extLst>
                </p:cNvPr>
                <p:cNvSpPr/>
                <p:nvPr/>
              </p:nvSpPr>
              <p:spPr bwMode="auto">
                <a:xfrm>
                  <a:off x="13746204" y="5634280"/>
                  <a:ext cx="993968" cy="985868"/>
                </a:xfrm>
                <a:custGeom>
                  <a:avLst/>
                  <a:gdLst>
                    <a:gd name="T0" fmla="*/ 381 w 417"/>
                    <a:gd name="T1" fmla="*/ 203 h 417"/>
                    <a:gd name="T2" fmla="*/ 381 w 417"/>
                    <a:gd name="T3" fmla="*/ 203 h 417"/>
                    <a:gd name="T4" fmla="*/ 416 w 417"/>
                    <a:gd name="T5" fmla="*/ 141 h 417"/>
                    <a:gd name="T6" fmla="*/ 408 w 417"/>
                    <a:gd name="T7" fmla="*/ 106 h 417"/>
                    <a:gd name="T8" fmla="*/ 337 w 417"/>
                    <a:gd name="T9" fmla="*/ 79 h 417"/>
                    <a:gd name="T10" fmla="*/ 319 w 417"/>
                    <a:gd name="T11" fmla="*/ 17 h 417"/>
                    <a:gd name="T12" fmla="*/ 275 w 417"/>
                    <a:gd name="T13" fmla="*/ 0 h 417"/>
                    <a:gd name="T14" fmla="*/ 213 w 417"/>
                    <a:gd name="T15" fmla="*/ 35 h 417"/>
                    <a:gd name="T16" fmla="*/ 151 w 417"/>
                    <a:gd name="T17" fmla="*/ 0 h 417"/>
                    <a:gd name="T18" fmla="*/ 107 w 417"/>
                    <a:gd name="T19" fmla="*/ 17 h 417"/>
                    <a:gd name="T20" fmla="*/ 89 w 417"/>
                    <a:gd name="T21" fmla="*/ 79 h 417"/>
                    <a:gd name="T22" fmla="*/ 18 w 417"/>
                    <a:gd name="T23" fmla="*/ 106 h 417"/>
                    <a:gd name="T24" fmla="*/ 0 w 417"/>
                    <a:gd name="T25" fmla="*/ 141 h 417"/>
                    <a:gd name="T26" fmla="*/ 44 w 417"/>
                    <a:gd name="T27" fmla="*/ 203 h 417"/>
                    <a:gd name="T28" fmla="*/ 0 w 417"/>
                    <a:gd name="T29" fmla="*/ 275 h 417"/>
                    <a:gd name="T30" fmla="*/ 18 w 417"/>
                    <a:gd name="T31" fmla="*/ 310 h 417"/>
                    <a:gd name="T32" fmla="*/ 89 w 417"/>
                    <a:gd name="T33" fmla="*/ 328 h 417"/>
                    <a:gd name="T34" fmla="*/ 107 w 417"/>
                    <a:gd name="T35" fmla="*/ 398 h 417"/>
                    <a:gd name="T36" fmla="*/ 151 w 417"/>
                    <a:gd name="T37" fmla="*/ 416 h 417"/>
                    <a:gd name="T38" fmla="*/ 213 w 417"/>
                    <a:gd name="T39" fmla="*/ 372 h 417"/>
                    <a:gd name="T40" fmla="*/ 275 w 417"/>
                    <a:gd name="T41" fmla="*/ 416 h 417"/>
                    <a:gd name="T42" fmla="*/ 319 w 417"/>
                    <a:gd name="T43" fmla="*/ 398 h 417"/>
                    <a:gd name="T44" fmla="*/ 337 w 417"/>
                    <a:gd name="T45" fmla="*/ 328 h 417"/>
                    <a:gd name="T46" fmla="*/ 408 w 417"/>
                    <a:gd name="T47" fmla="*/ 310 h 417"/>
                    <a:gd name="T48" fmla="*/ 416 w 417"/>
                    <a:gd name="T49" fmla="*/ 265 h 417"/>
                    <a:gd name="T50" fmla="*/ 381 w 417"/>
                    <a:gd name="T51" fmla="*/ 203 h 417"/>
                    <a:gd name="T52" fmla="*/ 213 w 417"/>
                    <a:gd name="T53" fmla="*/ 292 h 417"/>
                    <a:gd name="T54" fmla="*/ 213 w 417"/>
                    <a:gd name="T55" fmla="*/ 292 h 417"/>
                    <a:gd name="T56" fmla="*/ 125 w 417"/>
                    <a:gd name="T57" fmla="*/ 203 h 417"/>
                    <a:gd name="T58" fmla="*/ 213 w 417"/>
                    <a:gd name="T59" fmla="*/ 115 h 417"/>
                    <a:gd name="T60" fmla="*/ 301 w 417"/>
                    <a:gd name="T61" fmla="*/ 203 h 417"/>
                    <a:gd name="T62" fmla="*/ 213 w 417"/>
                    <a:gd name="T63" fmla="*/ 292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17" h="417">
                      <a:moveTo>
                        <a:pt x="381" y="203"/>
                      </a:moveTo>
                      <a:lnTo>
                        <a:pt x="381" y="203"/>
                      </a:lnTo>
                      <a:cubicBezTo>
                        <a:pt x="381" y="177"/>
                        <a:pt x="399" y="159"/>
                        <a:pt x="416" y="141"/>
                      </a:cubicBezTo>
                      <a:cubicBezTo>
                        <a:pt x="416" y="132"/>
                        <a:pt x="408" y="115"/>
                        <a:pt x="408" y="106"/>
                      </a:cubicBezTo>
                      <a:cubicBezTo>
                        <a:pt x="372" y="115"/>
                        <a:pt x="354" y="97"/>
                        <a:pt x="337" y="79"/>
                      </a:cubicBezTo>
                      <a:cubicBezTo>
                        <a:pt x="319" y="62"/>
                        <a:pt x="310" y="44"/>
                        <a:pt x="319" y="17"/>
                      </a:cubicBezTo>
                      <a:cubicBezTo>
                        <a:pt x="310" y="9"/>
                        <a:pt x="293" y="0"/>
                        <a:pt x="275" y="0"/>
                      </a:cubicBezTo>
                      <a:cubicBezTo>
                        <a:pt x="266" y="17"/>
                        <a:pt x="240" y="35"/>
                        <a:pt x="213" y="35"/>
                      </a:cubicBezTo>
                      <a:cubicBezTo>
                        <a:pt x="187" y="35"/>
                        <a:pt x="160" y="17"/>
                        <a:pt x="151" y="0"/>
                      </a:cubicBezTo>
                      <a:cubicBezTo>
                        <a:pt x="133" y="0"/>
                        <a:pt x="116" y="9"/>
                        <a:pt x="107" y="17"/>
                      </a:cubicBezTo>
                      <a:cubicBezTo>
                        <a:pt x="116" y="44"/>
                        <a:pt x="107" y="62"/>
                        <a:pt x="89" y="79"/>
                      </a:cubicBezTo>
                      <a:cubicBezTo>
                        <a:pt x="72" y="97"/>
                        <a:pt x="44" y="115"/>
                        <a:pt x="18" y="106"/>
                      </a:cubicBezTo>
                      <a:cubicBezTo>
                        <a:pt x="18" y="115"/>
                        <a:pt x="9" y="132"/>
                        <a:pt x="0" y="141"/>
                      </a:cubicBezTo>
                      <a:cubicBezTo>
                        <a:pt x="27" y="159"/>
                        <a:pt x="44" y="177"/>
                        <a:pt x="44" y="203"/>
                      </a:cubicBezTo>
                      <a:cubicBezTo>
                        <a:pt x="44" y="230"/>
                        <a:pt x="27" y="256"/>
                        <a:pt x="0" y="275"/>
                      </a:cubicBezTo>
                      <a:cubicBezTo>
                        <a:pt x="9" y="283"/>
                        <a:pt x="18" y="301"/>
                        <a:pt x="18" y="310"/>
                      </a:cubicBezTo>
                      <a:cubicBezTo>
                        <a:pt x="44" y="310"/>
                        <a:pt x="72" y="310"/>
                        <a:pt x="89" y="328"/>
                      </a:cubicBezTo>
                      <a:cubicBezTo>
                        <a:pt x="107" y="345"/>
                        <a:pt x="116" y="372"/>
                        <a:pt x="107" y="398"/>
                      </a:cubicBezTo>
                      <a:cubicBezTo>
                        <a:pt x="116" y="407"/>
                        <a:pt x="133" y="407"/>
                        <a:pt x="151" y="416"/>
                      </a:cubicBezTo>
                      <a:cubicBezTo>
                        <a:pt x="160" y="389"/>
                        <a:pt x="187" y="372"/>
                        <a:pt x="213" y="372"/>
                      </a:cubicBezTo>
                      <a:cubicBezTo>
                        <a:pt x="240" y="372"/>
                        <a:pt x="266" y="389"/>
                        <a:pt x="275" y="416"/>
                      </a:cubicBezTo>
                      <a:cubicBezTo>
                        <a:pt x="293" y="407"/>
                        <a:pt x="310" y="407"/>
                        <a:pt x="319" y="398"/>
                      </a:cubicBezTo>
                      <a:cubicBezTo>
                        <a:pt x="310" y="372"/>
                        <a:pt x="319" y="345"/>
                        <a:pt x="337" y="328"/>
                      </a:cubicBezTo>
                      <a:cubicBezTo>
                        <a:pt x="354" y="310"/>
                        <a:pt x="372" y="301"/>
                        <a:pt x="408" y="310"/>
                      </a:cubicBezTo>
                      <a:cubicBezTo>
                        <a:pt x="408" y="292"/>
                        <a:pt x="416" y="283"/>
                        <a:pt x="416" y="265"/>
                      </a:cubicBezTo>
                      <a:cubicBezTo>
                        <a:pt x="399" y="256"/>
                        <a:pt x="381" y="230"/>
                        <a:pt x="381" y="203"/>
                      </a:cubicBezTo>
                      <a:close/>
                      <a:moveTo>
                        <a:pt x="213" y="292"/>
                      </a:moveTo>
                      <a:lnTo>
                        <a:pt x="213" y="292"/>
                      </a:lnTo>
                      <a:cubicBezTo>
                        <a:pt x="160" y="292"/>
                        <a:pt x="125" y="256"/>
                        <a:pt x="125" y="203"/>
                      </a:cubicBezTo>
                      <a:cubicBezTo>
                        <a:pt x="125" y="159"/>
                        <a:pt x="160" y="115"/>
                        <a:pt x="213" y="115"/>
                      </a:cubicBezTo>
                      <a:cubicBezTo>
                        <a:pt x="266" y="115"/>
                        <a:pt x="301" y="159"/>
                        <a:pt x="301" y="203"/>
                      </a:cubicBezTo>
                      <a:cubicBezTo>
                        <a:pt x="301" y="256"/>
                        <a:pt x="266" y="292"/>
                        <a:pt x="213" y="29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algn="ctr"/>
                  <a:endParaRPr dirty="0"/>
                </a:p>
              </p:txBody>
            </p:sp>
          </p:grpSp>
        </p:grpSp>
        <p:grpSp>
          <p:nvGrpSpPr>
            <p:cNvPr id="11" name="í$ļiḋe">
              <a:extLst>
                <a:ext uri="{FF2B5EF4-FFF2-40B4-BE49-F238E27FC236}">
                  <a16:creationId xmlns:a16="http://schemas.microsoft.com/office/drawing/2014/main" id="{4649BB06-E98E-4D4D-8B42-61857CD1D038}"/>
                </a:ext>
              </a:extLst>
            </p:cNvPr>
            <p:cNvGrpSpPr/>
            <p:nvPr/>
          </p:nvGrpSpPr>
          <p:grpSpPr>
            <a:xfrm>
              <a:off x="683367" y="5460715"/>
              <a:ext cx="5592832" cy="666411"/>
              <a:chOff x="683367" y="5460715"/>
              <a:chExt cx="5592832" cy="666411"/>
            </a:xfrm>
          </p:grpSpPr>
          <p:sp>
            <p:nvSpPr>
              <p:cNvPr id="15" name="iṧ1îḑè">
                <a:extLst>
                  <a:ext uri="{FF2B5EF4-FFF2-40B4-BE49-F238E27FC236}">
                    <a16:creationId xmlns:a16="http://schemas.microsoft.com/office/drawing/2014/main" id="{0E97D467-318D-4884-9DEF-A685586B612B}"/>
                  </a:ext>
                </a:extLst>
              </p:cNvPr>
              <p:cNvSpPr txBox="1"/>
              <p:nvPr/>
            </p:nvSpPr>
            <p:spPr>
              <a:xfrm>
                <a:off x="2348785" y="5602142"/>
                <a:ext cx="3927414" cy="364979"/>
              </a:xfrm>
              <a:prstGeom prst="rect">
                <a:avLst/>
              </a:prstGeom>
            </p:spPr>
            <p:txBody>
              <a:bodyPr vert="horz" wrap="square" lIns="108745" tIns="54373" rIns="108745" bIns="54373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000" dirty="0"/>
                  <a:t>Copy paste fonts. Choose the only option to retain text.</a:t>
                </a:r>
              </a:p>
            </p:txBody>
          </p:sp>
          <p:sp>
            <p:nvSpPr>
              <p:cNvPr id="16" name="îśļiḍé">
                <a:extLst>
                  <a:ext uri="{FF2B5EF4-FFF2-40B4-BE49-F238E27FC236}">
                    <a16:creationId xmlns:a16="http://schemas.microsoft.com/office/drawing/2014/main" id="{93A22D74-58B4-4DD3-988B-5A1FF22786C1}"/>
                  </a:ext>
                </a:extLst>
              </p:cNvPr>
              <p:cNvSpPr txBox="1"/>
              <p:nvPr/>
            </p:nvSpPr>
            <p:spPr>
              <a:xfrm>
                <a:off x="683367" y="5602142"/>
                <a:ext cx="1036704" cy="364979"/>
              </a:xfrm>
              <a:prstGeom prst="rect">
                <a:avLst/>
              </a:prstGeom>
              <a:noFill/>
            </p:spPr>
            <p:txBody>
              <a:bodyPr wrap="none" anchor="ctr" anchorCtr="0">
                <a:normAutofit/>
              </a:bodyPr>
              <a:lstStyle/>
              <a:p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  <p:grpSp>
            <p:nvGrpSpPr>
              <p:cNvPr id="17" name="ïšlîdé">
                <a:extLst>
                  <a:ext uri="{FF2B5EF4-FFF2-40B4-BE49-F238E27FC236}">
                    <a16:creationId xmlns:a16="http://schemas.microsoft.com/office/drawing/2014/main" id="{03141AB5-9AA7-4838-A090-ED334F41A454}"/>
                  </a:ext>
                </a:extLst>
              </p:cNvPr>
              <p:cNvGrpSpPr/>
              <p:nvPr/>
            </p:nvGrpSpPr>
            <p:grpSpPr>
              <a:xfrm>
                <a:off x="1721669" y="5460715"/>
                <a:ext cx="623015" cy="666411"/>
                <a:chOff x="12188503" y="4014252"/>
                <a:chExt cx="4083167" cy="4086395"/>
              </a:xfrm>
            </p:grpSpPr>
            <p:grpSp>
              <p:nvGrpSpPr>
                <p:cNvPr id="18" name="îṧ1ïḋê">
                  <a:extLst>
                    <a:ext uri="{FF2B5EF4-FFF2-40B4-BE49-F238E27FC236}">
                      <a16:creationId xmlns:a16="http://schemas.microsoft.com/office/drawing/2014/main" id="{CF1D36EA-1500-43F7-9DDC-E16FAE35956E}"/>
                    </a:ext>
                  </a:extLst>
                </p:cNvPr>
                <p:cNvGrpSpPr/>
                <p:nvPr/>
              </p:nvGrpSpPr>
              <p:grpSpPr>
                <a:xfrm>
                  <a:off x="12188503" y="4014252"/>
                  <a:ext cx="4083167" cy="4086395"/>
                  <a:chOff x="13330222" y="5764695"/>
                  <a:chExt cx="2321993" cy="2323829"/>
                </a:xfrm>
              </p:grpSpPr>
              <p:sp>
                <p:nvSpPr>
                  <p:cNvPr id="20" name="iṥḻîḑé">
                    <a:extLst>
                      <a:ext uri="{FF2B5EF4-FFF2-40B4-BE49-F238E27FC236}">
                        <a16:creationId xmlns:a16="http://schemas.microsoft.com/office/drawing/2014/main" id="{AF52A1CF-8EFA-4304-B5BC-704368372B3D}"/>
                      </a:ext>
                    </a:extLst>
                  </p:cNvPr>
                  <p:cNvSpPr/>
                  <p:nvPr/>
                </p:nvSpPr>
                <p:spPr>
                  <a:xfrm rot="11840417">
                    <a:off x="13330222" y="5766832"/>
                    <a:ext cx="2321691" cy="2321692"/>
                  </a:xfrm>
                  <a:prstGeom prst="ellipse">
                    <a:avLst/>
                  </a:prstGeom>
                  <a:solidFill>
                    <a:schemeClr val="accent3">
                      <a:alpha val="40000"/>
                    </a:schemeClr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21" name="iślîdé">
                    <a:extLst>
                      <a:ext uri="{FF2B5EF4-FFF2-40B4-BE49-F238E27FC236}">
                        <a16:creationId xmlns:a16="http://schemas.microsoft.com/office/drawing/2014/main" id="{3F3BEC88-7080-41A7-A1A9-F0F27A1321FB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345427" y="5764398"/>
                    <a:ext cx="2306492" cy="2307085"/>
                  </a:xfrm>
                  <a:prstGeom prst="pie">
                    <a:avLst>
                      <a:gd name="adj1" fmla="val 10766470"/>
                      <a:gd name="adj2" fmla="val 937107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  <a:effectLst>
                    <a:outerShdw dist="38100" algn="ctr" rotWithShape="0">
                      <a:srgbClr val="000000">
                        <a:alpha val="18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22" name="îsḻïḍê">
                    <a:extLst>
                      <a:ext uri="{FF2B5EF4-FFF2-40B4-BE49-F238E27FC236}">
                        <a16:creationId xmlns:a16="http://schemas.microsoft.com/office/drawing/2014/main" id="{2F6B4389-E8C0-4ADF-ABCA-D1031FFE75AF}"/>
                      </a:ext>
                    </a:extLst>
                  </p:cNvPr>
                  <p:cNvSpPr/>
                  <p:nvPr/>
                </p:nvSpPr>
                <p:spPr>
                  <a:xfrm rot="5422425">
                    <a:off x="13578017" y="6023651"/>
                    <a:ext cx="1826101" cy="182610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 dirty="0"/>
                  </a:p>
                </p:txBody>
              </p:sp>
            </p:grpSp>
            <p:sp>
              <p:nvSpPr>
                <p:cNvPr id="19" name="íṥļîḍè">
                  <a:extLst>
                    <a:ext uri="{FF2B5EF4-FFF2-40B4-BE49-F238E27FC236}">
                      <a16:creationId xmlns:a16="http://schemas.microsoft.com/office/drawing/2014/main" id="{857FC1E5-7163-4251-9682-42F088131020}"/>
                    </a:ext>
                  </a:extLst>
                </p:cNvPr>
                <p:cNvSpPr/>
                <p:nvPr/>
              </p:nvSpPr>
              <p:spPr bwMode="auto">
                <a:xfrm>
                  <a:off x="13746204" y="5634280"/>
                  <a:ext cx="993968" cy="985868"/>
                </a:xfrm>
                <a:custGeom>
                  <a:avLst/>
                  <a:gdLst>
                    <a:gd name="T0" fmla="*/ 381 w 417"/>
                    <a:gd name="T1" fmla="*/ 203 h 417"/>
                    <a:gd name="T2" fmla="*/ 381 w 417"/>
                    <a:gd name="T3" fmla="*/ 203 h 417"/>
                    <a:gd name="T4" fmla="*/ 416 w 417"/>
                    <a:gd name="T5" fmla="*/ 141 h 417"/>
                    <a:gd name="T6" fmla="*/ 408 w 417"/>
                    <a:gd name="T7" fmla="*/ 106 h 417"/>
                    <a:gd name="T8" fmla="*/ 337 w 417"/>
                    <a:gd name="T9" fmla="*/ 79 h 417"/>
                    <a:gd name="T10" fmla="*/ 319 w 417"/>
                    <a:gd name="T11" fmla="*/ 17 h 417"/>
                    <a:gd name="T12" fmla="*/ 275 w 417"/>
                    <a:gd name="T13" fmla="*/ 0 h 417"/>
                    <a:gd name="T14" fmla="*/ 213 w 417"/>
                    <a:gd name="T15" fmla="*/ 35 h 417"/>
                    <a:gd name="T16" fmla="*/ 151 w 417"/>
                    <a:gd name="T17" fmla="*/ 0 h 417"/>
                    <a:gd name="T18" fmla="*/ 107 w 417"/>
                    <a:gd name="T19" fmla="*/ 17 h 417"/>
                    <a:gd name="T20" fmla="*/ 89 w 417"/>
                    <a:gd name="T21" fmla="*/ 79 h 417"/>
                    <a:gd name="T22" fmla="*/ 18 w 417"/>
                    <a:gd name="T23" fmla="*/ 106 h 417"/>
                    <a:gd name="T24" fmla="*/ 0 w 417"/>
                    <a:gd name="T25" fmla="*/ 141 h 417"/>
                    <a:gd name="T26" fmla="*/ 44 w 417"/>
                    <a:gd name="T27" fmla="*/ 203 h 417"/>
                    <a:gd name="T28" fmla="*/ 0 w 417"/>
                    <a:gd name="T29" fmla="*/ 275 h 417"/>
                    <a:gd name="T30" fmla="*/ 18 w 417"/>
                    <a:gd name="T31" fmla="*/ 310 h 417"/>
                    <a:gd name="T32" fmla="*/ 89 w 417"/>
                    <a:gd name="T33" fmla="*/ 328 h 417"/>
                    <a:gd name="T34" fmla="*/ 107 w 417"/>
                    <a:gd name="T35" fmla="*/ 398 h 417"/>
                    <a:gd name="T36" fmla="*/ 151 w 417"/>
                    <a:gd name="T37" fmla="*/ 416 h 417"/>
                    <a:gd name="T38" fmla="*/ 213 w 417"/>
                    <a:gd name="T39" fmla="*/ 372 h 417"/>
                    <a:gd name="T40" fmla="*/ 275 w 417"/>
                    <a:gd name="T41" fmla="*/ 416 h 417"/>
                    <a:gd name="T42" fmla="*/ 319 w 417"/>
                    <a:gd name="T43" fmla="*/ 398 h 417"/>
                    <a:gd name="T44" fmla="*/ 337 w 417"/>
                    <a:gd name="T45" fmla="*/ 328 h 417"/>
                    <a:gd name="T46" fmla="*/ 408 w 417"/>
                    <a:gd name="T47" fmla="*/ 310 h 417"/>
                    <a:gd name="T48" fmla="*/ 416 w 417"/>
                    <a:gd name="T49" fmla="*/ 265 h 417"/>
                    <a:gd name="T50" fmla="*/ 381 w 417"/>
                    <a:gd name="T51" fmla="*/ 203 h 417"/>
                    <a:gd name="T52" fmla="*/ 213 w 417"/>
                    <a:gd name="T53" fmla="*/ 292 h 417"/>
                    <a:gd name="T54" fmla="*/ 213 w 417"/>
                    <a:gd name="T55" fmla="*/ 292 h 417"/>
                    <a:gd name="T56" fmla="*/ 125 w 417"/>
                    <a:gd name="T57" fmla="*/ 203 h 417"/>
                    <a:gd name="T58" fmla="*/ 213 w 417"/>
                    <a:gd name="T59" fmla="*/ 115 h 417"/>
                    <a:gd name="T60" fmla="*/ 301 w 417"/>
                    <a:gd name="T61" fmla="*/ 203 h 417"/>
                    <a:gd name="T62" fmla="*/ 213 w 417"/>
                    <a:gd name="T63" fmla="*/ 292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17" h="417">
                      <a:moveTo>
                        <a:pt x="381" y="203"/>
                      </a:moveTo>
                      <a:lnTo>
                        <a:pt x="381" y="203"/>
                      </a:lnTo>
                      <a:cubicBezTo>
                        <a:pt x="381" y="177"/>
                        <a:pt x="399" y="159"/>
                        <a:pt x="416" y="141"/>
                      </a:cubicBezTo>
                      <a:cubicBezTo>
                        <a:pt x="416" y="132"/>
                        <a:pt x="408" y="115"/>
                        <a:pt x="408" y="106"/>
                      </a:cubicBezTo>
                      <a:cubicBezTo>
                        <a:pt x="372" y="115"/>
                        <a:pt x="354" y="97"/>
                        <a:pt x="337" y="79"/>
                      </a:cubicBezTo>
                      <a:cubicBezTo>
                        <a:pt x="319" y="62"/>
                        <a:pt x="310" y="44"/>
                        <a:pt x="319" y="17"/>
                      </a:cubicBezTo>
                      <a:cubicBezTo>
                        <a:pt x="310" y="9"/>
                        <a:pt x="293" y="0"/>
                        <a:pt x="275" y="0"/>
                      </a:cubicBezTo>
                      <a:cubicBezTo>
                        <a:pt x="266" y="17"/>
                        <a:pt x="240" y="35"/>
                        <a:pt x="213" y="35"/>
                      </a:cubicBezTo>
                      <a:cubicBezTo>
                        <a:pt x="187" y="35"/>
                        <a:pt x="160" y="17"/>
                        <a:pt x="151" y="0"/>
                      </a:cubicBezTo>
                      <a:cubicBezTo>
                        <a:pt x="133" y="0"/>
                        <a:pt x="116" y="9"/>
                        <a:pt x="107" y="17"/>
                      </a:cubicBezTo>
                      <a:cubicBezTo>
                        <a:pt x="116" y="44"/>
                        <a:pt x="107" y="62"/>
                        <a:pt x="89" y="79"/>
                      </a:cubicBezTo>
                      <a:cubicBezTo>
                        <a:pt x="72" y="97"/>
                        <a:pt x="44" y="115"/>
                        <a:pt x="18" y="106"/>
                      </a:cubicBezTo>
                      <a:cubicBezTo>
                        <a:pt x="18" y="115"/>
                        <a:pt x="9" y="132"/>
                        <a:pt x="0" y="141"/>
                      </a:cubicBezTo>
                      <a:cubicBezTo>
                        <a:pt x="27" y="159"/>
                        <a:pt x="44" y="177"/>
                        <a:pt x="44" y="203"/>
                      </a:cubicBezTo>
                      <a:cubicBezTo>
                        <a:pt x="44" y="230"/>
                        <a:pt x="27" y="256"/>
                        <a:pt x="0" y="275"/>
                      </a:cubicBezTo>
                      <a:cubicBezTo>
                        <a:pt x="9" y="283"/>
                        <a:pt x="18" y="301"/>
                        <a:pt x="18" y="310"/>
                      </a:cubicBezTo>
                      <a:cubicBezTo>
                        <a:pt x="44" y="310"/>
                        <a:pt x="72" y="310"/>
                        <a:pt x="89" y="328"/>
                      </a:cubicBezTo>
                      <a:cubicBezTo>
                        <a:pt x="107" y="345"/>
                        <a:pt x="116" y="372"/>
                        <a:pt x="107" y="398"/>
                      </a:cubicBezTo>
                      <a:cubicBezTo>
                        <a:pt x="116" y="407"/>
                        <a:pt x="133" y="407"/>
                        <a:pt x="151" y="416"/>
                      </a:cubicBezTo>
                      <a:cubicBezTo>
                        <a:pt x="160" y="389"/>
                        <a:pt x="187" y="372"/>
                        <a:pt x="213" y="372"/>
                      </a:cubicBezTo>
                      <a:cubicBezTo>
                        <a:pt x="240" y="372"/>
                        <a:pt x="266" y="389"/>
                        <a:pt x="275" y="416"/>
                      </a:cubicBezTo>
                      <a:cubicBezTo>
                        <a:pt x="293" y="407"/>
                        <a:pt x="310" y="407"/>
                        <a:pt x="319" y="398"/>
                      </a:cubicBezTo>
                      <a:cubicBezTo>
                        <a:pt x="310" y="372"/>
                        <a:pt x="319" y="345"/>
                        <a:pt x="337" y="328"/>
                      </a:cubicBezTo>
                      <a:cubicBezTo>
                        <a:pt x="354" y="310"/>
                        <a:pt x="372" y="301"/>
                        <a:pt x="408" y="310"/>
                      </a:cubicBezTo>
                      <a:cubicBezTo>
                        <a:pt x="408" y="292"/>
                        <a:pt x="416" y="283"/>
                        <a:pt x="416" y="265"/>
                      </a:cubicBezTo>
                      <a:cubicBezTo>
                        <a:pt x="399" y="256"/>
                        <a:pt x="381" y="230"/>
                        <a:pt x="381" y="203"/>
                      </a:cubicBezTo>
                      <a:close/>
                      <a:moveTo>
                        <a:pt x="213" y="292"/>
                      </a:moveTo>
                      <a:lnTo>
                        <a:pt x="213" y="292"/>
                      </a:lnTo>
                      <a:cubicBezTo>
                        <a:pt x="160" y="292"/>
                        <a:pt x="125" y="256"/>
                        <a:pt x="125" y="203"/>
                      </a:cubicBezTo>
                      <a:cubicBezTo>
                        <a:pt x="125" y="159"/>
                        <a:pt x="160" y="115"/>
                        <a:pt x="213" y="115"/>
                      </a:cubicBezTo>
                      <a:cubicBezTo>
                        <a:pt x="266" y="115"/>
                        <a:pt x="301" y="159"/>
                        <a:pt x="301" y="203"/>
                      </a:cubicBezTo>
                      <a:cubicBezTo>
                        <a:pt x="301" y="256"/>
                        <a:pt x="266" y="292"/>
                        <a:pt x="213" y="29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algn="ctr"/>
                  <a:endParaRPr dirty="0"/>
                </a:p>
              </p:txBody>
            </p:sp>
          </p:grpSp>
        </p:grpSp>
        <p:sp>
          <p:nvSpPr>
            <p:cNvPr id="12" name="íŝľîdê">
              <a:extLst>
                <a:ext uri="{FF2B5EF4-FFF2-40B4-BE49-F238E27FC236}">
                  <a16:creationId xmlns:a16="http://schemas.microsoft.com/office/drawing/2014/main" id="{4FC10180-4D92-4AB8-8D91-966FE5672A41}"/>
                </a:ext>
              </a:extLst>
            </p:cNvPr>
            <p:cNvSpPr txBox="1"/>
            <p:nvPr/>
          </p:nvSpPr>
          <p:spPr>
            <a:xfrm>
              <a:off x="692436" y="1443718"/>
              <a:ext cx="5239984" cy="46079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Autofit/>
            </a:bodyPr>
            <a:lstStyle/>
            <a:p>
              <a:r>
                <a:rPr lang="en-US" altLang="zh-CN" sz="1400" b="1" dirty="0"/>
                <a:t>Theme color makes PPT more convenient to change.</a:t>
              </a:r>
            </a:p>
          </p:txBody>
        </p:sp>
        <p:sp>
          <p:nvSpPr>
            <p:cNvPr id="13" name="íṧlïḋè">
              <a:extLst>
                <a:ext uri="{FF2B5EF4-FFF2-40B4-BE49-F238E27FC236}">
                  <a16:creationId xmlns:a16="http://schemas.microsoft.com/office/drawing/2014/main" id="{5B245F42-9B8F-4361-89B5-052A67633D55}"/>
                </a:ext>
              </a:extLst>
            </p:cNvPr>
            <p:cNvSpPr txBox="1"/>
            <p:nvPr/>
          </p:nvSpPr>
          <p:spPr>
            <a:xfrm>
              <a:off x="692436" y="1166719"/>
              <a:ext cx="5239984" cy="276999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/>
            </a:bodyPr>
            <a:lstStyle/>
            <a:p>
              <a:pPr>
                <a:buSzPct val="25000"/>
              </a:pPr>
              <a:r>
                <a:rPr lang="en-US" altLang="zh-CN" sz="1200" dirty="0"/>
                <a:t>Unified fonts make reading more fluent.</a:t>
              </a:r>
            </a:p>
          </p:txBody>
        </p:sp>
        <p:sp>
          <p:nvSpPr>
            <p:cNvPr id="14" name="isľïďe">
              <a:extLst>
                <a:ext uri="{FF2B5EF4-FFF2-40B4-BE49-F238E27FC236}">
                  <a16:creationId xmlns:a16="http://schemas.microsoft.com/office/drawing/2014/main" id="{B37C35B4-79DB-4277-9299-D47FF7A17838}"/>
                </a:ext>
              </a:extLst>
            </p:cNvPr>
            <p:cNvSpPr txBox="1"/>
            <p:nvPr/>
          </p:nvSpPr>
          <p:spPr>
            <a:xfrm>
              <a:off x="692435" y="1904514"/>
              <a:ext cx="5239984" cy="646553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300" dirty="0"/>
                <a:t>Adjust the spacing to adapt to Chinese typesetting, use the reference line in PP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49113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76A1E9-CD7A-4FA0-817D-E11944B9E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A644AB8-4721-4095-A99A-938126168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8AD3CC-5A24-493E-9674-615025D8C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2089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337EA5C-E7A6-4911-85DA-CEED04D731D0}"/>
              </a:ext>
            </a:extLst>
          </p:cNvPr>
          <p:cNvGrpSpPr>
            <a:grpSpLocks noChangeAspect="1"/>
          </p:cNvGrpSpPr>
          <p:nvPr/>
        </p:nvGrpSpPr>
        <p:grpSpPr>
          <a:xfrm>
            <a:off x="672345" y="2049018"/>
            <a:ext cx="10834610" cy="3238986"/>
            <a:chOff x="672345" y="2049018"/>
            <a:chExt cx="10834610" cy="3238986"/>
          </a:xfrm>
        </p:grpSpPr>
        <p:sp>
          <p:nvSpPr>
            <p:cNvPr id="6" name="îślîdê">
              <a:extLst>
                <a:ext uri="{FF2B5EF4-FFF2-40B4-BE49-F238E27FC236}">
                  <a16:creationId xmlns:a16="http://schemas.microsoft.com/office/drawing/2014/main" id="{844B68F3-4923-4A7A-AB6D-DE6F6D6D7D4D}"/>
                </a:ext>
              </a:extLst>
            </p:cNvPr>
            <p:cNvSpPr/>
            <p:nvPr/>
          </p:nvSpPr>
          <p:spPr>
            <a:xfrm>
              <a:off x="672346" y="3663898"/>
              <a:ext cx="10834609" cy="1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endParaRPr sz="2000"/>
            </a:p>
          </p:txBody>
        </p:sp>
        <p:sp>
          <p:nvSpPr>
            <p:cNvPr id="7" name="ïsliḋé">
              <a:extLst>
                <a:ext uri="{FF2B5EF4-FFF2-40B4-BE49-F238E27FC236}">
                  <a16:creationId xmlns:a16="http://schemas.microsoft.com/office/drawing/2014/main" id="{DE7CDF4D-B8A9-49A7-A72F-69CDD87D000A}"/>
                </a:ext>
              </a:extLst>
            </p:cNvPr>
            <p:cNvSpPr/>
            <p:nvPr/>
          </p:nvSpPr>
          <p:spPr>
            <a:xfrm>
              <a:off x="4470471" y="3033039"/>
              <a:ext cx="1270945" cy="127094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8" name="íṡlíďé">
              <a:extLst>
                <a:ext uri="{FF2B5EF4-FFF2-40B4-BE49-F238E27FC236}">
                  <a16:creationId xmlns:a16="http://schemas.microsoft.com/office/drawing/2014/main" id="{8F1C6265-F44F-4A3A-A985-75D85D8C400E}"/>
                </a:ext>
              </a:extLst>
            </p:cNvPr>
            <p:cNvSpPr/>
            <p:nvPr/>
          </p:nvSpPr>
          <p:spPr>
            <a:xfrm>
              <a:off x="6456161" y="3035827"/>
              <a:ext cx="1265368" cy="126536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9" name="ïś1îdê">
              <a:extLst>
                <a:ext uri="{FF2B5EF4-FFF2-40B4-BE49-F238E27FC236}">
                  <a16:creationId xmlns:a16="http://schemas.microsoft.com/office/drawing/2014/main" id="{A7F964B8-F8F0-4454-853B-FE8D65688231}"/>
                </a:ext>
              </a:extLst>
            </p:cNvPr>
            <p:cNvSpPr/>
            <p:nvPr/>
          </p:nvSpPr>
          <p:spPr bwMode="auto">
            <a:xfrm>
              <a:off x="7009336" y="3436308"/>
              <a:ext cx="465276" cy="464407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" name="íṥlíḓè">
              <a:extLst>
                <a:ext uri="{FF2B5EF4-FFF2-40B4-BE49-F238E27FC236}">
                  <a16:creationId xmlns:a16="http://schemas.microsoft.com/office/drawing/2014/main" id="{58E0DF47-16B9-4C51-8F55-32199505A01A}"/>
                </a:ext>
              </a:extLst>
            </p:cNvPr>
            <p:cNvSpPr/>
            <p:nvPr/>
          </p:nvSpPr>
          <p:spPr>
            <a:xfrm>
              <a:off x="5322217" y="2891940"/>
              <a:ext cx="1553142" cy="1553142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 w="57150">
              <a:solidFill>
                <a:schemeClr val="bg1"/>
              </a:solidFill>
              <a:miter lim="400000"/>
            </a:ln>
          </p:spPr>
          <p:txBody>
            <a:bodyPr lIns="19050" tIns="19050" rIns="19050" bIns="19050" anchor="ctr"/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</a:rPr>
                <a:t>VS</a:t>
              </a: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11" name="ïşḻíďe">
              <a:extLst>
                <a:ext uri="{FF2B5EF4-FFF2-40B4-BE49-F238E27FC236}">
                  <a16:creationId xmlns:a16="http://schemas.microsoft.com/office/drawing/2014/main" id="{EA69EAB2-54BB-4414-82FA-53D676FFD4BB}"/>
                </a:ext>
              </a:extLst>
            </p:cNvPr>
            <p:cNvSpPr/>
            <p:nvPr/>
          </p:nvSpPr>
          <p:spPr bwMode="auto">
            <a:xfrm>
              <a:off x="4724521" y="3446938"/>
              <a:ext cx="460639" cy="443146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2" name="ïşľiďe">
              <a:extLst>
                <a:ext uri="{FF2B5EF4-FFF2-40B4-BE49-F238E27FC236}">
                  <a16:creationId xmlns:a16="http://schemas.microsoft.com/office/drawing/2014/main" id="{787DB572-3E0E-440D-AE1E-22B4689DB119}"/>
                </a:ext>
              </a:extLst>
            </p:cNvPr>
            <p:cNvGrpSpPr/>
            <p:nvPr/>
          </p:nvGrpSpPr>
          <p:grpSpPr>
            <a:xfrm>
              <a:off x="672346" y="2049018"/>
              <a:ext cx="3795091" cy="1489750"/>
              <a:chOff x="1490215" y="1645034"/>
              <a:chExt cx="2919225" cy="1381522"/>
            </a:xfrm>
          </p:grpSpPr>
          <p:sp>
            <p:nvSpPr>
              <p:cNvPr id="22" name="îsļíḑê">
                <a:extLst>
                  <a:ext uri="{FF2B5EF4-FFF2-40B4-BE49-F238E27FC236}">
                    <a16:creationId xmlns:a16="http://schemas.microsoft.com/office/drawing/2014/main" id="{FB5A9AED-B263-4F64-ADCB-0E4F4EF474FE}"/>
                  </a:ext>
                </a:extLst>
              </p:cNvPr>
              <p:cNvSpPr txBox="1"/>
              <p:nvPr/>
            </p:nvSpPr>
            <p:spPr bwMode="auto">
              <a:xfrm>
                <a:off x="1490215" y="1645034"/>
                <a:ext cx="29192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3" name="íṥlïḓé">
                <a:extLst>
                  <a:ext uri="{FF2B5EF4-FFF2-40B4-BE49-F238E27FC236}">
                    <a16:creationId xmlns:a16="http://schemas.microsoft.com/office/drawing/2014/main" id="{83AF00F5-157F-42AF-9F1B-350F2424ED99}"/>
                  </a:ext>
                </a:extLst>
              </p:cNvPr>
              <p:cNvSpPr/>
              <p:nvPr/>
            </p:nvSpPr>
            <p:spPr bwMode="auto">
              <a:xfrm>
                <a:off x="1490215" y="2086840"/>
                <a:ext cx="2919225" cy="939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3" name="ï$ḷïḓe">
              <a:extLst>
                <a:ext uri="{FF2B5EF4-FFF2-40B4-BE49-F238E27FC236}">
                  <a16:creationId xmlns:a16="http://schemas.microsoft.com/office/drawing/2014/main" id="{D01D738D-A9BA-490D-85DE-8A186B09DB2B}"/>
                </a:ext>
              </a:extLst>
            </p:cNvPr>
            <p:cNvGrpSpPr/>
            <p:nvPr/>
          </p:nvGrpSpPr>
          <p:grpSpPr>
            <a:xfrm>
              <a:off x="672345" y="3798254"/>
              <a:ext cx="3795091" cy="1489750"/>
              <a:chOff x="1490215" y="3699630"/>
              <a:chExt cx="2919225" cy="1381522"/>
            </a:xfrm>
          </p:grpSpPr>
          <p:sp>
            <p:nvSpPr>
              <p:cNvPr id="20" name="iśľïḍé">
                <a:extLst>
                  <a:ext uri="{FF2B5EF4-FFF2-40B4-BE49-F238E27FC236}">
                    <a16:creationId xmlns:a16="http://schemas.microsoft.com/office/drawing/2014/main" id="{77903BC9-C5E9-4972-B2E9-065CF49E147F}"/>
                  </a:ext>
                </a:extLst>
              </p:cNvPr>
              <p:cNvSpPr txBox="1"/>
              <p:nvPr/>
            </p:nvSpPr>
            <p:spPr bwMode="auto">
              <a:xfrm>
                <a:off x="1490215" y="3699630"/>
                <a:ext cx="29192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1" name="îṧlíḋé">
                <a:extLst>
                  <a:ext uri="{FF2B5EF4-FFF2-40B4-BE49-F238E27FC236}">
                    <a16:creationId xmlns:a16="http://schemas.microsoft.com/office/drawing/2014/main" id="{6C6415BD-C638-45F9-A025-FCC4180B90DD}"/>
                  </a:ext>
                </a:extLst>
              </p:cNvPr>
              <p:cNvSpPr/>
              <p:nvPr/>
            </p:nvSpPr>
            <p:spPr bwMode="auto">
              <a:xfrm>
                <a:off x="1490215" y="4141436"/>
                <a:ext cx="2919225" cy="939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4" name="íṥlidé">
              <a:extLst>
                <a:ext uri="{FF2B5EF4-FFF2-40B4-BE49-F238E27FC236}">
                  <a16:creationId xmlns:a16="http://schemas.microsoft.com/office/drawing/2014/main" id="{30F9D7B5-9E03-4FBE-8C77-DC5B5E93AEC4}"/>
                </a:ext>
              </a:extLst>
            </p:cNvPr>
            <p:cNvGrpSpPr/>
            <p:nvPr/>
          </p:nvGrpSpPr>
          <p:grpSpPr>
            <a:xfrm>
              <a:off x="7711864" y="2049018"/>
              <a:ext cx="3795091" cy="1489750"/>
              <a:chOff x="1490215" y="1645034"/>
              <a:chExt cx="2919225" cy="1381522"/>
            </a:xfrm>
          </p:grpSpPr>
          <p:sp>
            <p:nvSpPr>
              <p:cNvPr id="18" name="íṥľïḋe">
                <a:extLst>
                  <a:ext uri="{FF2B5EF4-FFF2-40B4-BE49-F238E27FC236}">
                    <a16:creationId xmlns:a16="http://schemas.microsoft.com/office/drawing/2014/main" id="{675A7817-AE10-4C3D-9268-727CFE5109F2}"/>
                  </a:ext>
                </a:extLst>
              </p:cNvPr>
              <p:cNvSpPr txBox="1"/>
              <p:nvPr/>
            </p:nvSpPr>
            <p:spPr bwMode="auto">
              <a:xfrm>
                <a:off x="1490215" y="1645034"/>
                <a:ext cx="29192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19" name="îsľiḓê">
                <a:extLst>
                  <a:ext uri="{FF2B5EF4-FFF2-40B4-BE49-F238E27FC236}">
                    <a16:creationId xmlns:a16="http://schemas.microsoft.com/office/drawing/2014/main" id="{A5AB7C29-E46A-46EE-9010-5432291847B7}"/>
                  </a:ext>
                </a:extLst>
              </p:cNvPr>
              <p:cNvSpPr/>
              <p:nvPr/>
            </p:nvSpPr>
            <p:spPr bwMode="auto">
              <a:xfrm>
                <a:off x="1490215" y="2086840"/>
                <a:ext cx="2919225" cy="939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5" name="išļîḓê">
              <a:extLst>
                <a:ext uri="{FF2B5EF4-FFF2-40B4-BE49-F238E27FC236}">
                  <a16:creationId xmlns:a16="http://schemas.microsoft.com/office/drawing/2014/main" id="{0EE70F52-AB15-42A6-9925-52CB1D575AF2}"/>
                </a:ext>
              </a:extLst>
            </p:cNvPr>
            <p:cNvGrpSpPr/>
            <p:nvPr/>
          </p:nvGrpSpPr>
          <p:grpSpPr>
            <a:xfrm>
              <a:off x="7711864" y="3798254"/>
              <a:ext cx="3795091" cy="1489750"/>
              <a:chOff x="1490215" y="3699630"/>
              <a:chExt cx="2919225" cy="1381522"/>
            </a:xfrm>
          </p:grpSpPr>
          <p:sp>
            <p:nvSpPr>
              <p:cNvPr id="16" name="iṥļíḍé">
                <a:extLst>
                  <a:ext uri="{FF2B5EF4-FFF2-40B4-BE49-F238E27FC236}">
                    <a16:creationId xmlns:a16="http://schemas.microsoft.com/office/drawing/2014/main" id="{083C425B-41D5-45E9-9004-73CF0A59E55C}"/>
                  </a:ext>
                </a:extLst>
              </p:cNvPr>
              <p:cNvSpPr txBox="1"/>
              <p:nvPr/>
            </p:nvSpPr>
            <p:spPr bwMode="auto">
              <a:xfrm>
                <a:off x="1490215" y="3699630"/>
                <a:ext cx="29192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17" name="îŝḷîḋè">
                <a:extLst>
                  <a:ext uri="{FF2B5EF4-FFF2-40B4-BE49-F238E27FC236}">
                    <a16:creationId xmlns:a16="http://schemas.microsoft.com/office/drawing/2014/main" id="{46FD0E00-DA29-4205-86AA-2EF24DF243FD}"/>
                  </a:ext>
                </a:extLst>
              </p:cNvPr>
              <p:cNvSpPr/>
              <p:nvPr/>
            </p:nvSpPr>
            <p:spPr bwMode="auto">
              <a:xfrm>
                <a:off x="1490215" y="4141436"/>
                <a:ext cx="2919225" cy="939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265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07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C954934-050D-4C1A-BCF8-EC7FAC660699}"/>
              </a:ext>
            </a:extLst>
          </p:cNvPr>
          <p:cNvGrpSpPr>
            <a:grpSpLocks noChangeAspect="1"/>
          </p:cNvGrpSpPr>
          <p:nvPr/>
        </p:nvGrpSpPr>
        <p:grpSpPr>
          <a:xfrm>
            <a:off x="1929251" y="0"/>
            <a:ext cx="8307209" cy="5535655"/>
            <a:chOff x="1929251" y="0"/>
            <a:chExt cx="8307209" cy="5535655"/>
          </a:xfrm>
        </p:grpSpPr>
        <p:grpSp>
          <p:nvGrpSpPr>
            <p:cNvPr id="3" name="íşḷiḑé">
              <a:extLst>
                <a:ext uri="{FF2B5EF4-FFF2-40B4-BE49-F238E27FC236}">
                  <a16:creationId xmlns:a16="http://schemas.microsoft.com/office/drawing/2014/main" id="{DFE2FD21-87D5-43DE-A7FF-490C32186026}"/>
                </a:ext>
              </a:extLst>
            </p:cNvPr>
            <p:cNvGrpSpPr/>
            <p:nvPr/>
          </p:nvGrpSpPr>
          <p:grpSpPr>
            <a:xfrm>
              <a:off x="8436260" y="0"/>
              <a:ext cx="1800200" cy="3053928"/>
              <a:chOff x="8436260" y="0"/>
              <a:chExt cx="1800200" cy="3053928"/>
            </a:xfrm>
          </p:grpSpPr>
          <p:sp>
            <p:nvSpPr>
              <p:cNvPr id="24" name="ïṣľiḑe">
                <a:extLst>
                  <a:ext uri="{FF2B5EF4-FFF2-40B4-BE49-F238E27FC236}">
                    <a16:creationId xmlns:a16="http://schemas.microsoft.com/office/drawing/2014/main" id="{3CDB0354-4CCA-4B01-A43B-A89F13E8281A}"/>
                  </a:ext>
                </a:extLst>
              </p:cNvPr>
              <p:cNvSpPr/>
              <p:nvPr/>
            </p:nvSpPr>
            <p:spPr bwMode="auto">
              <a:xfrm>
                <a:off x="9300356" y="0"/>
                <a:ext cx="72008" cy="305392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5" name="ïślíḋé">
                <a:extLst>
                  <a:ext uri="{FF2B5EF4-FFF2-40B4-BE49-F238E27FC236}">
                    <a16:creationId xmlns:a16="http://schemas.microsoft.com/office/drawing/2014/main" id="{F86E0149-835A-4BA6-BCF7-36A10A2D0FAD}"/>
                  </a:ext>
                </a:extLst>
              </p:cNvPr>
              <p:cNvSpPr/>
              <p:nvPr/>
            </p:nvSpPr>
            <p:spPr bwMode="auto">
              <a:xfrm>
                <a:off x="8436260" y="1937804"/>
                <a:ext cx="1800200" cy="1116124"/>
              </a:xfrm>
              <a:custGeom>
                <a:avLst/>
                <a:gdLst>
                  <a:gd name="connsiteX0" fmla="*/ 900100 w 1800200"/>
                  <a:gd name="connsiteY0" fmla="*/ 0 h 1116124"/>
                  <a:gd name="connsiteX1" fmla="*/ 1800200 w 1800200"/>
                  <a:gd name="connsiteY1" fmla="*/ 900100 h 1116124"/>
                  <a:gd name="connsiteX2" fmla="*/ 1781913 w 1800200"/>
                  <a:gd name="connsiteY2" fmla="*/ 1081502 h 1116124"/>
                  <a:gd name="connsiteX3" fmla="*/ 1773011 w 1800200"/>
                  <a:gd name="connsiteY3" fmla="*/ 1116124 h 1116124"/>
                  <a:gd name="connsiteX4" fmla="*/ 27190 w 1800200"/>
                  <a:gd name="connsiteY4" fmla="*/ 1116124 h 1116124"/>
                  <a:gd name="connsiteX5" fmla="*/ 18287 w 1800200"/>
                  <a:gd name="connsiteY5" fmla="*/ 1081502 h 1116124"/>
                  <a:gd name="connsiteX6" fmla="*/ 0 w 1800200"/>
                  <a:gd name="connsiteY6" fmla="*/ 900100 h 1116124"/>
                  <a:gd name="connsiteX7" fmla="*/ 900100 w 1800200"/>
                  <a:gd name="connsiteY7" fmla="*/ 0 h 111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1116124">
                    <a:moveTo>
                      <a:pt x="900100" y="0"/>
                    </a:moveTo>
                    <a:cubicBezTo>
                      <a:pt x="1397212" y="0"/>
                      <a:pt x="1800200" y="402988"/>
                      <a:pt x="1800200" y="900100"/>
                    </a:cubicBezTo>
                    <a:cubicBezTo>
                      <a:pt x="1800200" y="962239"/>
                      <a:pt x="1793903" y="1022907"/>
                      <a:pt x="1781913" y="1081502"/>
                    </a:cubicBezTo>
                    <a:lnTo>
                      <a:pt x="1773011" y="1116124"/>
                    </a:lnTo>
                    <a:lnTo>
                      <a:pt x="27190" y="1116124"/>
                    </a:lnTo>
                    <a:lnTo>
                      <a:pt x="18287" y="1081502"/>
                    </a:lnTo>
                    <a:cubicBezTo>
                      <a:pt x="6297" y="1022907"/>
                      <a:pt x="0" y="962239"/>
                      <a:pt x="0" y="900100"/>
                    </a:cubicBezTo>
                    <a:cubicBezTo>
                      <a:pt x="0" y="402988"/>
                      <a:pt x="402988" y="0"/>
                      <a:pt x="90010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4" name="iṥľídè">
              <a:extLst>
                <a:ext uri="{FF2B5EF4-FFF2-40B4-BE49-F238E27FC236}">
                  <a16:creationId xmlns:a16="http://schemas.microsoft.com/office/drawing/2014/main" id="{154E29F2-8B48-4EAF-8DDD-75AE30D75E87}"/>
                </a:ext>
              </a:extLst>
            </p:cNvPr>
            <p:cNvSpPr/>
            <p:nvPr/>
          </p:nvSpPr>
          <p:spPr>
            <a:xfrm>
              <a:off x="9372364" y="3176364"/>
              <a:ext cx="553998" cy="1972656"/>
            </a:xfrm>
            <a:prstGeom prst="rect">
              <a:avLst/>
            </a:prstGeom>
          </p:spPr>
          <p:txBody>
            <a:bodyPr vert="eaVert" wrap="square" lIns="91440" tIns="45720" rIns="91440" bIns="45720">
              <a:normAutofit/>
            </a:bodyPr>
            <a:lstStyle/>
            <a:p>
              <a:r>
                <a:rPr lang="en-US" altLang="zh-CN" sz="2400" b="1" spc="300" dirty="0"/>
                <a:t>CONTENT</a:t>
              </a:r>
              <a:r>
                <a:rPr lang="zh-CN" altLang="en-US" sz="2400" b="1" spc="300" dirty="0"/>
                <a:t> </a:t>
              </a:r>
            </a:p>
          </p:txBody>
        </p:sp>
        <p:grpSp>
          <p:nvGrpSpPr>
            <p:cNvPr id="5" name="ïS1iḍe">
              <a:extLst>
                <a:ext uri="{FF2B5EF4-FFF2-40B4-BE49-F238E27FC236}">
                  <a16:creationId xmlns:a16="http://schemas.microsoft.com/office/drawing/2014/main" id="{879CA35D-5802-4A04-99EE-775D6A7C3B3C}"/>
                </a:ext>
              </a:extLst>
            </p:cNvPr>
            <p:cNvGrpSpPr/>
            <p:nvPr/>
          </p:nvGrpSpPr>
          <p:grpSpPr>
            <a:xfrm>
              <a:off x="1929251" y="1741445"/>
              <a:ext cx="4795399" cy="624349"/>
              <a:chOff x="2034026" y="1655335"/>
              <a:chExt cx="4795399" cy="624349"/>
            </a:xfrm>
          </p:grpSpPr>
          <p:sp>
            <p:nvSpPr>
              <p:cNvPr id="22" name="í$liḓé">
                <a:extLst>
                  <a:ext uri="{FF2B5EF4-FFF2-40B4-BE49-F238E27FC236}">
                    <a16:creationId xmlns:a16="http://schemas.microsoft.com/office/drawing/2014/main" id="{A306A0DC-3D00-448C-9ADA-D51AE35939A1}"/>
                  </a:ext>
                </a:extLst>
              </p:cNvPr>
              <p:cNvSpPr/>
              <p:nvPr/>
            </p:nvSpPr>
            <p:spPr>
              <a:xfrm>
                <a:off x="2034026" y="1655335"/>
                <a:ext cx="624349" cy="62434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01</a:t>
                </a:r>
              </a:p>
            </p:txBody>
          </p:sp>
          <p:sp>
            <p:nvSpPr>
              <p:cNvPr id="23" name="ïṣľiḋê">
                <a:extLst>
                  <a:ext uri="{FF2B5EF4-FFF2-40B4-BE49-F238E27FC236}">
                    <a16:creationId xmlns:a16="http://schemas.microsoft.com/office/drawing/2014/main" id="{DB394CDA-5B61-4207-96B5-B2C0D02BD09A}"/>
                  </a:ext>
                </a:extLst>
              </p:cNvPr>
              <p:cNvSpPr/>
              <p:nvPr/>
            </p:nvSpPr>
            <p:spPr bwMode="auto">
              <a:xfrm>
                <a:off x="2763151" y="1795287"/>
                <a:ext cx="4066274" cy="344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grpSp>
          <p:nvGrpSpPr>
            <p:cNvPr id="6" name="ïşḷíḍè">
              <a:extLst>
                <a:ext uri="{FF2B5EF4-FFF2-40B4-BE49-F238E27FC236}">
                  <a16:creationId xmlns:a16="http://schemas.microsoft.com/office/drawing/2014/main" id="{4835174F-7A4C-472A-A258-50505C1DB669}"/>
                </a:ext>
              </a:extLst>
            </p:cNvPr>
            <p:cNvGrpSpPr/>
            <p:nvPr/>
          </p:nvGrpSpPr>
          <p:grpSpPr>
            <a:xfrm>
              <a:off x="1929251" y="2533910"/>
              <a:ext cx="4795399" cy="624349"/>
              <a:chOff x="2034026" y="2490855"/>
              <a:chExt cx="4795399" cy="624349"/>
            </a:xfrm>
          </p:grpSpPr>
          <p:sp>
            <p:nvSpPr>
              <p:cNvPr id="20" name="ïṩ1ïḓé">
                <a:extLst>
                  <a:ext uri="{FF2B5EF4-FFF2-40B4-BE49-F238E27FC236}">
                    <a16:creationId xmlns:a16="http://schemas.microsoft.com/office/drawing/2014/main" id="{1D600874-6F46-408E-8335-00393700F82B}"/>
                  </a:ext>
                </a:extLst>
              </p:cNvPr>
              <p:cNvSpPr/>
              <p:nvPr/>
            </p:nvSpPr>
            <p:spPr>
              <a:xfrm>
                <a:off x="2034026" y="249085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02</a:t>
                </a:r>
              </a:p>
            </p:txBody>
          </p:sp>
          <p:sp>
            <p:nvSpPr>
              <p:cNvPr id="21" name="ïSľide">
                <a:extLst>
                  <a:ext uri="{FF2B5EF4-FFF2-40B4-BE49-F238E27FC236}">
                    <a16:creationId xmlns:a16="http://schemas.microsoft.com/office/drawing/2014/main" id="{6CEFC1D0-958A-4C48-BA40-F64EE32F0316}"/>
                  </a:ext>
                </a:extLst>
              </p:cNvPr>
              <p:cNvSpPr/>
              <p:nvPr/>
            </p:nvSpPr>
            <p:spPr bwMode="auto">
              <a:xfrm>
                <a:off x="2763151" y="2630807"/>
                <a:ext cx="4066274" cy="344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grpSp>
          <p:nvGrpSpPr>
            <p:cNvPr id="7" name="ïṥlîḍé">
              <a:extLst>
                <a:ext uri="{FF2B5EF4-FFF2-40B4-BE49-F238E27FC236}">
                  <a16:creationId xmlns:a16="http://schemas.microsoft.com/office/drawing/2014/main" id="{3DC091D2-0D23-4E16-B46E-CB5365155EEF}"/>
                </a:ext>
              </a:extLst>
            </p:cNvPr>
            <p:cNvGrpSpPr/>
            <p:nvPr/>
          </p:nvGrpSpPr>
          <p:grpSpPr>
            <a:xfrm>
              <a:off x="1929251" y="3326375"/>
              <a:ext cx="4795399" cy="624349"/>
              <a:chOff x="2034026" y="3326376"/>
              <a:chExt cx="4795399" cy="624349"/>
            </a:xfrm>
          </p:grpSpPr>
          <p:sp>
            <p:nvSpPr>
              <p:cNvPr id="18" name="iṩliďè">
                <a:extLst>
                  <a:ext uri="{FF2B5EF4-FFF2-40B4-BE49-F238E27FC236}">
                    <a16:creationId xmlns:a16="http://schemas.microsoft.com/office/drawing/2014/main" id="{A92F8A2B-05B0-4BDF-8F95-193922447FD5}"/>
                  </a:ext>
                </a:extLst>
              </p:cNvPr>
              <p:cNvSpPr/>
              <p:nvPr/>
            </p:nvSpPr>
            <p:spPr>
              <a:xfrm>
                <a:off x="2034026" y="3326376"/>
                <a:ext cx="624349" cy="624349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03</a:t>
                </a:r>
              </a:p>
            </p:txBody>
          </p:sp>
          <p:sp>
            <p:nvSpPr>
              <p:cNvPr id="19" name="îṣḻïḍe">
                <a:extLst>
                  <a:ext uri="{FF2B5EF4-FFF2-40B4-BE49-F238E27FC236}">
                    <a16:creationId xmlns:a16="http://schemas.microsoft.com/office/drawing/2014/main" id="{1CA6B1D6-1A9B-4469-8B5E-8A53B0B48578}"/>
                  </a:ext>
                </a:extLst>
              </p:cNvPr>
              <p:cNvSpPr/>
              <p:nvPr/>
            </p:nvSpPr>
            <p:spPr bwMode="auto">
              <a:xfrm>
                <a:off x="2763151" y="3466328"/>
                <a:ext cx="4066274" cy="344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grpSp>
          <p:nvGrpSpPr>
            <p:cNvPr id="8" name="íşḻîde">
              <a:extLst>
                <a:ext uri="{FF2B5EF4-FFF2-40B4-BE49-F238E27FC236}">
                  <a16:creationId xmlns:a16="http://schemas.microsoft.com/office/drawing/2014/main" id="{F365C116-8B88-416C-9035-A82996BBF79E}"/>
                </a:ext>
              </a:extLst>
            </p:cNvPr>
            <p:cNvGrpSpPr/>
            <p:nvPr/>
          </p:nvGrpSpPr>
          <p:grpSpPr>
            <a:xfrm>
              <a:off x="1929251" y="4118840"/>
              <a:ext cx="4795399" cy="624349"/>
              <a:chOff x="2034026" y="4161896"/>
              <a:chExt cx="4795399" cy="624349"/>
            </a:xfrm>
          </p:grpSpPr>
          <p:sp>
            <p:nvSpPr>
              <p:cNvPr id="16" name="íŝḻïḋê">
                <a:extLst>
                  <a:ext uri="{FF2B5EF4-FFF2-40B4-BE49-F238E27FC236}">
                    <a16:creationId xmlns:a16="http://schemas.microsoft.com/office/drawing/2014/main" id="{4B427CFC-2D4F-4740-BAAB-AADAC789D9F5}"/>
                  </a:ext>
                </a:extLst>
              </p:cNvPr>
              <p:cNvSpPr/>
              <p:nvPr/>
            </p:nvSpPr>
            <p:spPr>
              <a:xfrm>
                <a:off x="2034026" y="416189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04</a:t>
                </a:r>
              </a:p>
            </p:txBody>
          </p:sp>
          <p:sp>
            <p:nvSpPr>
              <p:cNvPr id="17" name="îŝ1íḋé">
                <a:extLst>
                  <a:ext uri="{FF2B5EF4-FFF2-40B4-BE49-F238E27FC236}">
                    <a16:creationId xmlns:a16="http://schemas.microsoft.com/office/drawing/2014/main" id="{A4B056A7-BCB5-4D37-8BBA-8BF6E40738AA}"/>
                  </a:ext>
                </a:extLst>
              </p:cNvPr>
              <p:cNvSpPr/>
              <p:nvPr/>
            </p:nvSpPr>
            <p:spPr bwMode="auto">
              <a:xfrm>
                <a:off x="2763151" y="4301848"/>
                <a:ext cx="4066274" cy="344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grpSp>
          <p:nvGrpSpPr>
            <p:cNvPr id="9" name="ïSļîḍè">
              <a:extLst>
                <a:ext uri="{FF2B5EF4-FFF2-40B4-BE49-F238E27FC236}">
                  <a16:creationId xmlns:a16="http://schemas.microsoft.com/office/drawing/2014/main" id="{1426FCC3-431D-4E8A-B084-279FEB099A1E}"/>
                </a:ext>
              </a:extLst>
            </p:cNvPr>
            <p:cNvGrpSpPr/>
            <p:nvPr/>
          </p:nvGrpSpPr>
          <p:grpSpPr>
            <a:xfrm>
              <a:off x="1929251" y="4911306"/>
              <a:ext cx="4795399" cy="624349"/>
              <a:chOff x="2034026" y="4997416"/>
              <a:chExt cx="4795399" cy="624349"/>
            </a:xfrm>
          </p:grpSpPr>
          <p:sp>
            <p:nvSpPr>
              <p:cNvPr id="14" name="îṡḷîḓe">
                <a:extLst>
                  <a:ext uri="{FF2B5EF4-FFF2-40B4-BE49-F238E27FC236}">
                    <a16:creationId xmlns:a16="http://schemas.microsoft.com/office/drawing/2014/main" id="{79CD6057-586C-476A-B4B2-277DD6C63111}"/>
                  </a:ext>
                </a:extLst>
              </p:cNvPr>
              <p:cNvSpPr/>
              <p:nvPr/>
            </p:nvSpPr>
            <p:spPr>
              <a:xfrm>
                <a:off x="2034026" y="499741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05</a:t>
                </a:r>
              </a:p>
            </p:txBody>
          </p:sp>
          <p:sp>
            <p:nvSpPr>
              <p:cNvPr id="15" name="ïś1íḋe">
                <a:extLst>
                  <a:ext uri="{FF2B5EF4-FFF2-40B4-BE49-F238E27FC236}">
                    <a16:creationId xmlns:a16="http://schemas.microsoft.com/office/drawing/2014/main" id="{56B35641-D2AF-454D-832F-443209105812}"/>
                  </a:ext>
                </a:extLst>
              </p:cNvPr>
              <p:cNvSpPr/>
              <p:nvPr/>
            </p:nvSpPr>
            <p:spPr bwMode="auto">
              <a:xfrm>
                <a:off x="2763151" y="5137368"/>
                <a:ext cx="4066274" cy="344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A8FBE7E0-A16D-4299-9F84-AF6B8D14C73C}"/>
                </a:ext>
              </a:extLst>
            </p:cNvPr>
            <p:cNvCxnSpPr/>
            <p:nvPr/>
          </p:nvCxnSpPr>
          <p:spPr>
            <a:xfrm>
              <a:off x="2762250" y="244985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6739F4C4-83BA-42B4-9F20-032B8618C0C8}"/>
                </a:ext>
              </a:extLst>
            </p:cNvPr>
            <p:cNvCxnSpPr/>
            <p:nvPr/>
          </p:nvCxnSpPr>
          <p:spPr>
            <a:xfrm>
              <a:off x="2762250" y="324231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68032E71-2B88-4EB6-B6BA-C3E1218A7DC6}"/>
                </a:ext>
              </a:extLst>
            </p:cNvPr>
            <p:cNvCxnSpPr/>
            <p:nvPr/>
          </p:nvCxnSpPr>
          <p:spPr>
            <a:xfrm>
              <a:off x="2762250" y="403478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7836182-06F7-44E8-91CE-2B1F34FBDA72}"/>
                </a:ext>
              </a:extLst>
            </p:cNvPr>
            <p:cNvCxnSpPr/>
            <p:nvPr/>
          </p:nvCxnSpPr>
          <p:spPr>
            <a:xfrm>
              <a:off x="2762250" y="482724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45505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510E60-5305-4CF1-8015-984883ED1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E480384-3771-4F73-8CBB-C41CC0BF9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5" name="2089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970B7A3-8891-483E-B26E-1B5B7444CC11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98552"/>
            <a:ext cx="10858500" cy="5368818"/>
            <a:chOff x="660400" y="1489182"/>
            <a:chExt cx="10858500" cy="5368818"/>
          </a:xfrm>
        </p:grpSpPr>
        <p:sp>
          <p:nvSpPr>
            <p:cNvPr id="6" name="îS1idê">
              <a:extLst>
                <a:ext uri="{FF2B5EF4-FFF2-40B4-BE49-F238E27FC236}">
                  <a16:creationId xmlns:a16="http://schemas.microsoft.com/office/drawing/2014/main" id="{DEB6D4AB-6DA7-460D-B58A-1D9D7E23CF27}"/>
                </a:ext>
              </a:extLst>
            </p:cNvPr>
            <p:cNvSpPr/>
            <p:nvPr/>
          </p:nvSpPr>
          <p:spPr>
            <a:xfrm>
              <a:off x="3287244" y="2850166"/>
              <a:ext cx="270859" cy="2222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65" h="21417" extrusionOk="0">
                  <a:moveTo>
                    <a:pt x="2225" y="21375"/>
                  </a:moveTo>
                  <a:cubicBezTo>
                    <a:pt x="18004" y="19618"/>
                    <a:pt x="20770" y="16587"/>
                    <a:pt x="19931" y="14048"/>
                  </a:cubicBezTo>
                  <a:cubicBezTo>
                    <a:pt x="19449" y="12592"/>
                    <a:pt x="17295" y="11165"/>
                    <a:pt x="14768" y="9748"/>
                  </a:cubicBezTo>
                  <a:cubicBezTo>
                    <a:pt x="11977" y="8183"/>
                    <a:pt x="8586" y="6627"/>
                    <a:pt x="7400" y="5022"/>
                  </a:cubicBezTo>
                  <a:cubicBezTo>
                    <a:pt x="6189" y="3385"/>
                    <a:pt x="7901" y="1767"/>
                    <a:pt x="11735" y="204"/>
                  </a:cubicBezTo>
                  <a:cubicBezTo>
                    <a:pt x="12236" y="0"/>
                    <a:pt x="9774" y="-87"/>
                    <a:pt x="9276" y="116"/>
                  </a:cubicBezTo>
                  <a:cubicBezTo>
                    <a:pt x="5288" y="1741"/>
                    <a:pt x="3661" y="3414"/>
                    <a:pt x="4918" y="5114"/>
                  </a:cubicBezTo>
                  <a:cubicBezTo>
                    <a:pt x="6076" y="6681"/>
                    <a:pt x="9366" y="8208"/>
                    <a:pt x="12128" y="9736"/>
                  </a:cubicBezTo>
                  <a:cubicBezTo>
                    <a:pt x="17154" y="12516"/>
                    <a:pt x="20364" y="15466"/>
                    <a:pt x="14015" y="18262"/>
                  </a:cubicBezTo>
                  <a:cubicBezTo>
                    <a:pt x="11520" y="19360"/>
                    <a:pt x="7165" y="20389"/>
                    <a:pt x="421" y="21140"/>
                  </a:cubicBezTo>
                  <a:cubicBezTo>
                    <a:pt x="-830" y="21279"/>
                    <a:pt x="983" y="21513"/>
                    <a:pt x="2225" y="21375"/>
                  </a:cubicBezTo>
                  <a:cubicBezTo>
                    <a:pt x="2225" y="21375"/>
                    <a:pt x="2225" y="21375"/>
                    <a:pt x="2225" y="213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7" name="íṣ1íďê">
              <a:extLst>
                <a:ext uri="{FF2B5EF4-FFF2-40B4-BE49-F238E27FC236}">
                  <a16:creationId xmlns:a16="http://schemas.microsoft.com/office/drawing/2014/main" id="{C18560BF-0EB9-45D4-A175-421BB4295E0A}"/>
                </a:ext>
              </a:extLst>
            </p:cNvPr>
            <p:cNvSpPr/>
            <p:nvPr/>
          </p:nvSpPr>
          <p:spPr>
            <a:xfrm>
              <a:off x="3713761" y="2041179"/>
              <a:ext cx="577554" cy="57752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8" name="îṩḷïḍe">
              <a:extLst>
                <a:ext uri="{FF2B5EF4-FFF2-40B4-BE49-F238E27FC236}">
                  <a16:creationId xmlns:a16="http://schemas.microsoft.com/office/drawing/2014/main" id="{C7959BE9-619E-47EE-BB94-F06AD4B51C51}"/>
                </a:ext>
              </a:extLst>
            </p:cNvPr>
            <p:cNvSpPr/>
            <p:nvPr/>
          </p:nvSpPr>
          <p:spPr>
            <a:xfrm>
              <a:off x="2584676" y="2041179"/>
              <a:ext cx="577541" cy="5775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9" name="i$ļîďé">
              <a:extLst>
                <a:ext uri="{FF2B5EF4-FFF2-40B4-BE49-F238E27FC236}">
                  <a16:creationId xmlns:a16="http://schemas.microsoft.com/office/drawing/2014/main" id="{19C31EC0-53BB-4822-AC94-30EC66640390}"/>
                </a:ext>
              </a:extLst>
            </p:cNvPr>
            <p:cNvSpPr/>
            <p:nvPr/>
          </p:nvSpPr>
          <p:spPr>
            <a:xfrm>
              <a:off x="3149218" y="1489182"/>
              <a:ext cx="577530" cy="57752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0" name="iśḻîḑé">
              <a:extLst>
                <a:ext uri="{FF2B5EF4-FFF2-40B4-BE49-F238E27FC236}">
                  <a16:creationId xmlns:a16="http://schemas.microsoft.com/office/drawing/2014/main" id="{B9993D46-6EA1-487E-BA3D-214F92D14F37}"/>
                </a:ext>
              </a:extLst>
            </p:cNvPr>
            <p:cNvSpPr/>
            <p:nvPr/>
          </p:nvSpPr>
          <p:spPr>
            <a:xfrm>
              <a:off x="3149218" y="2580630"/>
              <a:ext cx="577530" cy="5775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1" name="isļidé">
              <a:extLst>
                <a:ext uri="{FF2B5EF4-FFF2-40B4-BE49-F238E27FC236}">
                  <a16:creationId xmlns:a16="http://schemas.microsoft.com/office/drawing/2014/main" id="{CC951D06-9FB1-4D66-A555-3C9D83B7962B}"/>
                </a:ext>
              </a:extLst>
            </p:cNvPr>
            <p:cNvSpPr/>
            <p:nvPr/>
          </p:nvSpPr>
          <p:spPr>
            <a:xfrm>
              <a:off x="3224491" y="2116450"/>
              <a:ext cx="425745" cy="425755"/>
            </a:xfrm>
            <a:prstGeom prst="ellipse">
              <a:avLst/>
            </a:prstGeom>
            <a:solidFill>
              <a:schemeClr val="accent1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2" name="ís1íḍe">
              <a:extLst>
                <a:ext uri="{FF2B5EF4-FFF2-40B4-BE49-F238E27FC236}">
                  <a16:creationId xmlns:a16="http://schemas.microsoft.com/office/drawing/2014/main" id="{4C74916D-90CD-47BE-9211-AB0936A149B4}"/>
                </a:ext>
              </a:extLst>
            </p:cNvPr>
            <p:cNvSpPr/>
            <p:nvPr/>
          </p:nvSpPr>
          <p:spPr>
            <a:xfrm>
              <a:off x="851941" y="4669804"/>
              <a:ext cx="1889262" cy="20654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44" y="5520"/>
                  </a:moveTo>
                  <a:lnTo>
                    <a:pt x="7966" y="21600"/>
                  </a:lnTo>
                  <a:lnTo>
                    <a:pt x="0" y="17588"/>
                  </a:lnTo>
                  <a:lnTo>
                    <a:pt x="13861" y="2030"/>
                  </a:lnTo>
                  <a:cubicBezTo>
                    <a:pt x="13861" y="2030"/>
                    <a:pt x="15830" y="248"/>
                    <a:pt x="17316" y="0"/>
                  </a:cubicBezTo>
                  <a:lnTo>
                    <a:pt x="21600" y="4001"/>
                  </a:lnTo>
                  <a:cubicBezTo>
                    <a:pt x="21600" y="4001"/>
                    <a:pt x="19625" y="4378"/>
                    <a:pt x="18944" y="55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3" name="îṡḻîdê">
              <a:extLst>
                <a:ext uri="{FF2B5EF4-FFF2-40B4-BE49-F238E27FC236}">
                  <a16:creationId xmlns:a16="http://schemas.microsoft.com/office/drawing/2014/main" id="{0C9D44FC-2E25-4FD5-9A81-2D15D135E4B2}"/>
                </a:ext>
              </a:extLst>
            </p:cNvPr>
            <p:cNvSpPr/>
            <p:nvPr/>
          </p:nvSpPr>
          <p:spPr>
            <a:xfrm>
              <a:off x="3191474" y="4875026"/>
              <a:ext cx="1226697" cy="405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890" extrusionOk="0">
                  <a:moveTo>
                    <a:pt x="20695" y="1565"/>
                  </a:moveTo>
                  <a:lnTo>
                    <a:pt x="21600" y="4188"/>
                  </a:lnTo>
                  <a:lnTo>
                    <a:pt x="2191" y="16890"/>
                  </a:lnTo>
                  <a:lnTo>
                    <a:pt x="0" y="9910"/>
                  </a:lnTo>
                  <a:cubicBezTo>
                    <a:pt x="0" y="9910"/>
                    <a:pt x="16872" y="-4710"/>
                    <a:pt x="20695" y="156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A6AAA9"/>
              </a:solidFill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4" name="ïsļïde">
              <a:extLst>
                <a:ext uri="{FF2B5EF4-FFF2-40B4-BE49-F238E27FC236}">
                  <a16:creationId xmlns:a16="http://schemas.microsoft.com/office/drawing/2014/main" id="{8FD0C77A-0521-4B45-B6BB-B24CD2832040}"/>
                </a:ext>
              </a:extLst>
            </p:cNvPr>
            <p:cNvSpPr/>
            <p:nvPr/>
          </p:nvSpPr>
          <p:spPr>
            <a:xfrm>
              <a:off x="3246200" y="4833981"/>
              <a:ext cx="1225922" cy="3927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486" extrusionOk="0">
                  <a:moveTo>
                    <a:pt x="21488" y="1896"/>
                  </a:moveTo>
                  <a:lnTo>
                    <a:pt x="21600" y="2137"/>
                  </a:lnTo>
                  <a:lnTo>
                    <a:pt x="2259" y="16486"/>
                  </a:lnTo>
                  <a:lnTo>
                    <a:pt x="0" y="9568"/>
                  </a:lnTo>
                  <a:cubicBezTo>
                    <a:pt x="0" y="9568"/>
                    <a:pt x="17918" y="-5114"/>
                    <a:pt x="21488" y="18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5" name="is1îďê">
              <a:extLst>
                <a:ext uri="{FF2B5EF4-FFF2-40B4-BE49-F238E27FC236}">
                  <a16:creationId xmlns:a16="http://schemas.microsoft.com/office/drawing/2014/main" id="{AAE28B20-DB1C-4F65-9F06-DE1D934E2284}"/>
                </a:ext>
              </a:extLst>
            </p:cNvPr>
            <p:cNvSpPr/>
            <p:nvPr/>
          </p:nvSpPr>
          <p:spPr>
            <a:xfrm>
              <a:off x="2055911" y="4628759"/>
              <a:ext cx="2314122" cy="77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8130" extrusionOk="0">
                  <a:moveTo>
                    <a:pt x="1749" y="2246"/>
                  </a:moveTo>
                  <a:cubicBezTo>
                    <a:pt x="2620" y="935"/>
                    <a:pt x="6260" y="-3051"/>
                    <a:pt x="9290" y="4385"/>
                  </a:cubicBezTo>
                  <a:lnTo>
                    <a:pt x="12030" y="5003"/>
                  </a:lnTo>
                  <a:cubicBezTo>
                    <a:pt x="12030" y="5003"/>
                    <a:pt x="14936" y="2631"/>
                    <a:pt x="15778" y="5776"/>
                  </a:cubicBezTo>
                  <a:cubicBezTo>
                    <a:pt x="15778" y="5776"/>
                    <a:pt x="20056" y="141"/>
                    <a:pt x="21600" y="3585"/>
                  </a:cubicBezTo>
                  <a:cubicBezTo>
                    <a:pt x="21600" y="3585"/>
                    <a:pt x="13917" y="12865"/>
                    <a:pt x="13073" y="14945"/>
                  </a:cubicBezTo>
                  <a:cubicBezTo>
                    <a:pt x="13073" y="14945"/>
                    <a:pt x="11671" y="18549"/>
                    <a:pt x="10951" y="18091"/>
                  </a:cubicBezTo>
                  <a:cubicBezTo>
                    <a:pt x="10230" y="17631"/>
                    <a:pt x="3701" y="13087"/>
                    <a:pt x="1045" y="13253"/>
                  </a:cubicBezTo>
                  <a:lnTo>
                    <a:pt x="0" y="13408"/>
                  </a:lnTo>
                  <a:cubicBezTo>
                    <a:pt x="0" y="13408"/>
                    <a:pt x="615" y="3952"/>
                    <a:pt x="1749" y="22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6" name="ïš1íḍê">
              <a:extLst>
                <a:ext uri="{FF2B5EF4-FFF2-40B4-BE49-F238E27FC236}">
                  <a16:creationId xmlns:a16="http://schemas.microsoft.com/office/drawing/2014/main" id="{88048557-8DD1-41F5-BD0D-C9FE8B605DE6}"/>
                </a:ext>
              </a:extLst>
            </p:cNvPr>
            <p:cNvSpPr/>
            <p:nvPr/>
          </p:nvSpPr>
          <p:spPr>
            <a:xfrm>
              <a:off x="2822074" y="4875026"/>
              <a:ext cx="929739" cy="237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1" h="19300" extrusionOk="0">
                  <a:moveTo>
                    <a:pt x="19296" y="0"/>
                  </a:moveTo>
                  <a:cubicBezTo>
                    <a:pt x="19296" y="0"/>
                    <a:pt x="21600" y="16830"/>
                    <a:pt x="4593" y="16358"/>
                  </a:cubicBezTo>
                  <a:lnTo>
                    <a:pt x="0" y="11716"/>
                  </a:lnTo>
                  <a:lnTo>
                    <a:pt x="4311" y="19223"/>
                  </a:lnTo>
                  <a:cubicBezTo>
                    <a:pt x="4311" y="19223"/>
                    <a:pt x="21499" y="21600"/>
                    <a:pt x="19296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 defTabSz="2286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17" name="íṩľiḑè">
              <a:extLst>
                <a:ext uri="{FF2B5EF4-FFF2-40B4-BE49-F238E27FC236}">
                  <a16:creationId xmlns:a16="http://schemas.microsoft.com/office/drawing/2014/main" id="{4500E4A7-6268-4EA0-91AF-39D53C9A7C2F}"/>
                </a:ext>
              </a:extLst>
            </p:cNvPr>
            <p:cNvSpPr/>
            <p:nvPr/>
          </p:nvSpPr>
          <p:spPr>
            <a:xfrm>
              <a:off x="3533511" y="4875026"/>
              <a:ext cx="187758" cy="1321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26" h="16451" extrusionOk="0">
                  <a:moveTo>
                    <a:pt x="232" y="2294"/>
                  </a:moveTo>
                  <a:cubicBezTo>
                    <a:pt x="232" y="2294"/>
                    <a:pt x="-1403" y="11255"/>
                    <a:pt x="3995" y="16451"/>
                  </a:cubicBezTo>
                  <a:cubicBezTo>
                    <a:pt x="3995" y="16451"/>
                    <a:pt x="20197" y="14227"/>
                    <a:pt x="19610" y="6777"/>
                  </a:cubicBezTo>
                  <a:cubicBezTo>
                    <a:pt x="18671" y="-5149"/>
                    <a:pt x="232" y="2294"/>
                    <a:pt x="232" y="229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8" name="iṣḻíďé">
              <a:extLst>
                <a:ext uri="{FF2B5EF4-FFF2-40B4-BE49-F238E27FC236}">
                  <a16:creationId xmlns:a16="http://schemas.microsoft.com/office/drawing/2014/main" id="{F4606493-C2EA-49AE-A10C-5027563E28E1}"/>
                </a:ext>
              </a:extLst>
            </p:cNvPr>
            <p:cNvSpPr/>
            <p:nvPr/>
          </p:nvSpPr>
          <p:spPr>
            <a:xfrm>
              <a:off x="797214" y="4806619"/>
              <a:ext cx="1682502" cy="19707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73" y="0"/>
                  </a:moveTo>
                  <a:lnTo>
                    <a:pt x="21600" y="6115"/>
                  </a:lnTo>
                  <a:lnTo>
                    <a:pt x="8128" y="21600"/>
                  </a:lnTo>
                  <a:lnTo>
                    <a:pt x="0" y="15490"/>
                  </a:lnTo>
                  <a:cubicBezTo>
                    <a:pt x="0" y="15490"/>
                    <a:pt x="13473" y="0"/>
                    <a:pt x="13473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19" name="îṣliḓè">
              <a:extLst>
                <a:ext uri="{FF2B5EF4-FFF2-40B4-BE49-F238E27FC236}">
                  <a16:creationId xmlns:a16="http://schemas.microsoft.com/office/drawing/2014/main" id="{F7C0FC03-A9B7-4891-A0F5-BE867E3D3D60}"/>
                </a:ext>
              </a:extLst>
            </p:cNvPr>
            <p:cNvSpPr/>
            <p:nvPr/>
          </p:nvSpPr>
          <p:spPr>
            <a:xfrm>
              <a:off x="660400" y="4806619"/>
              <a:ext cx="1808548" cy="2051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81" y="0"/>
                  </a:moveTo>
                  <a:lnTo>
                    <a:pt x="21600" y="6927"/>
                  </a:lnTo>
                  <a:lnTo>
                    <a:pt x="9743" y="21600"/>
                  </a:lnTo>
                  <a:lnTo>
                    <a:pt x="0" y="14720"/>
                  </a:lnTo>
                  <a:cubicBezTo>
                    <a:pt x="0" y="14720"/>
                    <a:pt x="11581" y="0"/>
                    <a:pt x="11581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20" name="i$1íďê">
              <a:extLst>
                <a:ext uri="{FF2B5EF4-FFF2-40B4-BE49-F238E27FC236}">
                  <a16:creationId xmlns:a16="http://schemas.microsoft.com/office/drawing/2014/main" id="{04946789-7022-4BE3-8EDD-A3F8B36E8082}"/>
                </a:ext>
              </a:extLst>
            </p:cNvPr>
            <p:cNvSpPr/>
            <p:nvPr/>
          </p:nvSpPr>
          <p:spPr>
            <a:xfrm>
              <a:off x="2206408" y="5463329"/>
              <a:ext cx="119767" cy="119753"/>
            </a:xfrm>
            <a:prstGeom prst="ellipse">
              <a:avLst/>
            </a:prstGeom>
            <a:solidFill>
              <a:schemeClr val="bg1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21" name="îṧliḍé">
              <a:extLst>
                <a:ext uri="{FF2B5EF4-FFF2-40B4-BE49-F238E27FC236}">
                  <a16:creationId xmlns:a16="http://schemas.microsoft.com/office/drawing/2014/main" id="{A6CD6B42-4D62-464E-97B2-927A779EFB8B}"/>
                </a:ext>
              </a:extLst>
            </p:cNvPr>
            <p:cNvSpPr/>
            <p:nvPr/>
          </p:nvSpPr>
          <p:spPr>
            <a:xfrm>
              <a:off x="2055911" y="5654871"/>
              <a:ext cx="119767" cy="119767"/>
            </a:xfrm>
            <a:prstGeom prst="ellipse">
              <a:avLst/>
            </a:prstGeom>
            <a:solidFill>
              <a:schemeClr val="bg1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22" name="isḻidé">
              <a:extLst>
                <a:ext uri="{FF2B5EF4-FFF2-40B4-BE49-F238E27FC236}">
                  <a16:creationId xmlns:a16="http://schemas.microsoft.com/office/drawing/2014/main" id="{E5F0EA93-6300-4AFF-A14D-F2746617876A}"/>
                </a:ext>
              </a:extLst>
            </p:cNvPr>
            <p:cNvSpPr/>
            <p:nvPr/>
          </p:nvSpPr>
          <p:spPr>
            <a:xfrm>
              <a:off x="3547192" y="3972049"/>
              <a:ext cx="451075" cy="1419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3415" extrusionOk="0">
                  <a:moveTo>
                    <a:pt x="0" y="3375"/>
                  </a:moveTo>
                  <a:cubicBezTo>
                    <a:pt x="0" y="3375"/>
                    <a:pt x="10391" y="7237"/>
                    <a:pt x="13218" y="0"/>
                  </a:cubicBezTo>
                  <a:cubicBezTo>
                    <a:pt x="13218" y="0"/>
                    <a:pt x="15632" y="13098"/>
                    <a:pt x="21600" y="9445"/>
                  </a:cubicBezTo>
                  <a:cubicBezTo>
                    <a:pt x="21600" y="9445"/>
                    <a:pt x="5628" y="21600"/>
                    <a:pt x="0" y="337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sp>
          <p:nvSpPr>
            <p:cNvPr id="23" name="îšļiḓè">
              <a:extLst>
                <a:ext uri="{FF2B5EF4-FFF2-40B4-BE49-F238E27FC236}">
                  <a16:creationId xmlns:a16="http://schemas.microsoft.com/office/drawing/2014/main" id="{040E3BBA-E4BF-4DEA-8B15-0335CE692BF7}"/>
                </a:ext>
              </a:extLst>
            </p:cNvPr>
            <p:cNvSpPr/>
            <p:nvPr/>
          </p:nvSpPr>
          <p:spPr>
            <a:xfrm>
              <a:off x="3205155" y="3287974"/>
              <a:ext cx="161165" cy="347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3" h="21600" extrusionOk="0">
                  <a:moveTo>
                    <a:pt x="13273" y="21600"/>
                  </a:moveTo>
                  <a:cubicBezTo>
                    <a:pt x="13273" y="21600"/>
                    <a:pt x="7555" y="10951"/>
                    <a:pt x="130" y="10312"/>
                  </a:cubicBezTo>
                  <a:cubicBezTo>
                    <a:pt x="130" y="10312"/>
                    <a:pt x="7440" y="4515"/>
                    <a:pt x="0" y="0"/>
                  </a:cubicBezTo>
                  <a:cubicBezTo>
                    <a:pt x="0" y="0"/>
                    <a:pt x="21600" y="11439"/>
                    <a:pt x="13273" y="2160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endParaRPr sz="2000"/>
            </a:p>
          </p:txBody>
        </p:sp>
        <p:grpSp>
          <p:nvGrpSpPr>
            <p:cNvPr id="24" name="íS1idè">
              <a:extLst>
                <a:ext uri="{FF2B5EF4-FFF2-40B4-BE49-F238E27FC236}">
                  <a16:creationId xmlns:a16="http://schemas.microsoft.com/office/drawing/2014/main" id="{11614619-AE36-4B03-8B68-E0B46C306261}"/>
                </a:ext>
              </a:extLst>
            </p:cNvPr>
            <p:cNvGrpSpPr/>
            <p:nvPr/>
          </p:nvGrpSpPr>
          <p:grpSpPr>
            <a:xfrm>
              <a:off x="2772857" y="1639727"/>
              <a:ext cx="517032" cy="517032"/>
              <a:chOff x="2772857" y="1639727"/>
              <a:chExt cx="517032" cy="517032"/>
            </a:xfrm>
          </p:grpSpPr>
          <p:sp>
            <p:nvSpPr>
              <p:cNvPr id="48" name="iṧ1íďe">
                <a:extLst>
                  <a:ext uri="{FF2B5EF4-FFF2-40B4-BE49-F238E27FC236}">
                    <a16:creationId xmlns:a16="http://schemas.microsoft.com/office/drawing/2014/main" id="{9C08185E-6A24-48B8-BE00-2FBA99E4F67D}"/>
                  </a:ext>
                </a:extLst>
              </p:cNvPr>
              <p:cNvSpPr/>
              <p:nvPr/>
            </p:nvSpPr>
            <p:spPr>
              <a:xfrm>
                <a:off x="2772857" y="1639727"/>
                <a:ext cx="517032" cy="517032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endParaRPr sz="2000"/>
              </a:p>
            </p:txBody>
          </p:sp>
          <p:sp>
            <p:nvSpPr>
              <p:cNvPr id="49" name="îš1îḍe">
                <a:extLst>
                  <a:ext uri="{FF2B5EF4-FFF2-40B4-BE49-F238E27FC236}">
                    <a16:creationId xmlns:a16="http://schemas.microsoft.com/office/drawing/2014/main" id="{47755DBE-AF46-457C-8B01-B3247A575A79}"/>
                  </a:ext>
                </a:extLst>
              </p:cNvPr>
              <p:cNvSpPr/>
              <p:nvPr/>
            </p:nvSpPr>
            <p:spPr bwMode="auto">
              <a:xfrm>
                <a:off x="2885722" y="1758123"/>
                <a:ext cx="291302" cy="280240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5" name="íšľíḓê">
              <a:extLst>
                <a:ext uri="{FF2B5EF4-FFF2-40B4-BE49-F238E27FC236}">
                  <a16:creationId xmlns:a16="http://schemas.microsoft.com/office/drawing/2014/main" id="{BA9C0A0B-314A-40EF-92CB-37F7AAE85134}"/>
                </a:ext>
              </a:extLst>
            </p:cNvPr>
            <p:cNvGrpSpPr/>
            <p:nvPr/>
          </p:nvGrpSpPr>
          <p:grpSpPr>
            <a:xfrm>
              <a:off x="3588307" y="2492812"/>
              <a:ext cx="517032" cy="517026"/>
              <a:chOff x="3588307" y="2492812"/>
              <a:chExt cx="517032" cy="517026"/>
            </a:xfrm>
          </p:grpSpPr>
          <p:sp>
            <p:nvSpPr>
              <p:cNvPr id="46" name="îşľíḍê">
                <a:extLst>
                  <a:ext uri="{FF2B5EF4-FFF2-40B4-BE49-F238E27FC236}">
                    <a16:creationId xmlns:a16="http://schemas.microsoft.com/office/drawing/2014/main" id="{457711B0-4143-48DA-8235-1C139AD9FC5F}"/>
                  </a:ext>
                </a:extLst>
              </p:cNvPr>
              <p:cNvSpPr/>
              <p:nvPr/>
            </p:nvSpPr>
            <p:spPr>
              <a:xfrm>
                <a:off x="3588307" y="2492812"/>
                <a:ext cx="517032" cy="517026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endParaRPr sz="2000"/>
              </a:p>
            </p:txBody>
          </p:sp>
          <p:sp>
            <p:nvSpPr>
              <p:cNvPr id="47" name="işlídê">
                <a:extLst>
                  <a:ext uri="{FF2B5EF4-FFF2-40B4-BE49-F238E27FC236}">
                    <a16:creationId xmlns:a16="http://schemas.microsoft.com/office/drawing/2014/main" id="{1EC0FA7E-662C-48C5-A21D-40A03AE91DA9}"/>
                  </a:ext>
                </a:extLst>
              </p:cNvPr>
              <p:cNvSpPr/>
              <p:nvPr/>
            </p:nvSpPr>
            <p:spPr bwMode="auto">
              <a:xfrm>
                <a:off x="3701174" y="2605949"/>
                <a:ext cx="291298" cy="290752"/>
              </a:xfrm>
              <a:custGeom>
                <a:avLst/>
                <a:gdLst>
                  <a:gd name="connsiteX0" fmla="*/ 290910 w 605702"/>
                  <a:gd name="connsiteY0" fmla="*/ 156336 h 604568"/>
                  <a:gd name="connsiteX1" fmla="*/ 335849 w 605702"/>
                  <a:gd name="connsiteY1" fmla="*/ 164992 h 604568"/>
                  <a:gd name="connsiteX2" fmla="*/ 288310 w 605702"/>
                  <a:gd name="connsiteY2" fmla="*/ 212456 h 604568"/>
                  <a:gd name="connsiteX3" fmla="*/ 203632 w 605702"/>
                  <a:gd name="connsiteY3" fmla="*/ 244717 h 604568"/>
                  <a:gd name="connsiteX4" fmla="*/ 203632 w 605702"/>
                  <a:gd name="connsiteY4" fmla="*/ 401388 h 604568"/>
                  <a:gd name="connsiteX5" fmla="*/ 360547 w 605702"/>
                  <a:gd name="connsiteY5" fmla="*/ 401388 h 604568"/>
                  <a:gd name="connsiteX6" fmla="*/ 392859 w 605702"/>
                  <a:gd name="connsiteY6" fmla="*/ 316749 h 604568"/>
                  <a:gd name="connsiteX7" fmla="*/ 440397 w 605702"/>
                  <a:gd name="connsiteY7" fmla="*/ 269284 h 604568"/>
                  <a:gd name="connsiteX8" fmla="*/ 400287 w 605702"/>
                  <a:gd name="connsiteY8" fmla="*/ 441065 h 604568"/>
                  <a:gd name="connsiteX9" fmla="*/ 163892 w 605702"/>
                  <a:gd name="connsiteY9" fmla="*/ 441065 h 604568"/>
                  <a:gd name="connsiteX10" fmla="*/ 163892 w 605702"/>
                  <a:gd name="connsiteY10" fmla="*/ 205040 h 604568"/>
                  <a:gd name="connsiteX11" fmla="*/ 290910 w 605702"/>
                  <a:gd name="connsiteY11" fmla="*/ 156336 h 604568"/>
                  <a:gd name="connsiteX12" fmla="*/ 246542 w 605702"/>
                  <a:gd name="connsiteY12" fmla="*/ 43775 h 604568"/>
                  <a:gd name="connsiteX13" fmla="*/ 422196 w 605702"/>
                  <a:gd name="connsiteY13" fmla="*/ 78723 h 604568"/>
                  <a:gd name="connsiteX14" fmla="*/ 376794 w 605702"/>
                  <a:gd name="connsiteY14" fmla="*/ 124054 h 604568"/>
                  <a:gd name="connsiteX15" fmla="*/ 126109 w 605702"/>
                  <a:gd name="connsiteY15" fmla="*/ 167345 h 604568"/>
                  <a:gd name="connsiteX16" fmla="*/ 126109 w 605702"/>
                  <a:gd name="connsiteY16" fmla="*/ 478820 h 604568"/>
                  <a:gd name="connsiteX17" fmla="*/ 438073 w 605702"/>
                  <a:gd name="connsiteY17" fmla="*/ 478820 h 604568"/>
                  <a:gd name="connsiteX18" fmla="*/ 481432 w 605702"/>
                  <a:gd name="connsiteY18" fmla="*/ 228527 h 604568"/>
                  <a:gd name="connsiteX19" fmla="*/ 526741 w 605702"/>
                  <a:gd name="connsiteY19" fmla="*/ 183011 h 604568"/>
                  <a:gd name="connsiteX20" fmla="*/ 481432 w 605702"/>
                  <a:gd name="connsiteY20" fmla="*/ 522111 h 604568"/>
                  <a:gd name="connsiteX21" fmla="*/ 82657 w 605702"/>
                  <a:gd name="connsiteY21" fmla="*/ 522111 h 604568"/>
                  <a:gd name="connsiteX22" fmla="*/ 82657 w 605702"/>
                  <a:gd name="connsiteY22" fmla="*/ 123961 h 604568"/>
                  <a:gd name="connsiteX23" fmla="*/ 246542 w 605702"/>
                  <a:gd name="connsiteY23" fmla="*/ 43775 h 604568"/>
                  <a:gd name="connsiteX24" fmla="*/ 536061 w 605702"/>
                  <a:gd name="connsiteY24" fmla="*/ 0 h 604568"/>
                  <a:gd name="connsiteX25" fmla="*/ 544232 w 605702"/>
                  <a:gd name="connsiteY25" fmla="*/ 61368 h 604568"/>
                  <a:gd name="connsiteX26" fmla="*/ 605702 w 605702"/>
                  <a:gd name="connsiteY26" fmla="*/ 69526 h 604568"/>
                  <a:gd name="connsiteX27" fmla="*/ 524361 w 605702"/>
                  <a:gd name="connsiteY27" fmla="*/ 150732 h 604568"/>
                  <a:gd name="connsiteX28" fmla="*/ 498361 w 605702"/>
                  <a:gd name="connsiteY28" fmla="*/ 147302 h 604568"/>
                  <a:gd name="connsiteX29" fmla="*/ 337721 w 605702"/>
                  <a:gd name="connsiteY29" fmla="*/ 307767 h 604568"/>
                  <a:gd name="connsiteX30" fmla="*/ 339764 w 605702"/>
                  <a:gd name="connsiteY30" fmla="*/ 323063 h 604568"/>
                  <a:gd name="connsiteX31" fmla="*/ 282101 w 605702"/>
                  <a:gd name="connsiteY31" fmla="*/ 380630 h 604568"/>
                  <a:gd name="connsiteX32" fmla="*/ 224437 w 605702"/>
                  <a:gd name="connsiteY32" fmla="*/ 323063 h 604568"/>
                  <a:gd name="connsiteX33" fmla="*/ 282101 w 605702"/>
                  <a:gd name="connsiteY33" fmla="*/ 265495 h 604568"/>
                  <a:gd name="connsiteX34" fmla="*/ 297422 w 605702"/>
                  <a:gd name="connsiteY34" fmla="*/ 267535 h 604568"/>
                  <a:gd name="connsiteX35" fmla="*/ 458155 w 605702"/>
                  <a:gd name="connsiteY35" fmla="*/ 107162 h 604568"/>
                  <a:gd name="connsiteX36" fmla="*/ 454719 w 605702"/>
                  <a:gd name="connsiteY36" fmla="*/ 81206 h 604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5702" h="604568">
                    <a:moveTo>
                      <a:pt x="290910" y="156336"/>
                    </a:moveTo>
                    <a:cubicBezTo>
                      <a:pt x="306137" y="157147"/>
                      <a:pt x="321272" y="160032"/>
                      <a:pt x="335849" y="164992"/>
                    </a:cubicBezTo>
                    <a:lnTo>
                      <a:pt x="288310" y="212456"/>
                    </a:lnTo>
                    <a:cubicBezTo>
                      <a:pt x="257856" y="210695"/>
                      <a:pt x="226844" y="221449"/>
                      <a:pt x="203632" y="244717"/>
                    </a:cubicBezTo>
                    <a:cubicBezTo>
                      <a:pt x="160271" y="287918"/>
                      <a:pt x="160271" y="358187"/>
                      <a:pt x="203632" y="401388"/>
                    </a:cubicBezTo>
                    <a:cubicBezTo>
                      <a:pt x="246900" y="444680"/>
                      <a:pt x="317279" y="444680"/>
                      <a:pt x="360547" y="401388"/>
                    </a:cubicBezTo>
                    <a:cubicBezTo>
                      <a:pt x="383852" y="378211"/>
                      <a:pt x="394623" y="347156"/>
                      <a:pt x="392859" y="316749"/>
                    </a:cubicBezTo>
                    <a:lnTo>
                      <a:pt x="440397" y="269284"/>
                    </a:lnTo>
                    <a:cubicBezTo>
                      <a:pt x="460267" y="327595"/>
                      <a:pt x="446897" y="394620"/>
                      <a:pt x="400287" y="441065"/>
                    </a:cubicBezTo>
                    <a:cubicBezTo>
                      <a:pt x="335106" y="506236"/>
                      <a:pt x="229073" y="506236"/>
                      <a:pt x="163892" y="441065"/>
                    </a:cubicBezTo>
                    <a:cubicBezTo>
                      <a:pt x="98619" y="375987"/>
                      <a:pt x="98619" y="270118"/>
                      <a:pt x="163892" y="205040"/>
                    </a:cubicBezTo>
                    <a:cubicBezTo>
                      <a:pt x="198711" y="170137"/>
                      <a:pt x="245228" y="153902"/>
                      <a:pt x="290910" y="156336"/>
                    </a:cubicBezTo>
                    <a:close/>
                    <a:moveTo>
                      <a:pt x="246542" y="43775"/>
                    </a:moveTo>
                    <a:cubicBezTo>
                      <a:pt x="306463" y="36243"/>
                      <a:pt x="368345" y="47900"/>
                      <a:pt x="422196" y="78723"/>
                    </a:cubicBezTo>
                    <a:lnTo>
                      <a:pt x="376794" y="124054"/>
                    </a:lnTo>
                    <a:cubicBezTo>
                      <a:pt x="294811" y="85305"/>
                      <a:pt x="193980" y="99581"/>
                      <a:pt x="126109" y="167345"/>
                    </a:cubicBezTo>
                    <a:cubicBezTo>
                      <a:pt x="39948" y="253371"/>
                      <a:pt x="39948" y="392793"/>
                      <a:pt x="126109" y="478820"/>
                    </a:cubicBezTo>
                    <a:cubicBezTo>
                      <a:pt x="212271" y="564846"/>
                      <a:pt x="351912" y="564846"/>
                      <a:pt x="438073" y="478820"/>
                    </a:cubicBezTo>
                    <a:cubicBezTo>
                      <a:pt x="505944" y="411055"/>
                      <a:pt x="520428" y="310382"/>
                      <a:pt x="481432" y="228527"/>
                    </a:cubicBezTo>
                    <a:lnTo>
                      <a:pt x="526741" y="183011"/>
                    </a:lnTo>
                    <a:cubicBezTo>
                      <a:pt x="588484" y="290544"/>
                      <a:pt x="573350" y="430244"/>
                      <a:pt x="481432" y="522111"/>
                    </a:cubicBezTo>
                    <a:cubicBezTo>
                      <a:pt x="371316" y="632054"/>
                      <a:pt x="192866" y="632054"/>
                      <a:pt x="82657" y="522111"/>
                    </a:cubicBezTo>
                    <a:cubicBezTo>
                      <a:pt x="-27552" y="412168"/>
                      <a:pt x="-27552" y="233997"/>
                      <a:pt x="82657" y="123961"/>
                    </a:cubicBezTo>
                    <a:cubicBezTo>
                      <a:pt x="128662" y="78028"/>
                      <a:pt x="186622" y="51307"/>
                      <a:pt x="246542" y="43775"/>
                    </a:cubicBezTo>
                    <a:close/>
                    <a:moveTo>
                      <a:pt x="536061" y="0"/>
                    </a:moveTo>
                    <a:lnTo>
                      <a:pt x="544232" y="61368"/>
                    </a:lnTo>
                    <a:lnTo>
                      <a:pt x="605702" y="69526"/>
                    </a:lnTo>
                    <a:lnTo>
                      <a:pt x="524361" y="150732"/>
                    </a:lnTo>
                    <a:lnTo>
                      <a:pt x="498361" y="147302"/>
                    </a:lnTo>
                    <a:lnTo>
                      <a:pt x="337721" y="307767"/>
                    </a:lnTo>
                    <a:cubicBezTo>
                      <a:pt x="339021" y="312588"/>
                      <a:pt x="339764" y="317779"/>
                      <a:pt x="339764" y="323063"/>
                    </a:cubicBezTo>
                    <a:cubicBezTo>
                      <a:pt x="339764" y="354859"/>
                      <a:pt x="313950" y="380630"/>
                      <a:pt x="282101" y="380630"/>
                    </a:cubicBezTo>
                    <a:cubicBezTo>
                      <a:pt x="250251" y="380630"/>
                      <a:pt x="224437" y="354859"/>
                      <a:pt x="224437" y="323063"/>
                    </a:cubicBezTo>
                    <a:cubicBezTo>
                      <a:pt x="224437" y="291266"/>
                      <a:pt x="250251" y="265495"/>
                      <a:pt x="282101" y="265495"/>
                    </a:cubicBezTo>
                    <a:cubicBezTo>
                      <a:pt x="287393" y="265495"/>
                      <a:pt x="292500" y="266237"/>
                      <a:pt x="297422" y="267535"/>
                    </a:cubicBezTo>
                    <a:lnTo>
                      <a:pt x="458155" y="107162"/>
                    </a:lnTo>
                    <a:lnTo>
                      <a:pt x="454719" y="812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85000" lnSpcReduction="20000"/>
              </a:bodyPr>
              <a:lstStyle/>
              <a:p>
                <a:endParaRPr lang="zh-CN" altLang="en-US" dirty="0"/>
              </a:p>
            </p:txBody>
          </p:sp>
        </p:grpSp>
        <p:grpSp>
          <p:nvGrpSpPr>
            <p:cNvPr id="26" name="iṥḻide">
              <a:extLst>
                <a:ext uri="{FF2B5EF4-FFF2-40B4-BE49-F238E27FC236}">
                  <a16:creationId xmlns:a16="http://schemas.microsoft.com/office/drawing/2014/main" id="{84344A62-DBD4-458F-B400-8CD1B06560EA}"/>
                </a:ext>
              </a:extLst>
            </p:cNvPr>
            <p:cNvGrpSpPr/>
            <p:nvPr/>
          </p:nvGrpSpPr>
          <p:grpSpPr>
            <a:xfrm>
              <a:off x="2772857" y="2492812"/>
              <a:ext cx="517019" cy="517026"/>
              <a:chOff x="2772857" y="2492812"/>
              <a:chExt cx="517019" cy="517026"/>
            </a:xfrm>
          </p:grpSpPr>
          <p:sp>
            <p:nvSpPr>
              <p:cNvPr id="44" name="îṥļîḑê">
                <a:extLst>
                  <a:ext uri="{FF2B5EF4-FFF2-40B4-BE49-F238E27FC236}">
                    <a16:creationId xmlns:a16="http://schemas.microsoft.com/office/drawing/2014/main" id="{BED2EB63-9F2E-4C67-8DCE-B2C62A7B7DF4}"/>
                  </a:ext>
                </a:extLst>
              </p:cNvPr>
              <p:cNvSpPr/>
              <p:nvPr/>
            </p:nvSpPr>
            <p:spPr>
              <a:xfrm>
                <a:off x="2772857" y="2492812"/>
                <a:ext cx="517019" cy="517026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endParaRPr sz="2000"/>
              </a:p>
            </p:txBody>
          </p:sp>
          <p:sp>
            <p:nvSpPr>
              <p:cNvPr id="45" name="ïšļîḋe">
                <a:extLst>
                  <a:ext uri="{FF2B5EF4-FFF2-40B4-BE49-F238E27FC236}">
                    <a16:creationId xmlns:a16="http://schemas.microsoft.com/office/drawing/2014/main" id="{24186409-305F-4ABE-AEFA-8AACB7440DF2}"/>
                  </a:ext>
                </a:extLst>
              </p:cNvPr>
              <p:cNvSpPr/>
              <p:nvPr/>
            </p:nvSpPr>
            <p:spPr bwMode="auto">
              <a:xfrm>
                <a:off x="2885718" y="2611252"/>
                <a:ext cx="291296" cy="280146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7" name="işḷïdè">
              <a:extLst>
                <a:ext uri="{FF2B5EF4-FFF2-40B4-BE49-F238E27FC236}">
                  <a16:creationId xmlns:a16="http://schemas.microsoft.com/office/drawing/2014/main" id="{407EEE78-8E22-406C-931E-2D3094F4B26A}"/>
                </a:ext>
              </a:extLst>
            </p:cNvPr>
            <p:cNvGrpSpPr/>
            <p:nvPr/>
          </p:nvGrpSpPr>
          <p:grpSpPr>
            <a:xfrm>
              <a:off x="3588307" y="1639727"/>
              <a:ext cx="517032" cy="517032"/>
              <a:chOff x="3588307" y="1639727"/>
              <a:chExt cx="517032" cy="517032"/>
            </a:xfrm>
          </p:grpSpPr>
          <p:sp>
            <p:nvSpPr>
              <p:cNvPr id="42" name="ï$ḻiḑé">
                <a:extLst>
                  <a:ext uri="{FF2B5EF4-FFF2-40B4-BE49-F238E27FC236}">
                    <a16:creationId xmlns:a16="http://schemas.microsoft.com/office/drawing/2014/main" id="{E2A94397-CE2A-4F4A-84F0-3C340D90A985}"/>
                  </a:ext>
                </a:extLst>
              </p:cNvPr>
              <p:cNvSpPr/>
              <p:nvPr/>
            </p:nvSpPr>
            <p:spPr>
              <a:xfrm>
                <a:off x="3588307" y="1639727"/>
                <a:ext cx="517032" cy="517032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endParaRPr sz="2000"/>
              </a:p>
            </p:txBody>
          </p:sp>
          <p:sp>
            <p:nvSpPr>
              <p:cNvPr id="43" name="íṣḷïḍe">
                <a:extLst>
                  <a:ext uri="{FF2B5EF4-FFF2-40B4-BE49-F238E27FC236}">
                    <a16:creationId xmlns:a16="http://schemas.microsoft.com/office/drawing/2014/main" id="{5422DF51-01F2-497C-9D33-647F2D8F8A8F}"/>
                  </a:ext>
                </a:extLst>
              </p:cNvPr>
              <p:cNvSpPr/>
              <p:nvPr/>
            </p:nvSpPr>
            <p:spPr bwMode="auto">
              <a:xfrm>
                <a:off x="3683706" y="1766214"/>
                <a:ext cx="326234" cy="264058"/>
              </a:xfrm>
              <a:custGeom>
                <a:avLst/>
                <a:gdLst>
                  <a:gd name="connsiteX0" fmla="*/ 355420 w 607568"/>
                  <a:gd name="connsiteY0" fmla="*/ 250307 h 491771"/>
                  <a:gd name="connsiteX1" fmla="*/ 352312 w 607568"/>
                  <a:gd name="connsiteY1" fmla="*/ 251812 h 491771"/>
                  <a:gd name="connsiteX2" fmla="*/ 321042 w 607568"/>
                  <a:gd name="connsiteY2" fmla="*/ 289814 h 491771"/>
                  <a:gd name="connsiteX3" fmla="*/ 321513 w 607568"/>
                  <a:gd name="connsiteY3" fmla="*/ 295364 h 491771"/>
                  <a:gd name="connsiteX4" fmla="*/ 369736 w 607568"/>
                  <a:gd name="connsiteY4" fmla="*/ 338257 h 491771"/>
                  <a:gd name="connsiteX5" fmla="*/ 371997 w 607568"/>
                  <a:gd name="connsiteY5" fmla="*/ 339104 h 491771"/>
                  <a:gd name="connsiteX6" fmla="*/ 373127 w 607568"/>
                  <a:gd name="connsiteY6" fmla="*/ 338916 h 491771"/>
                  <a:gd name="connsiteX7" fmla="*/ 375293 w 607568"/>
                  <a:gd name="connsiteY7" fmla="*/ 336282 h 491771"/>
                  <a:gd name="connsiteX8" fmla="*/ 383676 w 607568"/>
                  <a:gd name="connsiteY8" fmla="*/ 279467 h 491771"/>
                  <a:gd name="connsiteX9" fmla="*/ 376424 w 607568"/>
                  <a:gd name="connsiteY9" fmla="*/ 263287 h 491771"/>
                  <a:gd name="connsiteX10" fmla="*/ 357681 w 607568"/>
                  <a:gd name="connsiteY10" fmla="*/ 250965 h 491771"/>
                  <a:gd name="connsiteX11" fmla="*/ 355420 w 607568"/>
                  <a:gd name="connsiteY11" fmla="*/ 250307 h 491771"/>
                  <a:gd name="connsiteX12" fmla="*/ 258879 w 607568"/>
                  <a:gd name="connsiteY12" fmla="*/ 250307 h 491771"/>
                  <a:gd name="connsiteX13" fmla="*/ 256712 w 607568"/>
                  <a:gd name="connsiteY13" fmla="*/ 250965 h 491771"/>
                  <a:gd name="connsiteX14" fmla="*/ 237969 w 607568"/>
                  <a:gd name="connsiteY14" fmla="*/ 263287 h 491771"/>
                  <a:gd name="connsiteX15" fmla="*/ 230717 w 607568"/>
                  <a:gd name="connsiteY15" fmla="*/ 279467 h 491771"/>
                  <a:gd name="connsiteX16" fmla="*/ 239100 w 607568"/>
                  <a:gd name="connsiteY16" fmla="*/ 336282 h 491771"/>
                  <a:gd name="connsiteX17" fmla="*/ 241266 w 607568"/>
                  <a:gd name="connsiteY17" fmla="*/ 338916 h 491771"/>
                  <a:gd name="connsiteX18" fmla="*/ 242396 w 607568"/>
                  <a:gd name="connsiteY18" fmla="*/ 339104 h 491771"/>
                  <a:gd name="connsiteX19" fmla="*/ 244657 w 607568"/>
                  <a:gd name="connsiteY19" fmla="*/ 338257 h 491771"/>
                  <a:gd name="connsiteX20" fmla="*/ 292880 w 607568"/>
                  <a:gd name="connsiteY20" fmla="*/ 295364 h 491771"/>
                  <a:gd name="connsiteX21" fmla="*/ 293351 w 607568"/>
                  <a:gd name="connsiteY21" fmla="*/ 289814 h 491771"/>
                  <a:gd name="connsiteX22" fmla="*/ 261987 w 607568"/>
                  <a:gd name="connsiteY22" fmla="*/ 251812 h 491771"/>
                  <a:gd name="connsiteX23" fmla="*/ 258879 w 607568"/>
                  <a:gd name="connsiteY23" fmla="*/ 250307 h 491771"/>
                  <a:gd name="connsiteX24" fmla="*/ 500465 w 607568"/>
                  <a:gd name="connsiteY24" fmla="*/ 66049 h 491771"/>
                  <a:gd name="connsiteX25" fmla="*/ 565743 w 607568"/>
                  <a:gd name="connsiteY25" fmla="*/ 130673 h 491771"/>
                  <a:gd name="connsiteX26" fmla="*/ 566120 w 607568"/>
                  <a:gd name="connsiteY26" fmla="*/ 130673 h 491771"/>
                  <a:gd name="connsiteX27" fmla="*/ 580250 w 607568"/>
                  <a:gd name="connsiteY27" fmla="*/ 160962 h 491771"/>
                  <a:gd name="connsiteX28" fmla="*/ 560939 w 607568"/>
                  <a:gd name="connsiteY28" fmla="*/ 182503 h 491771"/>
                  <a:gd name="connsiteX29" fmla="*/ 531927 w 607568"/>
                  <a:gd name="connsiteY29" fmla="*/ 223799 h 491771"/>
                  <a:gd name="connsiteX30" fmla="*/ 528253 w 607568"/>
                  <a:gd name="connsiteY30" fmla="*/ 234240 h 491771"/>
                  <a:gd name="connsiteX31" fmla="*/ 530797 w 607568"/>
                  <a:gd name="connsiteY31" fmla="*/ 246281 h 491771"/>
                  <a:gd name="connsiteX32" fmla="*/ 545868 w 607568"/>
                  <a:gd name="connsiteY32" fmla="*/ 261143 h 491771"/>
                  <a:gd name="connsiteX33" fmla="*/ 558961 w 607568"/>
                  <a:gd name="connsiteY33" fmla="*/ 263777 h 491771"/>
                  <a:gd name="connsiteX34" fmla="*/ 597299 w 607568"/>
                  <a:gd name="connsiteY34" fmla="*/ 301968 h 491771"/>
                  <a:gd name="connsiteX35" fmla="*/ 607002 w 607568"/>
                  <a:gd name="connsiteY35" fmla="*/ 350788 h 491771"/>
                  <a:gd name="connsiteX36" fmla="*/ 601256 w 607568"/>
                  <a:gd name="connsiteY36" fmla="*/ 373835 h 491771"/>
                  <a:gd name="connsiteX37" fmla="*/ 579685 w 607568"/>
                  <a:gd name="connsiteY37" fmla="*/ 384088 h 491771"/>
                  <a:gd name="connsiteX38" fmla="*/ 490386 w 607568"/>
                  <a:gd name="connsiteY38" fmla="*/ 384088 h 491771"/>
                  <a:gd name="connsiteX39" fmla="*/ 467685 w 607568"/>
                  <a:gd name="connsiteY39" fmla="*/ 310058 h 491771"/>
                  <a:gd name="connsiteX40" fmla="*/ 431702 w 607568"/>
                  <a:gd name="connsiteY40" fmla="*/ 267445 h 491771"/>
                  <a:gd name="connsiteX41" fmla="*/ 441969 w 607568"/>
                  <a:gd name="connsiteY41" fmla="*/ 263777 h 491771"/>
                  <a:gd name="connsiteX42" fmla="*/ 455157 w 607568"/>
                  <a:gd name="connsiteY42" fmla="*/ 261237 h 491771"/>
                  <a:gd name="connsiteX43" fmla="*/ 470228 w 607568"/>
                  <a:gd name="connsiteY43" fmla="*/ 246281 h 491771"/>
                  <a:gd name="connsiteX44" fmla="*/ 472677 w 607568"/>
                  <a:gd name="connsiteY44" fmla="*/ 234240 h 491771"/>
                  <a:gd name="connsiteX45" fmla="*/ 469098 w 607568"/>
                  <a:gd name="connsiteY45" fmla="*/ 223893 h 491771"/>
                  <a:gd name="connsiteX46" fmla="*/ 439991 w 607568"/>
                  <a:gd name="connsiteY46" fmla="*/ 182503 h 491771"/>
                  <a:gd name="connsiteX47" fmla="*/ 426144 w 607568"/>
                  <a:gd name="connsiteY47" fmla="*/ 172720 h 491771"/>
                  <a:gd name="connsiteX48" fmla="*/ 441404 w 607568"/>
                  <a:gd name="connsiteY48" fmla="*/ 143278 h 491771"/>
                  <a:gd name="connsiteX49" fmla="*/ 439708 w 607568"/>
                  <a:gd name="connsiteY49" fmla="*/ 107438 h 491771"/>
                  <a:gd name="connsiteX50" fmla="*/ 500465 w 607568"/>
                  <a:gd name="connsiteY50" fmla="*/ 66049 h 491771"/>
                  <a:gd name="connsiteX51" fmla="*/ 107100 w 607568"/>
                  <a:gd name="connsiteY51" fmla="*/ 66049 h 491771"/>
                  <a:gd name="connsiteX52" fmla="*/ 171341 w 607568"/>
                  <a:gd name="connsiteY52" fmla="*/ 123618 h 491771"/>
                  <a:gd name="connsiteX53" fmla="*/ 172849 w 607568"/>
                  <a:gd name="connsiteY53" fmla="*/ 143278 h 491771"/>
                  <a:gd name="connsiteX54" fmla="*/ 184246 w 607568"/>
                  <a:gd name="connsiteY54" fmla="*/ 168205 h 491771"/>
                  <a:gd name="connsiteX55" fmla="*/ 167574 w 607568"/>
                  <a:gd name="connsiteY55" fmla="*/ 182503 h 491771"/>
                  <a:gd name="connsiteX56" fmla="*/ 138468 w 607568"/>
                  <a:gd name="connsiteY56" fmla="*/ 223799 h 491771"/>
                  <a:gd name="connsiteX57" fmla="*/ 134794 w 607568"/>
                  <a:gd name="connsiteY57" fmla="*/ 234240 h 491771"/>
                  <a:gd name="connsiteX58" fmla="*/ 137337 w 607568"/>
                  <a:gd name="connsiteY58" fmla="*/ 246281 h 491771"/>
                  <a:gd name="connsiteX59" fmla="*/ 152408 w 607568"/>
                  <a:gd name="connsiteY59" fmla="*/ 261143 h 491771"/>
                  <a:gd name="connsiteX60" fmla="*/ 165596 w 607568"/>
                  <a:gd name="connsiteY60" fmla="*/ 263777 h 491771"/>
                  <a:gd name="connsiteX61" fmla="*/ 179442 w 607568"/>
                  <a:gd name="connsiteY61" fmla="*/ 268856 h 491771"/>
                  <a:gd name="connsiteX62" fmla="*/ 146662 w 607568"/>
                  <a:gd name="connsiteY62" fmla="*/ 310058 h 491771"/>
                  <a:gd name="connsiteX63" fmla="*/ 123867 w 607568"/>
                  <a:gd name="connsiteY63" fmla="*/ 384088 h 491771"/>
                  <a:gd name="connsiteX64" fmla="*/ 27883 w 607568"/>
                  <a:gd name="connsiteY64" fmla="*/ 384088 h 491771"/>
                  <a:gd name="connsiteX65" fmla="*/ 6312 w 607568"/>
                  <a:gd name="connsiteY65" fmla="*/ 373835 h 491771"/>
                  <a:gd name="connsiteX66" fmla="*/ 566 w 607568"/>
                  <a:gd name="connsiteY66" fmla="*/ 350788 h 491771"/>
                  <a:gd name="connsiteX67" fmla="*/ 10268 w 607568"/>
                  <a:gd name="connsiteY67" fmla="*/ 301968 h 491771"/>
                  <a:gd name="connsiteX68" fmla="*/ 48606 w 607568"/>
                  <a:gd name="connsiteY68" fmla="*/ 263777 h 491771"/>
                  <a:gd name="connsiteX69" fmla="*/ 61699 w 607568"/>
                  <a:gd name="connsiteY69" fmla="*/ 261237 h 491771"/>
                  <a:gd name="connsiteX70" fmla="*/ 76770 w 607568"/>
                  <a:gd name="connsiteY70" fmla="*/ 246281 h 491771"/>
                  <a:gd name="connsiteX71" fmla="*/ 79313 w 607568"/>
                  <a:gd name="connsiteY71" fmla="*/ 234240 h 491771"/>
                  <a:gd name="connsiteX72" fmla="*/ 75639 w 607568"/>
                  <a:gd name="connsiteY72" fmla="*/ 223893 h 491771"/>
                  <a:gd name="connsiteX73" fmla="*/ 46628 w 607568"/>
                  <a:gd name="connsiteY73" fmla="*/ 182503 h 491771"/>
                  <a:gd name="connsiteX74" fmla="*/ 27318 w 607568"/>
                  <a:gd name="connsiteY74" fmla="*/ 160962 h 491771"/>
                  <a:gd name="connsiteX75" fmla="*/ 41447 w 607568"/>
                  <a:gd name="connsiteY75" fmla="*/ 130673 h 491771"/>
                  <a:gd name="connsiteX76" fmla="*/ 41824 w 607568"/>
                  <a:gd name="connsiteY76" fmla="*/ 130673 h 491771"/>
                  <a:gd name="connsiteX77" fmla="*/ 107100 w 607568"/>
                  <a:gd name="connsiteY77" fmla="*/ 66049 h 491771"/>
                  <a:gd name="connsiteX78" fmla="*/ 298626 w 607568"/>
                  <a:gd name="connsiteY78" fmla="*/ 0 h 491771"/>
                  <a:gd name="connsiteX79" fmla="*/ 315956 w 607568"/>
                  <a:gd name="connsiteY79" fmla="*/ 0 h 491771"/>
                  <a:gd name="connsiteX80" fmla="*/ 401854 w 607568"/>
                  <a:gd name="connsiteY80" fmla="*/ 85787 h 491771"/>
                  <a:gd name="connsiteX81" fmla="*/ 401854 w 607568"/>
                  <a:gd name="connsiteY81" fmla="*/ 95476 h 491771"/>
                  <a:gd name="connsiteX82" fmla="*/ 421633 w 607568"/>
                  <a:gd name="connsiteY82" fmla="*/ 138840 h 491771"/>
                  <a:gd name="connsiteX83" fmla="*/ 417960 w 607568"/>
                  <a:gd name="connsiteY83" fmla="*/ 149281 h 491771"/>
                  <a:gd name="connsiteX84" fmla="*/ 417112 w 607568"/>
                  <a:gd name="connsiteY84" fmla="*/ 151068 h 491771"/>
                  <a:gd name="connsiteX85" fmla="*/ 411273 w 607568"/>
                  <a:gd name="connsiteY85" fmla="*/ 159534 h 491771"/>
                  <a:gd name="connsiteX86" fmla="*/ 410896 w 607568"/>
                  <a:gd name="connsiteY86" fmla="*/ 159910 h 491771"/>
                  <a:gd name="connsiteX87" fmla="*/ 394037 w 607568"/>
                  <a:gd name="connsiteY87" fmla="*/ 169787 h 491771"/>
                  <a:gd name="connsiteX88" fmla="*/ 384900 w 607568"/>
                  <a:gd name="connsiteY88" fmla="*/ 189541 h 491771"/>
                  <a:gd name="connsiteX89" fmla="*/ 384712 w 607568"/>
                  <a:gd name="connsiteY89" fmla="*/ 189823 h 491771"/>
                  <a:gd name="connsiteX90" fmla="*/ 373316 w 607568"/>
                  <a:gd name="connsiteY90" fmla="*/ 207131 h 491771"/>
                  <a:gd name="connsiteX91" fmla="*/ 372750 w 607568"/>
                  <a:gd name="connsiteY91" fmla="*/ 207789 h 491771"/>
                  <a:gd name="connsiteX92" fmla="*/ 359847 w 607568"/>
                  <a:gd name="connsiteY92" fmla="*/ 222275 h 491771"/>
                  <a:gd name="connsiteX93" fmla="*/ 359188 w 607568"/>
                  <a:gd name="connsiteY93" fmla="*/ 222934 h 491771"/>
                  <a:gd name="connsiteX94" fmla="*/ 345154 w 607568"/>
                  <a:gd name="connsiteY94" fmla="*/ 234598 h 491771"/>
                  <a:gd name="connsiteX95" fmla="*/ 345625 w 607568"/>
                  <a:gd name="connsiteY95" fmla="*/ 236855 h 491771"/>
                  <a:gd name="connsiteX96" fmla="*/ 348639 w 607568"/>
                  <a:gd name="connsiteY96" fmla="*/ 235538 h 491771"/>
                  <a:gd name="connsiteX97" fmla="*/ 355514 w 607568"/>
                  <a:gd name="connsiteY97" fmla="*/ 234033 h 491771"/>
                  <a:gd name="connsiteX98" fmla="*/ 366628 w 607568"/>
                  <a:gd name="connsiteY98" fmla="*/ 237326 h 491771"/>
                  <a:gd name="connsiteX99" fmla="*/ 385371 w 607568"/>
                  <a:gd name="connsiteY99" fmla="*/ 249648 h 491771"/>
                  <a:gd name="connsiteX100" fmla="*/ 399876 w 607568"/>
                  <a:gd name="connsiteY100" fmla="*/ 279373 h 491771"/>
                  <a:gd name="connsiteX101" fmla="*/ 430016 w 607568"/>
                  <a:gd name="connsiteY101" fmla="*/ 289814 h 491771"/>
                  <a:gd name="connsiteX102" fmla="*/ 448382 w 607568"/>
                  <a:gd name="connsiteY102" fmla="*/ 316058 h 491771"/>
                  <a:gd name="connsiteX103" fmla="*/ 481630 w 607568"/>
                  <a:gd name="connsiteY103" fmla="*/ 424515 h 491771"/>
                  <a:gd name="connsiteX104" fmla="*/ 483891 w 607568"/>
                  <a:gd name="connsiteY104" fmla="*/ 436461 h 491771"/>
                  <a:gd name="connsiteX105" fmla="*/ 473718 w 607568"/>
                  <a:gd name="connsiteY105" fmla="*/ 470700 h 491771"/>
                  <a:gd name="connsiteX106" fmla="*/ 443956 w 607568"/>
                  <a:gd name="connsiteY106" fmla="*/ 490360 h 491771"/>
                  <a:gd name="connsiteX107" fmla="*/ 431805 w 607568"/>
                  <a:gd name="connsiteY107" fmla="*/ 491771 h 491771"/>
                  <a:gd name="connsiteX108" fmla="*/ 325375 w 607568"/>
                  <a:gd name="connsiteY108" fmla="*/ 491771 h 491771"/>
                  <a:gd name="connsiteX109" fmla="*/ 337430 w 607568"/>
                  <a:gd name="connsiteY109" fmla="*/ 415296 h 491771"/>
                  <a:gd name="connsiteX110" fmla="*/ 334605 w 607568"/>
                  <a:gd name="connsiteY110" fmla="*/ 389052 h 491771"/>
                  <a:gd name="connsiteX111" fmla="*/ 323962 w 607568"/>
                  <a:gd name="connsiteY111" fmla="*/ 360927 h 491771"/>
                  <a:gd name="connsiteX112" fmla="*/ 337430 w 607568"/>
                  <a:gd name="connsiteY112" fmla="*/ 347476 h 491771"/>
                  <a:gd name="connsiteX113" fmla="*/ 307196 w 607568"/>
                  <a:gd name="connsiteY113" fmla="*/ 317281 h 491771"/>
                  <a:gd name="connsiteX114" fmla="*/ 276868 w 607568"/>
                  <a:gd name="connsiteY114" fmla="*/ 347476 h 491771"/>
                  <a:gd name="connsiteX115" fmla="*/ 290337 w 607568"/>
                  <a:gd name="connsiteY115" fmla="*/ 360927 h 491771"/>
                  <a:gd name="connsiteX116" fmla="*/ 279694 w 607568"/>
                  <a:gd name="connsiteY116" fmla="*/ 389052 h 491771"/>
                  <a:gd name="connsiteX117" fmla="*/ 276963 w 607568"/>
                  <a:gd name="connsiteY117" fmla="*/ 415296 h 491771"/>
                  <a:gd name="connsiteX118" fmla="*/ 288736 w 607568"/>
                  <a:gd name="connsiteY118" fmla="*/ 491771 h 491771"/>
                  <a:gd name="connsiteX119" fmla="*/ 182493 w 607568"/>
                  <a:gd name="connsiteY119" fmla="*/ 491771 h 491771"/>
                  <a:gd name="connsiteX120" fmla="*/ 170437 w 607568"/>
                  <a:gd name="connsiteY120" fmla="*/ 490360 h 491771"/>
                  <a:gd name="connsiteX121" fmla="*/ 140675 w 607568"/>
                  <a:gd name="connsiteY121" fmla="*/ 470700 h 491771"/>
                  <a:gd name="connsiteX122" fmla="*/ 132669 w 607568"/>
                  <a:gd name="connsiteY122" fmla="*/ 424515 h 491771"/>
                  <a:gd name="connsiteX123" fmla="*/ 166011 w 607568"/>
                  <a:gd name="connsiteY123" fmla="*/ 316058 h 491771"/>
                  <a:gd name="connsiteX124" fmla="*/ 184377 w 607568"/>
                  <a:gd name="connsiteY124" fmla="*/ 289814 h 491771"/>
                  <a:gd name="connsiteX125" fmla="*/ 214517 w 607568"/>
                  <a:gd name="connsiteY125" fmla="*/ 279373 h 491771"/>
                  <a:gd name="connsiteX126" fmla="*/ 214517 w 607568"/>
                  <a:gd name="connsiteY126" fmla="*/ 279279 h 491771"/>
                  <a:gd name="connsiteX127" fmla="*/ 229022 w 607568"/>
                  <a:gd name="connsiteY127" fmla="*/ 249648 h 491771"/>
                  <a:gd name="connsiteX128" fmla="*/ 247765 w 607568"/>
                  <a:gd name="connsiteY128" fmla="*/ 237326 h 491771"/>
                  <a:gd name="connsiteX129" fmla="*/ 258879 w 607568"/>
                  <a:gd name="connsiteY129" fmla="*/ 234033 h 491771"/>
                  <a:gd name="connsiteX130" fmla="*/ 265754 w 607568"/>
                  <a:gd name="connsiteY130" fmla="*/ 235538 h 491771"/>
                  <a:gd name="connsiteX131" fmla="*/ 268768 w 607568"/>
                  <a:gd name="connsiteY131" fmla="*/ 236855 h 491771"/>
                  <a:gd name="connsiteX132" fmla="*/ 269239 w 607568"/>
                  <a:gd name="connsiteY132" fmla="*/ 234598 h 491771"/>
                  <a:gd name="connsiteX133" fmla="*/ 255205 w 607568"/>
                  <a:gd name="connsiteY133" fmla="*/ 222934 h 491771"/>
                  <a:gd name="connsiteX134" fmla="*/ 254546 w 607568"/>
                  <a:gd name="connsiteY134" fmla="*/ 222275 h 491771"/>
                  <a:gd name="connsiteX135" fmla="*/ 241548 w 607568"/>
                  <a:gd name="connsiteY135" fmla="*/ 207789 h 491771"/>
                  <a:gd name="connsiteX136" fmla="*/ 241077 w 607568"/>
                  <a:gd name="connsiteY136" fmla="*/ 207225 h 491771"/>
                  <a:gd name="connsiteX137" fmla="*/ 229681 w 607568"/>
                  <a:gd name="connsiteY137" fmla="*/ 189823 h 491771"/>
                  <a:gd name="connsiteX138" fmla="*/ 229493 w 607568"/>
                  <a:gd name="connsiteY138" fmla="*/ 189635 h 491771"/>
                  <a:gd name="connsiteX139" fmla="*/ 220356 w 607568"/>
                  <a:gd name="connsiteY139" fmla="*/ 169787 h 491771"/>
                  <a:gd name="connsiteX140" fmla="*/ 203497 w 607568"/>
                  <a:gd name="connsiteY140" fmla="*/ 159910 h 491771"/>
                  <a:gd name="connsiteX141" fmla="*/ 203120 w 607568"/>
                  <a:gd name="connsiteY141" fmla="*/ 159534 h 491771"/>
                  <a:gd name="connsiteX142" fmla="*/ 197281 w 607568"/>
                  <a:gd name="connsiteY142" fmla="*/ 151068 h 491771"/>
                  <a:gd name="connsiteX143" fmla="*/ 196433 w 607568"/>
                  <a:gd name="connsiteY143" fmla="*/ 149281 h 491771"/>
                  <a:gd name="connsiteX144" fmla="*/ 192666 w 607568"/>
                  <a:gd name="connsiteY144" fmla="*/ 138840 h 491771"/>
                  <a:gd name="connsiteX145" fmla="*/ 212727 w 607568"/>
                  <a:gd name="connsiteY145" fmla="*/ 95476 h 491771"/>
                  <a:gd name="connsiteX146" fmla="*/ 212727 w 607568"/>
                  <a:gd name="connsiteY146" fmla="*/ 85787 h 491771"/>
                  <a:gd name="connsiteX147" fmla="*/ 298626 w 607568"/>
                  <a:gd name="connsiteY147" fmla="*/ 0 h 4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607568" h="491771">
                    <a:moveTo>
                      <a:pt x="355420" y="250307"/>
                    </a:moveTo>
                    <a:cubicBezTo>
                      <a:pt x="354290" y="250307"/>
                      <a:pt x="353160" y="250871"/>
                      <a:pt x="352312" y="251812"/>
                    </a:cubicBezTo>
                    <a:lnTo>
                      <a:pt x="321042" y="289814"/>
                    </a:lnTo>
                    <a:cubicBezTo>
                      <a:pt x="319723" y="291507"/>
                      <a:pt x="319912" y="293953"/>
                      <a:pt x="321513" y="295364"/>
                    </a:cubicBezTo>
                    <a:lnTo>
                      <a:pt x="369736" y="338257"/>
                    </a:lnTo>
                    <a:cubicBezTo>
                      <a:pt x="370396" y="338822"/>
                      <a:pt x="371149" y="339104"/>
                      <a:pt x="371997" y="339104"/>
                    </a:cubicBezTo>
                    <a:cubicBezTo>
                      <a:pt x="372374" y="339104"/>
                      <a:pt x="372750" y="339010"/>
                      <a:pt x="373127" y="338916"/>
                    </a:cubicBezTo>
                    <a:cubicBezTo>
                      <a:pt x="374257" y="338539"/>
                      <a:pt x="375105" y="337505"/>
                      <a:pt x="375293" y="336282"/>
                    </a:cubicBezTo>
                    <a:lnTo>
                      <a:pt x="383676" y="279467"/>
                    </a:lnTo>
                    <a:cubicBezTo>
                      <a:pt x="384618" y="273164"/>
                      <a:pt x="381792" y="266768"/>
                      <a:pt x="376424" y="263287"/>
                    </a:cubicBezTo>
                    <a:lnTo>
                      <a:pt x="357681" y="250965"/>
                    </a:lnTo>
                    <a:cubicBezTo>
                      <a:pt x="357021" y="250495"/>
                      <a:pt x="356174" y="250307"/>
                      <a:pt x="355420" y="250307"/>
                    </a:cubicBezTo>
                    <a:close/>
                    <a:moveTo>
                      <a:pt x="258879" y="250307"/>
                    </a:moveTo>
                    <a:cubicBezTo>
                      <a:pt x="258125" y="250307"/>
                      <a:pt x="257372" y="250495"/>
                      <a:pt x="256712" y="250965"/>
                    </a:cubicBezTo>
                    <a:lnTo>
                      <a:pt x="237969" y="263287"/>
                    </a:lnTo>
                    <a:cubicBezTo>
                      <a:pt x="232601" y="266768"/>
                      <a:pt x="229775" y="273164"/>
                      <a:pt x="230717" y="279467"/>
                    </a:cubicBezTo>
                    <a:lnTo>
                      <a:pt x="239100" y="336282"/>
                    </a:lnTo>
                    <a:cubicBezTo>
                      <a:pt x="239288" y="337505"/>
                      <a:pt x="240136" y="338539"/>
                      <a:pt x="241266" y="338916"/>
                    </a:cubicBezTo>
                    <a:cubicBezTo>
                      <a:pt x="241643" y="339010"/>
                      <a:pt x="242019" y="339104"/>
                      <a:pt x="242396" y="339104"/>
                    </a:cubicBezTo>
                    <a:cubicBezTo>
                      <a:pt x="243244" y="339104"/>
                      <a:pt x="243997" y="338822"/>
                      <a:pt x="244657" y="338257"/>
                    </a:cubicBezTo>
                    <a:lnTo>
                      <a:pt x="292880" y="295364"/>
                    </a:lnTo>
                    <a:cubicBezTo>
                      <a:pt x="294481" y="293953"/>
                      <a:pt x="294670" y="291507"/>
                      <a:pt x="293351" y="289814"/>
                    </a:cubicBezTo>
                    <a:lnTo>
                      <a:pt x="261987" y="251812"/>
                    </a:lnTo>
                    <a:cubicBezTo>
                      <a:pt x="261233" y="250871"/>
                      <a:pt x="260103" y="250307"/>
                      <a:pt x="258879" y="250307"/>
                    </a:cubicBezTo>
                    <a:close/>
                    <a:moveTo>
                      <a:pt x="500465" y="66049"/>
                    </a:moveTo>
                    <a:cubicBezTo>
                      <a:pt x="548129" y="66049"/>
                      <a:pt x="562447" y="93516"/>
                      <a:pt x="565743" y="130673"/>
                    </a:cubicBezTo>
                    <a:cubicBezTo>
                      <a:pt x="565932" y="130673"/>
                      <a:pt x="566026" y="130673"/>
                      <a:pt x="566120" y="130673"/>
                    </a:cubicBezTo>
                    <a:cubicBezTo>
                      <a:pt x="577141" y="133118"/>
                      <a:pt x="583358" y="146664"/>
                      <a:pt x="580250" y="160962"/>
                    </a:cubicBezTo>
                    <a:cubicBezTo>
                      <a:pt x="577706" y="172532"/>
                      <a:pt x="569700" y="180904"/>
                      <a:pt x="560939" y="182503"/>
                    </a:cubicBezTo>
                    <a:cubicBezTo>
                      <a:pt x="554628" y="199529"/>
                      <a:pt x="543796" y="214016"/>
                      <a:pt x="531927" y="223799"/>
                    </a:cubicBezTo>
                    <a:cubicBezTo>
                      <a:pt x="528913" y="226338"/>
                      <a:pt x="527500" y="230383"/>
                      <a:pt x="528253" y="234240"/>
                    </a:cubicBezTo>
                    <a:lnTo>
                      <a:pt x="530797" y="246281"/>
                    </a:lnTo>
                    <a:cubicBezTo>
                      <a:pt x="532304" y="253806"/>
                      <a:pt x="538238" y="259732"/>
                      <a:pt x="545868" y="261143"/>
                    </a:cubicBezTo>
                    <a:lnTo>
                      <a:pt x="558961" y="263777"/>
                    </a:lnTo>
                    <a:cubicBezTo>
                      <a:pt x="578366" y="267634"/>
                      <a:pt x="593437" y="282684"/>
                      <a:pt x="597299" y="301968"/>
                    </a:cubicBezTo>
                    <a:lnTo>
                      <a:pt x="607002" y="350788"/>
                    </a:lnTo>
                    <a:cubicBezTo>
                      <a:pt x="608697" y="358972"/>
                      <a:pt x="606531" y="367438"/>
                      <a:pt x="601256" y="373835"/>
                    </a:cubicBezTo>
                    <a:cubicBezTo>
                      <a:pt x="595981" y="380325"/>
                      <a:pt x="588068" y="384088"/>
                      <a:pt x="579685" y="384088"/>
                    </a:cubicBezTo>
                    <a:lnTo>
                      <a:pt x="490386" y="384088"/>
                    </a:lnTo>
                    <a:lnTo>
                      <a:pt x="467685" y="310058"/>
                    </a:lnTo>
                    <a:cubicBezTo>
                      <a:pt x="461845" y="291150"/>
                      <a:pt x="448563" y="276194"/>
                      <a:pt x="431702" y="267445"/>
                    </a:cubicBezTo>
                    <a:cubicBezTo>
                      <a:pt x="434999" y="265940"/>
                      <a:pt x="438295" y="264529"/>
                      <a:pt x="441969" y="263777"/>
                    </a:cubicBezTo>
                    <a:lnTo>
                      <a:pt x="455157" y="261237"/>
                    </a:lnTo>
                    <a:cubicBezTo>
                      <a:pt x="462692" y="259732"/>
                      <a:pt x="468627" y="253806"/>
                      <a:pt x="470228" y="246281"/>
                    </a:cubicBezTo>
                    <a:lnTo>
                      <a:pt x="472677" y="234240"/>
                    </a:lnTo>
                    <a:cubicBezTo>
                      <a:pt x="473525" y="230383"/>
                      <a:pt x="472112" y="226338"/>
                      <a:pt x="469098" y="223893"/>
                    </a:cubicBezTo>
                    <a:cubicBezTo>
                      <a:pt x="457229" y="214016"/>
                      <a:pt x="446302" y="199529"/>
                      <a:pt x="439991" y="182503"/>
                    </a:cubicBezTo>
                    <a:cubicBezTo>
                      <a:pt x="434716" y="181563"/>
                      <a:pt x="429818" y="177894"/>
                      <a:pt x="426144" y="172720"/>
                    </a:cubicBezTo>
                    <a:cubicBezTo>
                      <a:pt x="433303" y="164725"/>
                      <a:pt x="438861" y="154754"/>
                      <a:pt x="441404" y="143278"/>
                    </a:cubicBezTo>
                    <a:cubicBezTo>
                      <a:pt x="444324" y="130485"/>
                      <a:pt x="443476" y="118068"/>
                      <a:pt x="439708" y="107438"/>
                    </a:cubicBezTo>
                    <a:cubicBezTo>
                      <a:pt x="447244" y="82699"/>
                      <a:pt x="464200" y="66049"/>
                      <a:pt x="500465" y="66049"/>
                    </a:cubicBezTo>
                    <a:close/>
                    <a:moveTo>
                      <a:pt x="107100" y="66049"/>
                    </a:moveTo>
                    <a:cubicBezTo>
                      <a:pt x="151561" y="66049"/>
                      <a:pt x="166820" y="90130"/>
                      <a:pt x="171341" y="123618"/>
                    </a:cubicBezTo>
                    <a:cubicBezTo>
                      <a:pt x="170965" y="129920"/>
                      <a:pt x="171436" y="136505"/>
                      <a:pt x="172849" y="143278"/>
                    </a:cubicBezTo>
                    <a:cubicBezTo>
                      <a:pt x="174921" y="152590"/>
                      <a:pt x="178971" y="161056"/>
                      <a:pt x="184246" y="168205"/>
                    </a:cubicBezTo>
                    <a:cubicBezTo>
                      <a:pt x="180573" y="175919"/>
                      <a:pt x="174356" y="181281"/>
                      <a:pt x="167574" y="182503"/>
                    </a:cubicBezTo>
                    <a:cubicBezTo>
                      <a:pt x="161263" y="199529"/>
                      <a:pt x="150336" y="214016"/>
                      <a:pt x="138468" y="223799"/>
                    </a:cubicBezTo>
                    <a:cubicBezTo>
                      <a:pt x="135453" y="226338"/>
                      <a:pt x="134040" y="230383"/>
                      <a:pt x="134794" y="234240"/>
                    </a:cubicBezTo>
                    <a:lnTo>
                      <a:pt x="137337" y="246281"/>
                    </a:lnTo>
                    <a:cubicBezTo>
                      <a:pt x="138939" y="253806"/>
                      <a:pt x="144873" y="259732"/>
                      <a:pt x="152408" y="261143"/>
                    </a:cubicBezTo>
                    <a:lnTo>
                      <a:pt x="165596" y="263777"/>
                    </a:lnTo>
                    <a:cubicBezTo>
                      <a:pt x="170494" y="264812"/>
                      <a:pt x="175203" y="266505"/>
                      <a:pt x="179442" y="268856"/>
                    </a:cubicBezTo>
                    <a:cubicBezTo>
                      <a:pt x="164088" y="277793"/>
                      <a:pt x="152126" y="292279"/>
                      <a:pt x="146662" y="310058"/>
                    </a:cubicBezTo>
                    <a:lnTo>
                      <a:pt x="123867" y="384088"/>
                    </a:lnTo>
                    <a:lnTo>
                      <a:pt x="27883" y="384088"/>
                    </a:lnTo>
                    <a:cubicBezTo>
                      <a:pt x="19499" y="384088"/>
                      <a:pt x="11587" y="380325"/>
                      <a:pt x="6312" y="373835"/>
                    </a:cubicBezTo>
                    <a:cubicBezTo>
                      <a:pt x="1037" y="367438"/>
                      <a:pt x="-1129" y="358972"/>
                      <a:pt x="566" y="350788"/>
                    </a:cubicBezTo>
                    <a:lnTo>
                      <a:pt x="10268" y="301968"/>
                    </a:lnTo>
                    <a:cubicBezTo>
                      <a:pt x="14130" y="282684"/>
                      <a:pt x="29202" y="267634"/>
                      <a:pt x="48606" y="263777"/>
                    </a:cubicBezTo>
                    <a:lnTo>
                      <a:pt x="61699" y="261237"/>
                    </a:lnTo>
                    <a:cubicBezTo>
                      <a:pt x="69328" y="259732"/>
                      <a:pt x="75263" y="253806"/>
                      <a:pt x="76770" y="246281"/>
                    </a:cubicBezTo>
                    <a:lnTo>
                      <a:pt x="79313" y="234240"/>
                    </a:lnTo>
                    <a:cubicBezTo>
                      <a:pt x="80067" y="230383"/>
                      <a:pt x="78654" y="226338"/>
                      <a:pt x="75639" y="223893"/>
                    </a:cubicBezTo>
                    <a:cubicBezTo>
                      <a:pt x="63771" y="214016"/>
                      <a:pt x="52939" y="199623"/>
                      <a:pt x="46628" y="182503"/>
                    </a:cubicBezTo>
                    <a:cubicBezTo>
                      <a:pt x="37867" y="180904"/>
                      <a:pt x="29861" y="172532"/>
                      <a:pt x="27318" y="160962"/>
                    </a:cubicBezTo>
                    <a:cubicBezTo>
                      <a:pt x="24115" y="146664"/>
                      <a:pt x="30426" y="133118"/>
                      <a:pt x="41447" y="130673"/>
                    </a:cubicBezTo>
                    <a:cubicBezTo>
                      <a:pt x="41541" y="130673"/>
                      <a:pt x="41729" y="130673"/>
                      <a:pt x="41824" y="130673"/>
                    </a:cubicBezTo>
                    <a:cubicBezTo>
                      <a:pt x="45403" y="93516"/>
                      <a:pt x="60192" y="66049"/>
                      <a:pt x="107100" y="66049"/>
                    </a:cubicBezTo>
                    <a:close/>
                    <a:moveTo>
                      <a:pt x="298626" y="0"/>
                    </a:moveTo>
                    <a:lnTo>
                      <a:pt x="315956" y="0"/>
                    </a:lnTo>
                    <a:cubicBezTo>
                      <a:pt x="363426" y="0"/>
                      <a:pt x="401854" y="38378"/>
                      <a:pt x="401854" y="85787"/>
                    </a:cubicBezTo>
                    <a:lnTo>
                      <a:pt x="401854" y="95476"/>
                    </a:lnTo>
                    <a:cubicBezTo>
                      <a:pt x="417301" y="99238"/>
                      <a:pt x="426154" y="118522"/>
                      <a:pt x="421633" y="138840"/>
                    </a:cubicBezTo>
                    <a:cubicBezTo>
                      <a:pt x="420880" y="142602"/>
                      <a:pt x="419467" y="146083"/>
                      <a:pt x="417960" y="149281"/>
                    </a:cubicBezTo>
                    <a:cubicBezTo>
                      <a:pt x="417677" y="149939"/>
                      <a:pt x="417395" y="150504"/>
                      <a:pt x="417112" y="151068"/>
                    </a:cubicBezTo>
                    <a:cubicBezTo>
                      <a:pt x="415417" y="154172"/>
                      <a:pt x="413533" y="157088"/>
                      <a:pt x="411273" y="159534"/>
                    </a:cubicBezTo>
                    <a:cubicBezTo>
                      <a:pt x="411179" y="159628"/>
                      <a:pt x="410990" y="159816"/>
                      <a:pt x="410896" y="159910"/>
                    </a:cubicBezTo>
                    <a:cubicBezTo>
                      <a:pt x="406092" y="165084"/>
                      <a:pt x="400159" y="168658"/>
                      <a:pt x="394037" y="169787"/>
                    </a:cubicBezTo>
                    <a:cubicBezTo>
                      <a:pt x="391494" y="176654"/>
                      <a:pt x="388385" y="183332"/>
                      <a:pt x="384900" y="189541"/>
                    </a:cubicBezTo>
                    <a:cubicBezTo>
                      <a:pt x="384806" y="189635"/>
                      <a:pt x="384806" y="189729"/>
                      <a:pt x="384712" y="189823"/>
                    </a:cubicBezTo>
                    <a:cubicBezTo>
                      <a:pt x="381227" y="196031"/>
                      <a:pt x="377460" y="201769"/>
                      <a:pt x="373316" y="207131"/>
                    </a:cubicBezTo>
                    <a:cubicBezTo>
                      <a:pt x="373127" y="207413"/>
                      <a:pt x="372939" y="207601"/>
                      <a:pt x="372750" y="207789"/>
                    </a:cubicBezTo>
                    <a:cubicBezTo>
                      <a:pt x="368700" y="213057"/>
                      <a:pt x="364368" y="217948"/>
                      <a:pt x="359847" y="222275"/>
                    </a:cubicBezTo>
                    <a:cubicBezTo>
                      <a:pt x="359658" y="222463"/>
                      <a:pt x="359376" y="222651"/>
                      <a:pt x="359188" y="222934"/>
                    </a:cubicBezTo>
                    <a:cubicBezTo>
                      <a:pt x="354667" y="227261"/>
                      <a:pt x="349957" y="231211"/>
                      <a:pt x="345154" y="234598"/>
                    </a:cubicBezTo>
                    <a:lnTo>
                      <a:pt x="345625" y="236855"/>
                    </a:lnTo>
                    <a:cubicBezTo>
                      <a:pt x="346567" y="236385"/>
                      <a:pt x="347603" y="235915"/>
                      <a:pt x="348639" y="235538"/>
                    </a:cubicBezTo>
                    <a:cubicBezTo>
                      <a:pt x="350899" y="234786"/>
                      <a:pt x="353065" y="234033"/>
                      <a:pt x="355514" y="234033"/>
                    </a:cubicBezTo>
                    <a:cubicBezTo>
                      <a:pt x="359470" y="234033"/>
                      <a:pt x="363238" y="235162"/>
                      <a:pt x="366628" y="237326"/>
                    </a:cubicBezTo>
                    <a:cubicBezTo>
                      <a:pt x="366628" y="237326"/>
                      <a:pt x="380756" y="246450"/>
                      <a:pt x="385371" y="249648"/>
                    </a:cubicBezTo>
                    <a:cubicBezTo>
                      <a:pt x="401854" y="261030"/>
                      <a:pt x="399876" y="279373"/>
                      <a:pt x="399876" y="279373"/>
                    </a:cubicBezTo>
                    <a:cubicBezTo>
                      <a:pt x="410990" y="279655"/>
                      <a:pt x="421822" y="283041"/>
                      <a:pt x="430016" y="289814"/>
                    </a:cubicBezTo>
                    <a:cubicBezTo>
                      <a:pt x="445180" y="302324"/>
                      <a:pt x="447535" y="313330"/>
                      <a:pt x="448382" y="316058"/>
                    </a:cubicBezTo>
                    <a:lnTo>
                      <a:pt x="481630" y="424515"/>
                    </a:lnTo>
                    <a:cubicBezTo>
                      <a:pt x="482855" y="428371"/>
                      <a:pt x="483608" y="432416"/>
                      <a:pt x="483891" y="436461"/>
                    </a:cubicBezTo>
                    <a:cubicBezTo>
                      <a:pt x="484644" y="448595"/>
                      <a:pt x="481159" y="460730"/>
                      <a:pt x="473718" y="470700"/>
                    </a:cubicBezTo>
                    <a:cubicBezTo>
                      <a:pt x="466372" y="480671"/>
                      <a:pt x="455823" y="487538"/>
                      <a:pt x="443956" y="490360"/>
                    </a:cubicBezTo>
                    <a:cubicBezTo>
                      <a:pt x="440000" y="491301"/>
                      <a:pt x="435950" y="491771"/>
                      <a:pt x="431805" y="491771"/>
                    </a:cubicBezTo>
                    <a:lnTo>
                      <a:pt x="325375" y="491771"/>
                    </a:lnTo>
                    <a:lnTo>
                      <a:pt x="337430" y="415296"/>
                    </a:lnTo>
                    <a:cubicBezTo>
                      <a:pt x="338749" y="406454"/>
                      <a:pt x="337807" y="397424"/>
                      <a:pt x="334605" y="389052"/>
                    </a:cubicBezTo>
                    <a:lnTo>
                      <a:pt x="323962" y="360927"/>
                    </a:lnTo>
                    <a:lnTo>
                      <a:pt x="337430" y="347476"/>
                    </a:lnTo>
                    <a:lnTo>
                      <a:pt x="307196" y="317281"/>
                    </a:lnTo>
                    <a:lnTo>
                      <a:pt x="276868" y="347476"/>
                    </a:lnTo>
                    <a:lnTo>
                      <a:pt x="290337" y="360927"/>
                    </a:lnTo>
                    <a:lnTo>
                      <a:pt x="279694" y="389052"/>
                    </a:lnTo>
                    <a:cubicBezTo>
                      <a:pt x="276586" y="397424"/>
                      <a:pt x="275644" y="406454"/>
                      <a:pt x="276963" y="415296"/>
                    </a:cubicBezTo>
                    <a:lnTo>
                      <a:pt x="288736" y="491771"/>
                    </a:lnTo>
                    <a:lnTo>
                      <a:pt x="182493" y="491771"/>
                    </a:lnTo>
                    <a:cubicBezTo>
                      <a:pt x="178443" y="491771"/>
                      <a:pt x="174299" y="491301"/>
                      <a:pt x="170437" y="490360"/>
                    </a:cubicBezTo>
                    <a:cubicBezTo>
                      <a:pt x="158570" y="487538"/>
                      <a:pt x="148021" y="480671"/>
                      <a:pt x="140675" y="470700"/>
                    </a:cubicBezTo>
                    <a:cubicBezTo>
                      <a:pt x="130785" y="457343"/>
                      <a:pt x="127865" y="440223"/>
                      <a:pt x="132669" y="424515"/>
                    </a:cubicBezTo>
                    <a:lnTo>
                      <a:pt x="166011" y="316058"/>
                    </a:lnTo>
                    <a:cubicBezTo>
                      <a:pt x="166858" y="313330"/>
                      <a:pt x="170908" y="300631"/>
                      <a:pt x="184377" y="289814"/>
                    </a:cubicBezTo>
                    <a:cubicBezTo>
                      <a:pt x="192666" y="283229"/>
                      <a:pt x="203403" y="279655"/>
                      <a:pt x="214517" y="279373"/>
                    </a:cubicBezTo>
                    <a:lnTo>
                      <a:pt x="214517" y="279279"/>
                    </a:lnTo>
                    <a:cubicBezTo>
                      <a:pt x="214140" y="273447"/>
                      <a:pt x="211880" y="260654"/>
                      <a:pt x="229022" y="249648"/>
                    </a:cubicBezTo>
                    <a:cubicBezTo>
                      <a:pt x="233731" y="246638"/>
                      <a:pt x="247765" y="237326"/>
                      <a:pt x="247765" y="237326"/>
                    </a:cubicBezTo>
                    <a:cubicBezTo>
                      <a:pt x="251061" y="235162"/>
                      <a:pt x="254923" y="234033"/>
                      <a:pt x="258879" y="234033"/>
                    </a:cubicBezTo>
                    <a:cubicBezTo>
                      <a:pt x="261328" y="234033"/>
                      <a:pt x="263494" y="234786"/>
                      <a:pt x="265754" y="235538"/>
                    </a:cubicBezTo>
                    <a:cubicBezTo>
                      <a:pt x="266790" y="236009"/>
                      <a:pt x="267826" y="236385"/>
                      <a:pt x="268768" y="236855"/>
                    </a:cubicBezTo>
                    <a:lnTo>
                      <a:pt x="269239" y="234598"/>
                    </a:lnTo>
                    <a:cubicBezTo>
                      <a:pt x="264436" y="231211"/>
                      <a:pt x="259726" y="227261"/>
                      <a:pt x="255205" y="222934"/>
                    </a:cubicBezTo>
                    <a:cubicBezTo>
                      <a:pt x="254923" y="222651"/>
                      <a:pt x="254735" y="222463"/>
                      <a:pt x="254546" y="222275"/>
                    </a:cubicBezTo>
                    <a:cubicBezTo>
                      <a:pt x="250025" y="217948"/>
                      <a:pt x="245693" y="213057"/>
                      <a:pt x="241548" y="207789"/>
                    </a:cubicBezTo>
                    <a:cubicBezTo>
                      <a:pt x="241454" y="207601"/>
                      <a:pt x="241266" y="207413"/>
                      <a:pt x="241077" y="207225"/>
                    </a:cubicBezTo>
                    <a:cubicBezTo>
                      <a:pt x="236933" y="201769"/>
                      <a:pt x="233072" y="196031"/>
                      <a:pt x="229681" y="189823"/>
                    </a:cubicBezTo>
                    <a:cubicBezTo>
                      <a:pt x="229587" y="189729"/>
                      <a:pt x="229587" y="189635"/>
                      <a:pt x="229493" y="189635"/>
                    </a:cubicBezTo>
                    <a:cubicBezTo>
                      <a:pt x="226008" y="183332"/>
                      <a:pt x="222899" y="176654"/>
                      <a:pt x="220356" y="169787"/>
                    </a:cubicBezTo>
                    <a:cubicBezTo>
                      <a:pt x="214140" y="168658"/>
                      <a:pt x="208301" y="165084"/>
                      <a:pt x="203497" y="159910"/>
                    </a:cubicBezTo>
                    <a:cubicBezTo>
                      <a:pt x="203309" y="159722"/>
                      <a:pt x="203214" y="159628"/>
                      <a:pt x="203120" y="159534"/>
                    </a:cubicBezTo>
                    <a:cubicBezTo>
                      <a:pt x="200860" y="157088"/>
                      <a:pt x="198976" y="154172"/>
                      <a:pt x="197281" y="151068"/>
                    </a:cubicBezTo>
                    <a:cubicBezTo>
                      <a:pt x="196998" y="150504"/>
                      <a:pt x="196716" y="149939"/>
                      <a:pt x="196433" y="149281"/>
                    </a:cubicBezTo>
                    <a:cubicBezTo>
                      <a:pt x="194832" y="146083"/>
                      <a:pt x="193513" y="142602"/>
                      <a:pt x="192666" y="138840"/>
                    </a:cubicBezTo>
                    <a:cubicBezTo>
                      <a:pt x="188145" y="118428"/>
                      <a:pt x="197092" y="99050"/>
                      <a:pt x="212727" y="95476"/>
                    </a:cubicBezTo>
                    <a:lnTo>
                      <a:pt x="212727" y="85787"/>
                    </a:lnTo>
                    <a:cubicBezTo>
                      <a:pt x="212727" y="38378"/>
                      <a:pt x="251155" y="0"/>
                      <a:pt x="29862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28" name="îšľiḓê">
              <a:extLst>
                <a:ext uri="{FF2B5EF4-FFF2-40B4-BE49-F238E27FC236}">
                  <a16:creationId xmlns:a16="http://schemas.microsoft.com/office/drawing/2014/main" id="{E7E3021B-E078-4FE4-8662-17CCCC5E0969}"/>
                </a:ext>
              </a:extLst>
            </p:cNvPr>
            <p:cNvGrpSpPr/>
            <p:nvPr/>
          </p:nvGrpSpPr>
          <p:grpSpPr>
            <a:xfrm>
              <a:off x="5640517" y="2232919"/>
              <a:ext cx="2674497" cy="1111889"/>
              <a:chOff x="8429020" y="3161137"/>
              <a:chExt cx="3093055" cy="1111889"/>
            </a:xfrm>
          </p:grpSpPr>
          <p:sp>
            <p:nvSpPr>
              <p:cNvPr id="40" name="iSļîdé">
                <a:extLst>
                  <a:ext uri="{FF2B5EF4-FFF2-40B4-BE49-F238E27FC236}">
                    <a16:creationId xmlns:a16="http://schemas.microsoft.com/office/drawing/2014/main" id="{7A4F9CBB-3359-4BE6-811B-D9E9059504FE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1" name="išļiďè">
                <a:extLst>
                  <a:ext uri="{FF2B5EF4-FFF2-40B4-BE49-F238E27FC236}">
                    <a16:creationId xmlns:a16="http://schemas.microsoft.com/office/drawing/2014/main" id="{35BDA204-6C64-44F3-98BC-FDB64C5BE0F9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1.Text here</a:t>
                </a:r>
              </a:p>
            </p:txBody>
          </p:sp>
        </p:grpSp>
        <p:grpSp>
          <p:nvGrpSpPr>
            <p:cNvPr id="29" name="îṩḷiḋê">
              <a:extLst>
                <a:ext uri="{FF2B5EF4-FFF2-40B4-BE49-F238E27FC236}">
                  <a16:creationId xmlns:a16="http://schemas.microsoft.com/office/drawing/2014/main" id="{DB498227-4CD2-43DA-B56E-5A5414F5F36E}"/>
                </a:ext>
              </a:extLst>
            </p:cNvPr>
            <p:cNvGrpSpPr/>
            <p:nvPr/>
          </p:nvGrpSpPr>
          <p:grpSpPr>
            <a:xfrm>
              <a:off x="8844403" y="2232919"/>
              <a:ext cx="2674497" cy="1111889"/>
              <a:chOff x="8429020" y="3161137"/>
              <a:chExt cx="3093055" cy="1111889"/>
            </a:xfrm>
          </p:grpSpPr>
          <p:sp>
            <p:nvSpPr>
              <p:cNvPr id="38" name="îSlíḑé">
                <a:extLst>
                  <a:ext uri="{FF2B5EF4-FFF2-40B4-BE49-F238E27FC236}">
                    <a16:creationId xmlns:a16="http://schemas.microsoft.com/office/drawing/2014/main" id="{1A9874B1-5BB8-4F88-86E4-C3756CFDA75E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9" name="îşḷíḑe">
                <a:extLst>
                  <a:ext uri="{FF2B5EF4-FFF2-40B4-BE49-F238E27FC236}">
                    <a16:creationId xmlns:a16="http://schemas.microsoft.com/office/drawing/2014/main" id="{33B0E732-F209-4843-BE75-61A183F384D5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2.Text here</a:t>
                </a:r>
              </a:p>
            </p:txBody>
          </p:sp>
        </p:grpSp>
        <p:grpSp>
          <p:nvGrpSpPr>
            <p:cNvPr id="30" name="íšḷîḋé">
              <a:extLst>
                <a:ext uri="{FF2B5EF4-FFF2-40B4-BE49-F238E27FC236}">
                  <a16:creationId xmlns:a16="http://schemas.microsoft.com/office/drawing/2014/main" id="{1EBA6301-E29B-485E-9DCD-A5FBEAC857B2}"/>
                </a:ext>
              </a:extLst>
            </p:cNvPr>
            <p:cNvGrpSpPr/>
            <p:nvPr/>
          </p:nvGrpSpPr>
          <p:grpSpPr>
            <a:xfrm>
              <a:off x="5640517" y="3932291"/>
              <a:ext cx="2674497" cy="1111889"/>
              <a:chOff x="8429020" y="3161137"/>
              <a:chExt cx="3093055" cy="1111889"/>
            </a:xfrm>
          </p:grpSpPr>
          <p:sp>
            <p:nvSpPr>
              <p:cNvPr id="36" name="ïsľîďè">
                <a:extLst>
                  <a:ext uri="{FF2B5EF4-FFF2-40B4-BE49-F238E27FC236}">
                    <a16:creationId xmlns:a16="http://schemas.microsoft.com/office/drawing/2014/main" id="{51734A41-6746-4F87-AA54-849BAA433211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7" name="išlîḍè">
                <a:extLst>
                  <a:ext uri="{FF2B5EF4-FFF2-40B4-BE49-F238E27FC236}">
                    <a16:creationId xmlns:a16="http://schemas.microsoft.com/office/drawing/2014/main" id="{31CF237E-1C11-4386-B221-9F03F5D5DE28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3.Text here</a:t>
                </a:r>
              </a:p>
            </p:txBody>
          </p:sp>
        </p:grpSp>
        <p:grpSp>
          <p:nvGrpSpPr>
            <p:cNvPr id="31" name="iṧļïḑe">
              <a:extLst>
                <a:ext uri="{FF2B5EF4-FFF2-40B4-BE49-F238E27FC236}">
                  <a16:creationId xmlns:a16="http://schemas.microsoft.com/office/drawing/2014/main" id="{B80965D3-C278-45E6-8922-90F610DC5A53}"/>
                </a:ext>
              </a:extLst>
            </p:cNvPr>
            <p:cNvGrpSpPr/>
            <p:nvPr/>
          </p:nvGrpSpPr>
          <p:grpSpPr>
            <a:xfrm>
              <a:off x="8844403" y="3932291"/>
              <a:ext cx="2674497" cy="1111889"/>
              <a:chOff x="8429020" y="3161137"/>
              <a:chExt cx="3093055" cy="1111889"/>
            </a:xfrm>
          </p:grpSpPr>
          <p:sp>
            <p:nvSpPr>
              <p:cNvPr id="34" name="iśḻïḑè">
                <a:extLst>
                  <a:ext uri="{FF2B5EF4-FFF2-40B4-BE49-F238E27FC236}">
                    <a16:creationId xmlns:a16="http://schemas.microsoft.com/office/drawing/2014/main" id="{CDA7871A-CDDD-488C-96B6-F266A6BE9222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5" name="îṣľîḍè">
                <a:extLst>
                  <a:ext uri="{FF2B5EF4-FFF2-40B4-BE49-F238E27FC236}">
                    <a16:creationId xmlns:a16="http://schemas.microsoft.com/office/drawing/2014/main" id="{67C141C4-8377-4B1E-9CF0-6AEFFA6D785F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4.Text here</a:t>
                </a:r>
              </a:p>
            </p:txBody>
          </p:sp>
        </p:grpSp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AAED01BD-24E5-4FF9-B406-28F351BA4B36}"/>
                </a:ext>
              </a:extLst>
            </p:cNvPr>
            <p:cNvCxnSpPr/>
            <p:nvPr/>
          </p:nvCxnSpPr>
          <p:spPr>
            <a:xfrm>
              <a:off x="5734050" y="3638550"/>
              <a:ext cx="578485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tx1">
                      <a:lumMod val="50000"/>
                      <a:lumOff val="50000"/>
                      <a:alpha val="0"/>
                    </a:schemeClr>
                  </a:gs>
                  <a:gs pos="50000">
                    <a:schemeClr val="tx1">
                      <a:lumMod val="50000"/>
                      <a:lumOff val="50000"/>
                      <a:alpha val="32000"/>
                    </a:schemeClr>
                  </a:gs>
                  <a:gs pos="100000">
                    <a:schemeClr val="tx1">
                      <a:lumMod val="50000"/>
                      <a:lumOff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2602EA1E-B6A7-47C9-B055-A292EEC13933}"/>
                </a:ext>
              </a:extLst>
            </p:cNvPr>
            <p:cNvCxnSpPr/>
            <p:nvPr/>
          </p:nvCxnSpPr>
          <p:spPr>
            <a:xfrm>
              <a:off x="8446358" y="2232919"/>
              <a:ext cx="0" cy="2811261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tx1">
                      <a:lumMod val="50000"/>
                      <a:lumOff val="50000"/>
                      <a:alpha val="0"/>
                    </a:schemeClr>
                  </a:gs>
                  <a:gs pos="50000">
                    <a:schemeClr val="tx1">
                      <a:lumMod val="50000"/>
                      <a:lumOff val="50000"/>
                      <a:alpha val="32000"/>
                    </a:schemeClr>
                  </a:gs>
                  <a:gs pos="100000">
                    <a:schemeClr val="tx1">
                      <a:lumMod val="50000"/>
                      <a:lumOff val="5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627612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A449AF-8C3B-4C36-8CC5-41C22E081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688D94D-826F-43E6-B0BC-5B828B79B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218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12A5789-078B-4B03-B84D-00D10E929959}"/>
              </a:ext>
            </a:extLst>
          </p:cNvPr>
          <p:cNvGrpSpPr>
            <a:grpSpLocks noChangeAspect="1"/>
          </p:cNvGrpSpPr>
          <p:nvPr/>
        </p:nvGrpSpPr>
        <p:grpSpPr>
          <a:xfrm>
            <a:off x="1193800" y="2058732"/>
            <a:ext cx="9804400" cy="3502698"/>
            <a:chOff x="1193800" y="2058732"/>
            <a:chExt cx="9804400" cy="3502698"/>
          </a:xfrm>
        </p:grpSpPr>
        <p:sp>
          <p:nvSpPr>
            <p:cNvPr id="6" name="iśľîďé">
              <a:extLst>
                <a:ext uri="{FF2B5EF4-FFF2-40B4-BE49-F238E27FC236}">
                  <a16:creationId xmlns:a16="http://schemas.microsoft.com/office/drawing/2014/main" id="{08715158-0466-4212-BD4A-6D19F396C621}"/>
                </a:ext>
              </a:extLst>
            </p:cNvPr>
            <p:cNvSpPr txBox="1"/>
            <p:nvPr/>
          </p:nvSpPr>
          <p:spPr>
            <a:xfrm>
              <a:off x="4003253" y="2395338"/>
              <a:ext cx="1774512" cy="62664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 fontScale="92500"/>
            </a:bodyPr>
            <a:lstStyle/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  <a:r>
                <a:rPr lang="zh-CN" altLang="en-US" sz="1100" dirty="0"/>
                <a:t> </a:t>
              </a:r>
            </a:p>
          </p:txBody>
        </p:sp>
        <p:sp>
          <p:nvSpPr>
            <p:cNvPr id="7" name="îṧliďe">
              <a:extLst>
                <a:ext uri="{FF2B5EF4-FFF2-40B4-BE49-F238E27FC236}">
                  <a16:creationId xmlns:a16="http://schemas.microsoft.com/office/drawing/2014/main" id="{D9C5C316-6BCA-4F98-9A9E-E6D404C8D82B}"/>
                </a:ext>
              </a:extLst>
            </p:cNvPr>
            <p:cNvSpPr/>
            <p:nvPr/>
          </p:nvSpPr>
          <p:spPr>
            <a:xfrm>
              <a:off x="4003252" y="2058732"/>
              <a:ext cx="1774513" cy="325410"/>
            </a:xfrm>
            <a:prstGeom prst="rect">
              <a:avLst/>
            </a:prstGeom>
          </p:spPr>
          <p:txBody>
            <a:bodyPr wrap="square" lIns="91440" tIns="45720" rIns="91440" bIns="4572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8" name="ïṩlíḍé">
              <a:extLst>
                <a:ext uri="{FF2B5EF4-FFF2-40B4-BE49-F238E27FC236}">
                  <a16:creationId xmlns:a16="http://schemas.microsoft.com/office/drawing/2014/main" id="{9CCD9BC8-413C-444E-8148-4DAB8115F0F7}"/>
                </a:ext>
              </a:extLst>
            </p:cNvPr>
            <p:cNvSpPr txBox="1"/>
            <p:nvPr/>
          </p:nvSpPr>
          <p:spPr>
            <a:xfrm>
              <a:off x="6411231" y="2395338"/>
              <a:ext cx="1774512" cy="62664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 fontScale="92500"/>
            </a:bodyPr>
            <a:lstStyle/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  <a:endParaRPr lang="zh-CN" altLang="en-US" sz="1100" dirty="0"/>
            </a:p>
          </p:txBody>
        </p:sp>
        <p:sp>
          <p:nvSpPr>
            <p:cNvPr id="9" name="ï$ḷîḓê">
              <a:extLst>
                <a:ext uri="{FF2B5EF4-FFF2-40B4-BE49-F238E27FC236}">
                  <a16:creationId xmlns:a16="http://schemas.microsoft.com/office/drawing/2014/main" id="{C900BCC3-C652-455E-82DA-4313DF6CFF97}"/>
                </a:ext>
              </a:extLst>
            </p:cNvPr>
            <p:cNvSpPr/>
            <p:nvPr/>
          </p:nvSpPr>
          <p:spPr>
            <a:xfrm>
              <a:off x="6411230" y="2058732"/>
              <a:ext cx="1774513" cy="325410"/>
            </a:xfrm>
            <a:prstGeom prst="rect">
              <a:avLst/>
            </a:prstGeom>
          </p:spPr>
          <p:txBody>
            <a:bodyPr wrap="square" lIns="91440" tIns="45720" rIns="91440" bIns="4572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10" name="íṥļiḍè">
              <a:extLst>
                <a:ext uri="{FF2B5EF4-FFF2-40B4-BE49-F238E27FC236}">
                  <a16:creationId xmlns:a16="http://schemas.microsoft.com/office/drawing/2014/main" id="{CF45C1A9-A38D-4DC7-80F1-2AD3CC9784F8}"/>
                </a:ext>
              </a:extLst>
            </p:cNvPr>
            <p:cNvSpPr txBox="1"/>
            <p:nvPr/>
          </p:nvSpPr>
          <p:spPr>
            <a:xfrm>
              <a:off x="8918888" y="2395338"/>
              <a:ext cx="1774512" cy="62664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 fontScale="92500"/>
            </a:bodyPr>
            <a:lstStyle/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  <a:r>
                <a:rPr lang="zh-CN" altLang="en-US" sz="1100" dirty="0"/>
                <a:t> </a:t>
              </a:r>
            </a:p>
          </p:txBody>
        </p:sp>
        <p:sp>
          <p:nvSpPr>
            <p:cNvPr id="11" name="ï$lídé">
              <a:extLst>
                <a:ext uri="{FF2B5EF4-FFF2-40B4-BE49-F238E27FC236}">
                  <a16:creationId xmlns:a16="http://schemas.microsoft.com/office/drawing/2014/main" id="{0613DB6A-C0BB-4832-9BD0-1BD04FCEBCB7}"/>
                </a:ext>
              </a:extLst>
            </p:cNvPr>
            <p:cNvSpPr/>
            <p:nvPr/>
          </p:nvSpPr>
          <p:spPr>
            <a:xfrm>
              <a:off x="8918887" y="2058732"/>
              <a:ext cx="1774513" cy="325410"/>
            </a:xfrm>
            <a:prstGeom prst="rect">
              <a:avLst/>
            </a:prstGeom>
          </p:spPr>
          <p:txBody>
            <a:bodyPr wrap="square" lIns="91440" tIns="45720" rIns="91440" bIns="4572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12" name="îśľiḋe">
              <a:extLst>
                <a:ext uri="{FF2B5EF4-FFF2-40B4-BE49-F238E27FC236}">
                  <a16:creationId xmlns:a16="http://schemas.microsoft.com/office/drawing/2014/main" id="{AACD66E0-0B53-4E69-A92B-C5435728E92A}"/>
                </a:ext>
              </a:extLst>
            </p:cNvPr>
            <p:cNvSpPr txBox="1"/>
            <p:nvPr/>
          </p:nvSpPr>
          <p:spPr>
            <a:xfrm>
              <a:off x="1479551" y="2395338"/>
              <a:ext cx="1774512" cy="62664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 fontScale="92500"/>
            </a:bodyPr>
            <a:lstStyle/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  <a:r>
                <a:rPr lang="zh-CN" altLang="en-US" sz="1100" dirty="0"/>
                <a:t> </a:t>
              </a:r>
            </a:p>
          </p:txBody>
        </p:sp>
        <p:sp>
          <p:nvSpPr>
            <p:cNvPr id="13" name="ïṡḷiḋé">
              <a:extLst>
                <a:ext uri="{FF2B5EF4-FFF2-40B4-BE49-F238E27FC236}">
                  <a16:creationId xmlns:a16="http://schemas.microsoft.com/office/drawing/2014/main" id="{EF8DE415-7A96-405D-BF91-DB5C269591B6}"/>
                </a:ext>
              </a:extLst>
            </p:cNvPr>
            <p:cNvSpPr/>
            <p:nvPr/>
          </p:nvSpPr>
          <p:spPr>
            <a:xfrm>
              <a:off x="1479550" y="2058732"/>
              <a:ext cx="1774513" cy="325410"/>
            </a:xfrm>
            <a:prstGeom prst="rect">
              <a:avLst/>
            </a:prstGeom>
          </p:spPr>
          <p:txBody>
            <a:bodyPr wrap="square" lIns="91440" tIns="45720" rIns="91440" bIns="4572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BC2A1220-BF21-4691-AF95-803EB91D2551}"/>
                </a:ext>
              </a:extLst>
            </p:cNvPr>
            <p:cNvCxnSpPr/>
            <p:nvPr/>
          </p:nvCxnSpPr>
          <p:spPr>
            <a:xfrm flipV="1">
              <a:off x="2672120" y="3140968"/>
              <a:ext cx="0" cy="84206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íṧļiḓé">
              <a:extLst>
                <a:ext uri="{FF2B5EF4-FFF2-40B4-BE49-F238E27FC236}">
                  <a16:creationId xmlns:a16="http://schemas.microsoft.com/office/drawing/2014/main" id="{AD19C722-4218-48EA-BACD-701AE55460B4}"/>
                </a:ext>
              </a:extLst>
            </p:cNvPr>
            <p:cNvSpPr/>
            <p:nvPr/>
          </p:nvSpPr>
          <p:spPr>
            <a:xfrm flipV="1">
              <a:off x="1193800" y="3906937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  <a:alpha val="7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" name="iṩľîḋè">
              <a:extLst>
                <a:ext uri="{FF2B5EF4-FFF2-40B4-BE49-F238E27FC236}">
                  <a16:creationId xmlns:a16="http://schemas.microsoft.com/office/drawing/2014/main" id="{0D36F1B5-6485-42CB-85A6-67D8BE7AFB97}"/>
                </a:ext>
              </a:extLst>
            </p:cNvPr>
            <p:cNvSpPr/>
            <p:nvPr/>
          </p:nvSpPr>
          <p:spPr>
            <a:xfrm flipV="1">
              <a:off x="3459819" y="3906937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7" name="iṩlïḋé">
              <a:extLst>
                <a:ext uri="{FF2B5EF4-FFF2-40B4-BE49-F238E27FC236}">
                  <a16:creationId xmlns:a16="http://schemas.microsoft.com/office/drawing/2014/main" id="{82025E6B-EBC0-4E04-BC45-B7BF5EC17416}"/>
                </a:ext>
              </a:extLst>
            </p:cNvPr>
            <p:cNvSpPr/>
            <p:nvPr/>
          </p:nvSpPr>
          <p:spPr>
            <a:xfrm flipV="1">
              <a:off x="5725836" y="3906937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8" name="ïślîḓe">
              <a:extLst>
                <a:ext uri="{FF2B5EF4-FFF2-40B4-BE49-F238E27FC236}">
                  <a16:creationId xmlns:a16="http://schemas.microsoft.com/office/drawing/2014/main" id="{FDC9CBE9-0686-4A9B-8D52-36ECA41F447B}"/>
                </a:ext>
              </a:extLst>
            </p:cNvPr>
            <p:cNvSpPr/>
            <p:nvPr/>
          </p:nvSpPr>
          <p:spPr>
            <a:xfrm flipV="1">
              <a:off x="7991855" y="3906937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  <a:alpha val="7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EC9D64D9-E75A-467E-AD91-952DD0A5EA54}"/>
                </a:ext>
              </a:extLst>
            </p:cNvPr>
            <p:cNvCxnSpPr/>
            <p:nvPr/>
          </p:nvCxnSpPr>
          <p:spPr>
            <a:xfrm flipV="1">
              <a:off x="7183676" y="3140968"/>
              <a:ext cx="0" cy="842068"/>
            </a:xfrm>
            <a:prstGeom prst="line">
              <a:avLst/>
            </a:prstGeom>
            <a:ln w="12700">
              <a:solidFill>
                <a:schemeClr val="accent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FD3B5848-43BF-445B-A282-D9B69E7510CC}"/>
                </a:ext>
              </a:extLst>
            </p:cNvPr>
            <p:cNvCxnSpPr/>
            <p:nvPr/>
          </p:nvCxnSpPr>
          <p:spPr>
            <a:xfrm flipV="1">
              <a:off x="9504561" y="3140968"/>
              <a:ext cx="0" cy="84206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71713E7B-45D8-49CD-9BAB-AED1687F0155}"/>
                </a:ext>
              </a:extLst>
            </p:cNvPr>
            <p:cNvCxnSpPr/>
            <p:nvPr/>
          </p:nvCxnSpPr>
          <p:spPr>
            <a:xfrm flipV="1">
              <a:off x="4993005" y="3140968"/>
              <a:ext cx="0" cy="842068"/>
            </a:xfrm>
            <a:prstGeom prst="line">
              <a:avLst/>
            </a:prstGeom>
            <a:ln w="12700">
              <a:solidFill>
                <a:schemeClr val="accent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ŝḻîḓè">
              <a:extLst>
                <a:ext uri="{FF2B5EF4-FFF2-40B4-BE49-F238E27FC236}">
                  <a16:creationId xmlns:a16="http://schemas.microsoft.com/office/drawing/2014/main" id="{94ACC9C2-CC17-4B7C-A1C3-A5B369A0D905}"/>
                </a:ext>
              </a:extLst>
            </p:cNvPr>
            <p:cNvSpPr/>
            <p:nvPr/>
          </p:nvSpPr>
          <p:spPr bwMode="auto">
            <a:xfrm>
              <a:off x="6943494" y="4522241"/>
              <a:ext cx="509753" cy="430778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3" name="islïďé">
              <a:extLst>
                <a:ext uri="{FF2B5EF4-FFF2-40B4-BE49-F238E27FC236}">
                  <a16:creationId xmlns:a16="http://schemas.microsoft.com/office/drawing/2014/main" id="{6C3E9B4D-8BCF-412F-A550-E1074FDE7605}"/>
                </a:ext>
              </a:extLst>
            </p:cNvPr>
            <p:cNvSpPr/>
            <p:nvPr/>
          </p:nvSpPr>
          <p:spPr bwMode="auto">
            <a:xfrm>
              <a:off x="4711876" y="4487110"/>
              <a:ext cx="592896" cy="501040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4" name="ïṧļîḋé">
              <a:extLst>
                <a:ext uri="{FF2B5EF4-FFF2-40B4-BE49-F238E27FC236}">
                  <a16:creationId xmlns:a16="http://schemas.microsoft.com/office/drawing/2014/main" id="{D77BF1F8-165F-46CD-9FC6-4CE0A85DF1EF}"/>
                </a:ext>
              </a:extLst>
            </p:cNvPr>
            <p:cNvSpPr/>
            <p:nvPr/>
          </p:nvSpPr>
          <p:spPr bwMode="auto">
            <a:xfrm>
              <a:off x="2388711" y="4498130"/>
              <a:ext cx="566817" cy="479001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5" name="iSḻiḋê">
              <a:extLst>
                <a:ext uri="{FF2B5EF4-FFF2-40B4-BE49-F238E27FC236}">
                  <a16:creationId xmlns:a16="http://schemas.microsoft.com/office/drawing/2014/main" id="{08C8DD1E-C376-4181-83E3-80119EB3FFA4}"/>
                </a:ext>
              </a:extLst>
            </p:cNvPr>
            <p:cNvSpPr/>
            <p:nvPr/>
          </p:nvSpPr>
          <p:spPr bwMode="auto">
            <a:xfrm>
              <a:off x="9192885" y="4482298"/>
              <a:ext cx="604285" cy="510664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8711217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743C648-0AD2-48E8-978E-55E9A15FF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987E0AB-CA96-415C-BA6C-188DE01C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5" name="2075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4C13701-2D64-4678-838C-A2725AB6FE77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509456"/>
            <a:ext cx="10845800" cy="4637344"/>
            <a:chOff x="673100" y="1509456"/>
            <a:chExt cx="10845800" cy="4637344"/>
          </a:xfrm>
        </p:grpSpPr>
        <p:sp>
          <p:nvSpPr>
            <p:cNvPr id="6" name="íṡľíḍè">
              <a:extLst>
                <a:ext uri="{FF2B5EF4-FFF2-40B4-BE49-F238E27FC236}">
                  <a16:creationId xmlns:a16="http://schemas.microsoft.com/office/drawing/2014/main" id="{AB4A1EF4-34C6-42EE-803B-73039921766E}"/>
                </a:ext>
              </a:extLst>
            </p:cNvPr>
            <p:cNvSpPr/>
            <p:nvPr/>
          </p:nvSpPr>
          <p:spPr>
            <a:xfrm>
              <a:off x="4840177" y="1509456"/>
              <a:ext cx="2510877" cy="2511645"/>
            </a:xfrm>
            <a:prstGeom prst="ellipse">
              <a:avLst/>
            </a:prstGeom>
            <a:blipFill>
              <a:blip r:embed="rId2"/>
              <a:stretch>
                <a:fillRect l="-25150" r="-24896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" name="ïṥḻîḑe">
              <a:extLst>
                <a:ext uri="{FF2B5EF4-FFF2-40B4-BE49-F238E27FC236}">
                  <a16:creationId xmlns:a16="http://schemas.microsoft.com/office/drawing/2014/main" id="{DCC95882-A076-47FA-89B6-E940783165BB}"/>
                </a:ext>
              </a:extLst>
            </p:cNvPr>
            <p:cNvSpPr/>
            <p:nvPr/>
          </p:nvSpPr>
          <p:spPr>
            <a:xfrm>
              <a:off x="5626360" y="2756814"/>
              <a:ext cx="938104" cy="207611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8" name="is1îḓè">
              <a:extLst>
                <a:ext uri="{FF2B5EF4-FFF2-40B4-BE49-F238E27FC236}">
                  <a16:creationId xmlns:a16="http://schemas.microsoft.com/office/drawing/2014/main" id="{5B507E9F-3FA1-49AA-8C91-CFEEA8622BDF}"/>
                </a:ext>
              </a:extLst>
            </p:cNvPr>
            <p:cNvSpPr/>
            <p:nvPr/>
          </p:nvSpPr>
          <p:spPr>
            <a:xfrm>
              <a:off x="4297680" y="1657648"/>
              <a:ext cx="1798320" cy="11637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795" extrusionOk="0">
                  <a:moveTo>
                    <a:pt x="0" y="898"/>
                  </a:moveTo>
                  <a:cubicBezTo>
                    <a:pt x="10286" y="-2405"/>
                    <a:pt x="18853" y="3590"/>
                    <a:pt x="21600" y="15892"/>
                  </a:cubicBezTo>
                  <a:cubicBezTo>
                    <a:pt x="11366" y="19195"/>
                    <a:pt x="2760" y="13263"/>
                    <a:pt x="0" y="8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9" name="i$liḓe">
              <a:extLst>
                <a:ext uri="{FF2B5EF4-FFF2-40B4-BE49-F238E27FC236}">
                  <a16:creationId xmlns:a16="http://schemas.microsoft.com/office/drawing/2014/main" id="{17CC9001-24A6-4690-B9B8-B18772C874CC}"/>
                </a:ext>
              </a:extLst>
            </p:cNvPr>
            <p:cNvSpPr/>
            <p:nvPr/>
          </p:nvSpPr>
          <p:spPr>
            <a:xfrm>
              <a:off x="6096000" y="1657648"/>
              <a:ext cx="1798320" cy="11637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795" extrusionOk="0">
                  <a:moveTo>
                    <a:pt x="21600" y="898"/>
                  </a:moveTo>
                  <a:cubicBezTo>
                    <a:pt x="11314" y="-2405"/>
                    <a:pt x="2734" y="3590"/>
                    <a:pt x="0" y="15892"/>
                  </a:cubicBezTo>
                  <a:cubicBezTo>
                    <a:pt x="10234" y="19195"/>
                    <a:pt x="18840" y="13263"/>
                    <a:pt x="21600" y="8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0" name="iṡḷiḓè">
              <a:extLst>
                <a:ext uri="{FF2B5EF4-FFF2-40B4-BE49-F238E27FC236}">
                  <a16:creationId xmlns:a16="http://schemas.microsoft.com/office/drawing/2014/main" id="{6391F8B8-0451-401E-963B-451A8F483A2D}"/>
                </a:ext>
              </a:extLst>
            </p:cNvPr>
            <p:cNvSpPr/>
            <p:nvPr/>
          </p:nvSpPr>
          <p:spPr>
            <a:xfrm>
              <a:off x="5618911" y="2288189"/>
              <a:ext cx="953410" cy="954179"/>
            </a:xfrm>
            <a:prstGeom prst="ellipse">
              <a:avLst/>
            </a:prstGeom>
            <a:solidFill>
              <a:srgbClr val="FFFFFF"/>
            </a:solidFill>
            <a:ln w="38100" cap="flat">
              <a:solidFill>
                <a:schemeClr val="bg1">
                  <a:lumMod val="9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grpSp>
          <p:nvGrpSpPr>
            <p:cNvPr id="11" name="íṥḷïḑè">
              <a:extLst>
                <a:ext uri="{FF2B5EF4-FFF2-40B4-BE49-F238E27FC236}">
                  <a16:creationId xmlns:a16="http://schemas.microsoft.com/office/drawing/2014/main" id="{75499F04-7DCF-4B7D-A6B0-BD210C1637C8}"/>
                </a:ext>
              </a:extLst>
            </p:cNvPr>
            <p:cNvGrpSpPr/>
            <p:nvPr/>
          </p:nvGrpSpPr>
          <p:grpSpPr>
            <a:xfrm>
              <a:off x="673100" y="2413609"/>
              <a:ext cx="3355131" cy="1111889"/>
              <a:chOff x="669925" y="3161137"/>
              <a:chExt cx="3093055" cy="1111889"/>
            </a:xfrm>
          </p:grpSpPr>
          <p:sp>
            <p:nvSpPr>
              <p:cNvPr id="21" name="ïṣlíḓè">
                <a:extLst>
                  <a:ext uri="{FF2B5EF4-FFF2-40B4-BE49-F238E27FC236}">
                    <a16:creationId xmlns:a16="http://schemas.microsoft.com/office/drawing/2014/main" id="{45BA744E-E231-4B61-A27F-8222AB34A802}"/>
                  </a:ext>
                </a:extLst>
              </p:cNvPr>
              <p:cNvSpPr/>
              <p:nvPr/>
            </p:nvSpPr>
            <p:spPr bwMode="auto">
              <a:xfrm>
                <a:off x="669925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" name="íṡ1íḋê">
                <a:extLst>
                  <a:ext uri="{FF2B5EF4-FFF2-40B4-BE49-F238E27FC236}">
                    <a16:creationId xmlns:a16="http://schemas.microsoft.com/office/drawing/2014/main" id="{AA922A3B-43B8-4A8B-B2C9-6E91BCF198E1}"/>
                  </a:ext>
                </a:extLst>
              </p:cNvPr>
              <p:cNvSpPr txBox="1"/>
              <p:nvPr/>
            </p:nvSpPr>
            <p:spPr bwMode="auto">
              <a:xfrm>
                <a:off x="669925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2" name="ï$liḑé">
              <a:extLst>
                <a:ext uri="{FF2B5EF4-FFF2-40B4-BE49-F238E27FC236}">
                  <a16:creationId xmlns:a16="http://schemas.microsoft.com/office/drawing/2014/main" id="{DE73DB25-E5FB-426D-A82F-DBB2848CF4A3}"/>
                </a:ext>
              </a:extLst>
            </p:cNvPr>
            <p:cNvGrpSpPr/>
            <p:nvPr/>
          </p:nvGrpSpPr>
          <p:grpSpPr>
            <a:xfrm>
              <a:off x="8163769" y="2413609"/>
              <a:ext cx="3355131" cy="1111889"/>
              <a:chOff x="8429020" y="3161137"/>
              <a:chExt cx="3093055" cy="1111889"/>
            </a:xfrm>
          </p:grpSpPr>
          <p:sp>
            <p:nvSpPr>
              <p:cNvPr id="19" name="ïṧľîḑe">
                <a:extLst>
                  <a:ext uri="{FF2B5EF4-FFF2-40B4-BE49-F238E27FC236}">
                    <a16:creationId xmlns:a16="http://schemas.microsoft.com/office/drawing/2014/main" id="{A4D550C7-553B-489E-9C86-15720A019E3F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" name="îṩ1íďè">
                <a:extLst>
                  <a:ext uri="{FF2B5EF4-FFF2-40B4-BE49-F238E27FC236}">
                    <a16:creationId xmlns:a16="http://schemas.microsoft.com/office/drawing/2014/main" id="{AF5E75DA-7B69-4845-9631-F15FCBC757B6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3" name="iṩḻíḓê">
              <a:extLst>
                <a:ext uri="{FF2B5EF4-FFF2-40B4-BE49-F238E27FC236}">
                  <a16:creationId xmlns:a16="http://schemas.microsoft.com/office/drawing/2014/main" id="{D849D682-DDF1-4CC6-A52A-06E0D31331EB}"/>
                </a:ext>
              </a:extLst>
            </p:cNvPr>
            <p:cNvGrpSpPr/>
            <p:nvPr/>
          </p:nvGrpSpPr>
          <p:grpSpPr>
            <a:xfrm>
              <a:off x="4556635" y="5034911"/>
              <a:ext cx="3078730" cy="1111889"/>
              <a:chOff x="5257670" y="3965163"/>
              <a:chExt cx="2560820" cy="1111889"/>
            </a:xfrm>
          </p:grpSpPr>
          <p:sp>
            <p:nvSpPr>
              <p:cNvPr id="17" name="ïṡļídê">
                <a:extLst>
                  <a:ext uri="{FF2B5EF4-FFF2-40B4-BE49-F238E27FC236}">
                    <a16:creationId xmlns:a16="http://schemas.microsoft.com/office/drawing/2014/main" id="{6A8B246B-EA64-4AE8-9FE5-A94B452737D6}"/>
                  </a:ext>
                </a:extLst>
              </p:cNvPr>
              <p:cNvSpPr/>
              <p:nvPr/>
            </p:nvSpPr>
            <p:spPr bwMode="auto">
              <a:xfrm>
                <a:off x="5257670" y="4352761"/>
                <a:ext cx="2560820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" name="îṣḷîḓê">
                <a:extLst>
                  <a:ext uri="{FF2B5EF4-FFF2-40B4-BE49-F238E27FC236}">
                    <a16:creationId xmlns:a16="http://schemas.microsoft.com/office/drawing/2014/main" id="{3E214252-82E7-4763-AD42-8D38FC87C27D}"/>
                  </a:ext>
                </a:extLst>
              </p:cNvPr>
              <p:cNvSpPr txBox="1"/>
              <p:nvPr/>
            </p:nvSpPr>
            <p:spPr bwMode="auto">
              <a:xfrm>
                <a:off x="5257670" y="3965163"/>
                <a:ext cx="2560820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14" name="ïŝlîdè">
              <a:extLst>
                <a:ext uri="{FF2B5EF4-FFF2-40B4-BE49-F238E27FC236}">
                  <a16:creationId xmlns:a16="http://schemas.microsoft.com/office/drawing/2014/main" id="{BF654485-D3C6-46EA-9619-FDD36D674AE3}"/>
                </a:ext>
              </a:extLst>
            </p:cNvPr>
            <p:cNvSpPr/>
            <p:nvPr/>
          </p:nvSpPr>
          <p:spPr bwMode="auto">
            <a:xfrm>
              <a:off x="6787859" y="2040141"/>
              <a:ext cx="414602" cy="398730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5" name="iṧḻídê">
              <a:extLst>
                <a:ext uri="{FF2B5EF4-FFF2-40B4-BE49-F238E27FC236}">
                  <a16:creationId xmlns:a16="http://schemas.microsoft.com/office/drawing/2014/main" id="{78442240-5038-46F3-9BF9-15EEDB14AEA9}"/>
                </a:ext>
              </a:extLst>
            </p:cNvPr>
            <p:cNvSpPr/>
            <p:nvPr/>
          </p:nvSpPr>
          <p:spPr bwMode="auto">
            <a:xfrm>
              <a:off x="4964677" y="2051590"/>
              <a:ext cx="464328" cy="375830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16" name="ïṣḷîḑè">
              <a:extLst>
                <a:ext uri="{FF2B5EF4-FFF2-40B4-BE49-F238E27FC236}">
                  <a16:creationId xmlns:a16="http://schemas.microsoft.com/office/drawing/2014/main" id="{D4DD0E94-D62E-4589-9A9F-2C1582F22DF7}"/>
                </a:ext>
              </a:extLst>
            </p:cNvPr>
            <p:cNvSpPr/>
            <p:nvPr/>
          </p:nvSpPr>
          <p:spPr bwMode="auto">
            <a:xfrm>
              <a:off x="5891626" y="3616974"/>
              <a:ext cx="407574" cy="355792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pPr algn="ctr"/>
              <a:endParaRPr lang="zh-CN" altLang="en-US" sz="2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9896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2006EC-A3C6-4336-AEFB-1F96C4338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9F5E12-93AC-4FAB-8F7E-F4452482C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2042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1CF7DEC-FB01-4D95-B797-C54FF416B2A8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93043"/>
            <a:ext cx="12172950" cy="4910650"/>
            <a:chOff x="0" y="1193043"/>
            <a:chExt cx="12172950" cy="491065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97600E8F-2E69-4C52-9619-D4B534718BA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267743"/>
              <a:ext cx="2794002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1938D234-B630-43DC-B3EF-860D04274DF5}"/>
                </a:ext>
              </a:extLst>
            </p:cNvPr>
            <p:cNvCxnSpPr>
              <a:cxnSpLocks/>
            </p:cNvCxnSpPr>
            <p:nvPr/>
          </p:nvCxnSpPr>
          <p:spPr>
            <a:xfrm>
              <a:off x="5387725" y="4104846"/>
              <a:ext cx="1990782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4FF8E6DA-0D51-4B97-84E8-A37D08FD48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4969" y="4104846"/>
              <a:ext cx="313719" cy="602096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A5EA27AB-EC82-469F-B92F-E398AFBB117B}"/>
                </a:ext>
              </a:extLst>
            </p:cNvPr>
            <p:cNvCxnSpPr>
              <a:cxnSpLocks/>
            </p:cNvCxnSpPr>
            <p:nvPr/>
          </p:nvCxnSpPr>
          <p:spPr>
            <a:xfrm>
              <a:off x="3091379" y="4703757"/>
              <a:ext cx="1993590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CD9D3312-2B24-4CA2-8D88-3402EF0105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1430" y="4703757"/>
              <a:ext cx="313719" cy="602096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4FB41DA3-BEBA-4179-B01D-22736986049F}"/>
                </a:ext>
              </a:extLst>
            </p:cNvPr>
            <p:cNvCxnSpPr>
              <a:cxnSpLocks/>
            </p:cNvCxnSpPr>
            <p:nvPr/>
          </p:nvCxnSpPr>
          <p:spPr>
            <a:xfrm>
              <a:off x="7662843" y="3526559"/>
              <a:ext cx="4510107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F2448993-C7F1-4AAC-8F1B-C5CD7F8C65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60088" y="3526559"/>
              <a:ext cx="313719" cy="602096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î$ḻiḓe">
              <a:extLst>
                <a:ext uri="{FF2B5EF4-FFF2-40B4-BE49-F238E27FC236}">
                  <a16:creationId xmlns:a16="http://schemas.microsoft.com/office/drawing/2014/main" id="{66FE07A8-DBED-41B2-A20E-9008467C6043}"/>
                </a:ext>
              </a:extLst>
            </p:cNvPr>
            <p:cNvSpPr/>
            <p:nvPr/>
          </p:nvSpPr>
          <p:spPr>
            <a:xfrm>
              <a:off x="9701538" y="3432195"/>
              <a:ext cx="135878" cy="13587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ED046682-C9A5-4171-88CC-DC9C6D53455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84135" y="4059654"/>
              <a:ext cx="684666" cy="156645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ïśľíḓê">
              <a:extLst>
                <a:ext uri="{FF2B5EF4-FFF2-40B4-BE49-F238E27FC236}">
                  <a16:creationId xmlns:a16="http://schemas.microsoft.com/office/drawing/2014/main" id="{168F40A7-CBE2-418D-BD87-4D9DCACF858C}"/>
                </a:ext>
              </a:extLst>
            </p:cNvPr>
            <p:cNvSpPr/>
            <p:nvPr/>
          </p:nvSpPr>
          <p:spPr>
            <a:xfrm>
              <a:off x="2724250" y="5188598"/>
              <a:ext cx="135878" cy="13587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" name="işḻïḍè">
              <a:extLst>
                <a:ext uri="{FF2B5EF4-FFF2-40B4-BE49-F238E27FC236}">
                  <a16:creationId xmlns:a16="http://schemas.microsoft.com/office/drawing/2014/main" id="{45857D1C-5801-4CA1-9EE9-1C9BCCF95DC9}"/>
                </a:ext>
              </a:extLst>
            </p:cNvPr>
            <p:cNvSpPr/>
            <p:nvPr/>
          </p:nvSpPr>
          <p:spPr>
            <a:xfrm>
              <a:off x="1979557" y="3805381"/>
              <a:ext cx="755703" cy="75570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EC476A4F-A0AA-47E3-BE1F-97C9C5FB1761}"/>
                </a:ext>
              </a:extLst>
            </p:cNvPr>
            <p:cNvCxnSpPr>
              <a:cxnSpLocks/>
            </p:cNvCxnSpPr>
            <p:nvPr/>
          </p:nvCxnSpPr>
          <p:spPr>
            <a:xfrm rot="10904570" flipH="1" flipV="1">
              <a:off x="4872565" y="4241690"/>
              <a:ext cx="684666" cy="156645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íśḷïḓé">
              <a:extLst>
                <a:ext uri="{FF2B5EF4-FFF2-40B4-BE49-F238E27FC236}">
                  <a16:creationId xmlns:a16="http://schemas.microsoft.com/office/drawing/2014/main" id="{528AFFBB-4719-48D7-B1C5-372599A2C8F0}"/>
                </a:ext>
              </a:extLst>
            </p:cNvPr>
            <p:cNvSpPr/>
            <p:nvPr/>
          </p:nvSpPr>
          <p:spPr>
            <a:xfrm rot="171317">
              <a:off x="5002577" y="4606170"/>
              <a:ext cx="135878" cy="13587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Autofit/>
            </a:bodyPr>
            <a:lstStyle/>
            <a:p>
              <a:pPr algn="ctr"/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" name="iŝḷiďè">
              <a:extLst>
                <a:ext uri="{FF2B5EF4-FFF2-40B4-BE49-F238E27FC236}">
                  <a16:creationId xmlns:a16="http://schemas.microsoft.com/office/drawing/2014/main" id="{CB959AEF-A888-4BE7-8EC8-F39469098B29}"/>
                </a:ext>
              </a:extLst>
            </p:cNvPr>
            <p:cNvSpPr/>
            <p:nvPr/>
          </p:nvSpPr>
          <p:spPr>
            <a:xfrm rot="10695430" flipV="1">
              <a:off x="5085920" y="5314589"/>
              <a:ext cx="755703" cy="75570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FFFC9DC0-A260-4499-B08F-C7DD38B9F54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66743" y="2923086"/>
              <a:ext cx="684666" cy="156645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iṥ1îdê">
              <a:extLst>
                <a:ext uri="{FF2B5EF4-FFF2-40B4-BE49-F238E27FC236}">
                  <a16:creationId xmlns:a16="http://schemas.microsoft.com/office/drawing/2014/main" id="{5B5366D4-AB83-40AC-ADC9-15E58E75FAC5}"/>
                </a:ext>
              </a:extLst>
            </p:cNvPr>
            <p:cNvSpPr/>
            <p:nvPr/>
          </p:nvSpPr>
          <p:spPr>
            <a:xfrm rot="183234">
              <a:off x="7288102" y="4036073"/>
              <a:ext cx="135878" cy="13587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" name="í$ľiḑe">
              <a:extLst>
                <a:ext uri="{FF2B5EF4-FFF2-40B4-BE49-F238E27FC236}">
                  <a16:creationId xmlns:a16="http://schemas.microsoft.com/office/drawing/2014/main" id="{3882A387-5BEF-4DA0-A1CB-B84BF97C90A7}"/>
                </a:ext>
              </a:extLst>
            </p:cNvPr>
            <p:cNvSpPr/>
            <p:nvPr/>
          </p:nvSpPr>
          <p:spPr>
            <a:xfrm>
              <a:off x="6562165" y="2668813"/>
              <a:ext cx="755703" cy="75570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işḻîḋe">
              <a:extLst>
                <a:ext uri="{FF2B5EF4-FFF2-40B4-BE49-F238E27FC236}">
                  <a16:creationId xmlns:a16="http://schemas.microsoft.com/office/drawing/2014/main" id="{C33024A7-50AB-4547-B3E2-570891330268}"/>
                </a:ext>
              </a:extLst>
            </p:cNvPr>
            <p:cNvSpPr/>
            <p:nvPr/>
          </p:nvSpPr>
          <p:spPr bwMode="auto">
            <a:xfrm>
              <a:off x="10121220" y="2353173"/>
              <a:ext cx="1044321" cy="1139825"/>
            </a:xfrm>
            <a:custGeom>
              <a:avLst/>
              <a:gdLst>
                <a:gd name="connsiteX0" fmla="*/ 243589 w 557114"/>
                <a:gd name="connsiteY0" fmla="*/ 355438 h 608062"/>
                <a:gd name="connsiteX1" fmla="*/ 277656 w 557114"/>
                <a:gd name="connsiteY1" fmla="*/ 355438 h 608062"/>
                <a:gd name="connsiteX2" fmla="*/ 277940 w 557114"/>
                <a:gd name="connsiteY2" fmla="*/ 355438 h 608062"/>
                <a:gd name="connsiteX3" fmla="*/ 278604 w 557114"/>
                <a:gd name="connsiteY3" fmla="*/ 355438 h 608062"/>
                <a:gd name="connsiteX4" fmla="*/ 279174 w 557114"/>
                <a:gd name="connsiteY4" fmla="*/ 355438 h 608062"/>
                <a:gd name="connsiteX5" fmla="*/ 279458 w 557114"/>
                <a:gd name="connsiteY5" fmla="*/ 355438 h 608062"/>
                <a:gd name="connsiteX6" fmla="*/ 279553 w 557114"/>
                <a:gd name="connsiteY6" fmla="*/ 355438 h 608062"/>
                <a:gd name="connsiteX7" fmla="*/ 313620 w 557114"/>
                <a:gd name="connsiteY7" fmla="*/ 355438 h 608062"/>
                <a:gd name="connsiteX8" fmla="*/ 324438 w 557114"/>
                <a:gd name="connsiteY8" fmla="*/ 375432 h 608062"/>
                <a:gd name="connsiteX9" fmla="*/ 298152 w 557114"/>
                <a:gd name="connsiteY9" fmla="*/ 430202 h 608062"/>
                <a:gd name="connsiteX10" fmla="*/ 301948 w 557114"/>
                <a:gd name="connsiteY10" fmla="*/ 510272 h 608062"/>
                <a:gd name="connsiteX11" fmla="*/ 356891 w 557114"/>
                <a:gd name="connsiteY11" fmla="*/ 389172 h 608062"/>
                <a:gd name="connsiteX12" fmla="*/ 356986 w 557114"/>
                <a:gd name="connsiteY12" fmla="*/ 389172 h 608062"/>
                <a:gd name="connsiteX13" fmla="*/ 376628 w 557114"/>
                <a:gd name="connsiteY13" fmla="*/ 375337 h 608062"/>
                <a:gd name="connsiteX14" fmla="*/ 383556 w 557114"/>
                <a:gd name="connsiteY14" fmla="*/ 376474 h 608062"/>
                <a:gd name="connsiteX15" fmla="*/ 383745 w 557114"/>
                <a:gd name="connsiteY15" fmla="*/ 376569 h 608062"/>
                <a:gd name="connsiteX16" fmla="*/ 518588 w 557114"/>
                <a:gd name="connsiteY16" fmla="*/ 438920 h 608062"/>
                <a:gd name="connsiteX17" fmla="*/ 557114 w 557114"/>
                <a:gd name="connsiteY17" fmla="*/ 482224 h 608062"/>
                <a:gd name="connsiteX18" fmla="*/ 557114 w 557114"/>
                <a:gd name="connsiteY18" fmla="*/ 608062 h 608062"/>
                <a:gd name="connsiteX19" fmla="*/ 279743 w 557114"/>
                <a:gd name="connsiteY19" fmla="*/ 608062 h 608062"/>
                <a:gd name="connsiteX20" fmla="*/ 279458 w 557114"/>
                <a:gd name="connsiteY20" fmla="*/ 608062 h 608062"/>
                <a:gd name="connsiteX21" fmla="*/ 279364 w 557114"/>
                <a:gd name="connsiteY21" fmla="*/ 608062 h 608062"/>
                <a:gd name="connsiteX22" fmla="*/ 279174 w 557114"/>
                <a:gd name="connsiteY22" fmla="*/ 608062 h 608062"/>
                <a:gd name="connsiteX23" fmla="*/ 278984 w 557114"/>
                <a:gd name="connsiteY23" fmla="*/ 608062 h 608062"/>
                <a:gd name="connsiteX24" fmla="*/ 278604 w 557114"/>
                <a:gd name="connsiteY24" fmla="*/ 608062 h 608062"/>
                <a:gd name="connsiteX25" fmla="*/ 278130 w 557114"/>
                <a:gd name="connsiteY25" fmla="*/ 608062 h 608062"/>
                <a:gd name="connsiteX26" fmla="*/ 277940 w 557114"/>
                <a:gd name="connsiteY26" fmla="*/ 608062 h 608062"/>
                <a:gd name="connsiteX27" fmla="*/ 277845 w 557114"/>
                <a:gd name="connsiteY27" fmla="*/ 608062 h 608062"/>
                <a:gd name="connsiteX28" fmla="*/ 277750 w 557114"/>
                <a:gd name="connsiteY28" fmla="*/ 608062 h 608062"/>
                <a:gd name="connsiteX29" fmla="*/ 277656 w 557114"/>
                <a:gd name="connsiteY29" fmla="*/ 608062 h 608062"/>
                <a:gd name="connsiteX30" fmla="*/ 277371 w 557114"/>
                <a:gd name="connsiteY30" fmla="*/ 608062 h 608062"/>
                <a:gd name="connsiteX31" fmla="*/ 0 w 557114"/>
                <a:gd name="connsiteY31" fmla="*/ 608062 h 608062"/>
                <a:gd name="connsiteX32" fmla="*/ 0 w 557114"/>
                <a:gd name="connsiteY32" fmla="*/ 482224 h 608062"/>
                <a:gd name="connsiteX33" fmla="*/ 38621 w 557114"/>
                <a:gd name="connsiteY33" fmla="*/ 438920 h 608062"/>
                <a:gd name="connsiteX34" fmla="*/ 173464 w 557114"/>
                <a:gd name="connsiteY34" fmla="*/ 376569 h 608062"/>
                <a:gd name="connsiteX35" fmla="*/ 173558 w 557114"/>
                <a:gd name="connsiteY35" fmla="*/ 376474 h 608062"/>
                <a:gd name="connsiteX36" fmla="*/ 180486 w 557114"/>
                <a:gd name="connsiteY36" fmla="*/ 375337 h 608062"/>
                <a:gd name="connsiteX37" fmla="*/ 200223 w 557114"/>
                <a:gd name="connsiteY37" fmla="*/ 389172 h 608062"/>
                <a:gd name="connsiteX38" fmla="*/ 255166 w 557114"/>
                <a:gd name="connsiteY38" fmla="*/ 510272 h 608062"/>
                <a:gd name="connsiteX39" fmla="*/ 258962 w 557114"/>
                <a:gd name="connsiteY39" fmla="*/ 430202 h 608062"/>
                <a:gd name="connsiteX40" fmla="*/ 232676 w 557114"/>
                <a:gd name="connsiteY40" fmla="*/ 375432 h 608062"/>
                <a:gd name="connsiteX41" fmla="*/ 243589 w 557114"/>
                <a:gd name="connsiteY41" fmla="*/ 355438 h 608062"/>
                <a:gd name="connsiteX42" fmla="*/ 276250 w 557114"/>
                <a:gd name="connsiteY42" fmla="*/ 0 h 608062"/>
                <a:gd name="connsiteX43" fmla="*/ 277674 w 557114"/>
                <a:gd name="connsiteY43" fmla="*/ 0 h 608062"/>
                <a:gd name="connsiteX44" fmla="*/ 277863 w 557114"/>
                <a:gd name="connsiteY44" fmla="*/ 0 h 608062"/>
                <a:gd name="connsiteX45" fmla="*/ 277958 w 557114"/>
                <a:gd name="connsiteY45" fmla="*/ 0 h 608062"/>
                <a:gd name="connsiteX46" fmla="*/ 279382 w 557114"/>
                <a:gd name="connsiteY46" fmla="*/ 0 h 608062"/>
                <a:gd name="connsiteX47" fmla="*/ 402570 w 557114"/>
                <a:gd name="connsiteY47" fmla="*/ 104895 h 608062"/>
                <a:gd name="connsiteX48" fmla="*/ 394693 w 557114"/>
                <a:gd name="connsiteY48" fmla="*/ 159001 h 608062"/>
                <a:gd name="connsiteX49" fmla="*/ 405892 w 557114"/>
                <a:gd name="connsiteY49" fmla="*/ 184774 h 608062"/>
                <a:gd name="connsiteX50" fmla="*/ 377040 w 557114"/>
                <a:gd name="connsiteY50" fmla="*/ 236890 h 608062"/>
                <a:gd name="connsiteX51" fmla="*/ 315731 w 557114"/>
                <a:gd name="connsiteY51" fmla="*/ 311274 h 608062"/>
                <a:gd name="connsiteX52" fmla="*/ 277958 w 557114"/>
                <a:gd name="connsiteY52" fmla="*/ 319707 h 608062"/>
                <a:gd name="connsiteX53" fmla="*/ 277958 w 557114"/>
                <a:gd name="connsiteY53" fmla="*/ 319802 h 608062"/>
                <a:gd name="connsiteX54" fmla="*/ 277863 w 557114"/>
                <a:gd name="connsiteY54" fmla="*/ 319802 h 608062"/>
                <a:gd name="connsiteX55" fmla="*/ 277674 w 557114"/>
                <a:gd name="connsiteY55" fmla="*/ 319802 h 608062"/>
                <a:gd name="connsiteX56" fmla="*/ 277674 w 557114"/>
                <a:gd name="connsiteY56" fmla="*/ 319707 h 608062"/>
                <a:gd name="connsiteX57" fmla="*/ 239901 w 557114"/>
                <a:gd name="connsiteY57" fmla="*/ 311274 h 608062"/>
                <a:gd name="connsiteX58" fmla="*/ 178592 w 557114"/>
                <a:gd name="connsiteY58" fmla="*/ 236890 h 608062"/>
                <a:gd name="connsiteX59" fmla="*/ 149740 w 557114"/>
                <a:gd name="connsiteY59" fmla="*/ 184774 h 608062"/>
                <a:gd name="connsiteX60" fmla="*/ 161034 w 557114"/>
                <a:gd name="connsiteY60" fmla="*/ 159001 h 608062"/>
                <a:gd name="connsiteX61" fmla="*/ 153062 w 557114"/>
                <a:gd name="connsiteY61" fmla="*/ 104895 h 608062"/>
                <a:gd name="connsiteX62" fmla="*/ 276250 w 557114"/>
                <a:gd name="connsiteY62" fmla="*/ 0 h 60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557114" h="608062">
                  <a:moveTo>
                    <a:pt x="243589" y="355438"/>
                  </a:moveTo>
                  <a:lnTo>
                    <a:pt x="277656" y="355438"/>
                  </a:lnTo>
                  <a:lnTo>
                    <a:pt x="277940" y="355438"/>
                  </a:lnTo>
                  <a:lnTo>
                    <a:pt x="278604" y="355438"/>
                  </a:lnTo>
                  <a:lnTo>
                    <a:pt x="279174" y="355438"/>
                  </a:lnTo>
                  <a:lnTo>
                    <a:pt x="279458" y="355438"/>
                  </a:lnTo>
                  <a:lnTo>
                    <a:pt x="279553" y="355438"/>
                  </a:lnTo>
                  <a:lnTo>
                    <a:pt x="313620" y="355438"/>
                  </a:lnTo>
                  <a:cubicBezTo>
                    <a:pt x="325007" y="355438"/>
                    <a:pt x="330511" y="364630"/>
                    <a:pt x="324438" y="375432"/>
                  </a:cubicBezTo>
                  <a:cubicBezTo>
                    <a:pt x="321781" y="379980"/>
                    <a:pt x="298152" y="430202"/>
                    <a:pt x="298152" y="430202"/>
                  </a:cubicBezTo>
                  <a:lnTo>
                    <a:pt x="301948" y="510272"/>
                  </a:lnTo>
                  <a:cubicBezTo>
                    <a:pt x="317700" y="481655"/>
                    <a:pt x="343131" y="422432"/>
                    <a:pt x="356891" y="389172"/>
                  </a:cubicBezTo>
                  <a:cubicBezTo>
                    <a:pt x="356891" y="389172"/>
                    <a:pt x="356891" y="389172"/>
                    <a:pt x="356986" y="389172"/>
                  </a:cubicBezTo>
                  <a:cubicBezTo>
                    <a:pt x="359832" y="381117"/>
                    <a:pt x="367519" y="375337"/>
                    <a:pt x="376628" y="375337"/>
                  </a:cubicBezTo>
                  <a:cubicBezTo>
                    <a:pt x="379096" y="375337"/>
                    <a:pt x="381373" y="375716"/>
                    <a:pt x="383556" y="376474"/>
                  </a:cubicBezTo>
                  <a:cubicBezTo>
                    <a:pt x="383650" y="376474"/>
                    <a:pt x="383650" y="376474"/>
                    <a:pt x="383745" y="376569"/>
                  </a:cubicBezTo>
                  <a:cubicBezTo>
                    <a:pt x="387446" y="377706"/>
                    <a:pt x="464973" y="411724"/>
                    <a:pt x="518588" y="438920"/>
                  </a:cubicBezTo>
                  <a:cubicBezTo>
                    <a:pt x="542595" y="451049"/>
                    <a:pt x="557114" y="466305"/>
                    <a:pt x="557114" y="482224"/>
                  </a:cubicBezTo>
                  <a:lnTo>
                    <a:pt x="557114" y="608062"/>
                  </a:lnTo>
                  <a:lnTo>
                    <a:pt x="279743" y="608062"/>
                  </a:lnTo>
                  <a:lnTo>
                    <a:pt x="279458" y="608062"/>
                  </a:lnTo>
                  <a:lnTo>
                    <a:pt x="279364" y="608062"/>
                  </a:lnTo>
                  <a:lnTo>
                    <a:pt x="279174" y="608062"/>
                  </a:lnTo>
                  <a:lnTo>
                    <a:pt x="278984" y="608062"/>
                  </a:lnTo>
                  <a:lnTo>
                    <a:pt x="278604" y="608062"/>
                  </a:lnTo>
                  <a:lnTo>
                    <a:pt x="278130" y="608062"/>
                  </a:lnTo>
                  <a:lnTo>
                    <a:pt x="277940" y="608062"/>
                  </a:lnTo>
                  <a:lnTo>
                    <a:pt x="277845" y="608062"/>
                  </a:lnTo>
                  <a:lnTo>
                    <a:pt x="277750" y="608062"/>
                  </a:lnTo>
                  <a:lnTo>
                    <a:pt x="277656" y="608062"/>
                  </a:lnTo>
                  <a:lnTo>
                    <a:pt x="277371" y="608062"/>
                  </a:lnTo>
                  <a:lnTo>
                    <a:pt x="0" y="608062"/>
                  </a:lnTo>
                  <a:lnTo>
                    <a:pt x="0" y="482224"/>
                  </a:lnTo>
                  <a:cubicBezTo>
                    <a:pt x="0" y="466305"/>
                    <a:pt x="14519" y="451049"/>
                    <a:pt x="38621" y="438920"/>
                  </a:cubicBezTo>
                  <a:cubicBezTo>
                    <a:pt x="92141" y="411724"/>
                    <a:pt x="169668" y="377706"/>
                    <a:pt x="173464" y="376569"/>
                  </a:cubicBezTo>
                  <a:cubicBezTo>
                    <a:pt x="173464" y="376474"/>
                    <a:pt x="173464" y="376474"/>
                    <a:pt x="173558" y="376474"/>
                  </a:cubicBezTo>
                  <a:cubicBezTo>
                    <a:pt x="175741" y="375716"/>
                    <a:pt x="178018" y="375337"/>
                    <a:pt x="180486" y="375337"/>
                  </a:cubicBezTo>
                  <a:cubicBezTo>
                    <a:pt x="189595" y="375337"/>
                    <a:pt x="197282" y="381117"/>
                    <a:pt x="200223" y="389172"/>
                  </a:cubicBezTo>
                  <a:cubicBezTo>
                    <a:pt x="214078" y="422432"/>
                    <a:pt x="239414" y="481655"/>
                    <a:pt x="255166" y="510272"/>
                  </a:cubicBezTo>
                  <a:lnTo>
                    <a:pt x="258962" y="430202"/>
                  </a:lnTo>
                  <a:cubicBezTo>
                    <a:pt x="258962" y="430202"/>
                    <a:pt x="235333" y="379980"/>
                    <a:pt x="232676" y="375432"/>
                  </a:cubicBezTo>
                  <a:cubicBezTo>
                    <a:pt x="226603" y="364630"/>
                    <a:pt x="232107" y="355438"/>
                    <a:pt x="243589" y="355438"/>
                  </a:cubicBezTo>
                  <a:close/>
                  <a:moveTo>
                    <a:pt x="276250" y="0"/>
                  </a:moveTo>
                  <a:cubicBezTo>
                    <a:pt x="276725" y="0"/>
                    <a:pt x="277199" y="0"/>
                    <a:pt x="277674" y="0"/>
                  </a:cubicBezTo>
                  <a:cubicBezTo>
                    <a:pt x="277769" y="0"/>
                    <a:pt x="277769" y="0"/>
                    <a:pt x="277863" y="0"/>
                  </a:cubicBezTo>
                  <a:cubicBezTo>
                    <a:pt x="277863" y="0"/>
                    <a:pt x="277863" y="0"/>
                    <a:pt x="277958" y="0"/>
                  </a:cubicBezTo>
                  <a:cubicBezTo>
                    <a:pt x="278433" y="0"/>
                    <a:pt x="278907" y="0"/>
                    <a:pt x="279382" y="0"/>
                  </a:cubicBezTo>
                  <a:cubicBezTo>
                    <a:pt x="385487" y="0"/>
                    <a:pt x="405417" y="75615"/>
                    <a:pt x="402570" y="104895"/>
                  </a:cubicBezTo>
                  <a:cubicBezTo>
                    <a:pt x="400387" y="128395"/>
                    <a:pt x="394693" y="159001"/>
                    <a:pt x="394693" y="159001"/>
                  </a:cubicBezTo>
                  <a:cubicBezTo>
                    <a:pt x="394693" y="159001"/>
                    <a:pt x="405892" y="164118"/>
                    <a:pt x="405892" y="184774"/>
                  </a:cubicBezTo>
                  <a:cubicBezTo>
                    <a:pt x="402001" y="236511"/>
                    <a:pt x="381311" y="214149"/>
                    <a:pt x="377040" y="236890"/>
                  </a:cubicBezTo>
                  <a:cubicBezTo>
                    <a:pt x="370017" y="274603"/>
                    <a:pt x="336610" y="301893"/>
                    <a:pt x="315731" y="311274"/>
                  </a:cubicBezTo>
                  <a:cubicBezTo>
                    <a:pt x="303583" y="316770"/>
                    <a:pt x="291055" y="319518"/>
                    <a:pt x="277958" y="319707"/>
                  </a:cubicBezTo>
                  <a:lnTo>
                    <a:pt x="277958" y="319802"/>
                  </a:lnTo>
                  <a:cubicBezTo>
                    <a:pt x="277863" y="319802"/>
                    <a:pt x="277863" y="319802"/>
                    <a:pt x="277863" y="319802"/>
                  </a:cubicBezTo>
                  <a:cubicBezTo>
                    <a:pt x="277769" y="319802"/>
                    <a:pt x="277769" y="319802"/>
                    <a:pt x="277674" y="319802"/>
                  </a:cubicBezTo>
                  <a:lnTo>
                    <a:pt x="277674" y="319707"/>
                  </a:lnTo>
                  <a:cubicBezTo>
                    <a:pt x="264577" y="319518"/>
                    <a:pt x="252049" y="316770"/>
                    <a:pt x="239901" y="311274"/>
                  </a:cubicBezTo>
                  <a:cubicBezTo>
                    <a:pt x="219022" y="301893"/>
                    <a:pt x="185615" y="274603"/>
                    <a:pt x="178592" y="236890"/>
                  </a:cubicBezTo>
                  <a:cubicBezTo>
                    <a:pt x="174321" y="214149"/>
                    <a:pt x="153631" y="236511"/>
                    <a:pt x="149740" y="184774"/>
                  </a:cubicBezTo>
                  <a:cubicBezTo>
                    <a:pt x="149740" y="164118"/>
                    <a:pt x="161034" y="159001"/>
                    <a:pt x="161034" y="159001"/>
                  </a:cubicBezTo>
                  <a:cubicBezTo>
                    <a:pt x="161034" y="159001"/>
                    <a:pt x="155245" y="128395"/>
                    <a:pt x="153062" y="104895"/>
                  </a:cubicBezTo>
                  <a:cubicBezTo>
                    <a:pt x="150215" y="75615"/>
                    <a:pt x="170145" y="0"/>
                    <a:pt x="27625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1"/>
            </a:p>
          </p:txBody>
        </p:sp>
        <p:grpSp>
          <p:nvGrpSpPr>
            <p:cNvPr id="24" name="ï$1iďè">
              <a:extLst>
                <a:ext uri="{FF2B5EF4-FFF2-40B4-BE49-F238E27FC236}">
                  <a16:creationId xmlns:a16="http://schemas.microsoft.com/office/drawing/2014/main" id="{99AB7ADD-B56B-4828-AA3D-39CFB8CB60E9}"/>
                </a:ext>
              </a:extLst>
            </p:cNvPr>
            <p:cNvGrpSpPr/>
            <p:nvPr/>
          </p:nvGrpSpPr>
          <p:grpSpPr>
            <a:xfrm>
              <a:off x="660400" y="1193043"/>
              <a:ext cx="4377087" cy="1899399"/>
              <a:chOff x="660400" y="1193043"/>
              <a:chExt cx="4377087" cy="1899399"/>
            </a:xfrm>
          </p:grpSpPr>
          <p:sp>
            <p:nvSpPr>
              <p:cNvPr id="38" name="ïsliḋê">
                <a:extLst>
                  <a:ext uri="{FF2B5EF4-FFF2-40B4-BE49-F238E27FC236}">
                    <a16:creationId xmlns:a16="http://schemas.microsoft.com/office/drawing/2014/main" id="{9E9A2684-8FFE-4709-90ED-8131EF38AC9D}"/>
                  </a:ext>
                </a:extLst>
              </p:cNvPr>
              <p:cNvSpPr/>
              <p:nvPr/>
            </p:nvSpPr>
            <p:spPr>
              <a:xfrm>
                <a:off x="660400" y="1634848"/>
                <a:ext cx="4377087" cy="14575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39" name="ïšľíďe">
                <a:extLst>
                  <a:ext uri="{FF2B5EF4-FFF2-40B4-BE49-F238E27FC236}">
                    <a16:creationId xmlns:a16="http://schemas.microsoft.com/office/drawing/2014/main" id="{B4AB7E7C-323A-41A9-8AA6-0017E59C7F85}"/>
                  </a:ext>
                </a:extLst>
              </p:cNvPr>
              <p:cNvSpPr txBox="1"/>
              <p:nvPr/>
            </p:nvSpPr>
            <p:spPr bwMode="auto">
              <a:xfrm>
                <a:off x="660400" y="1193043"/>
                <a:ext cx="437708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25" name="íŝľïde">
              <a:extLst>
                <a:ext uri="{FF2B5EF4-FFF2-40B4-BE49-F238E27FC236}">
                  <a16:creationId xmlns:a16="http://schemas.microsoft.com/office/drawing/2014/main" id="{14321F19-F17F-4C74-A2C9-2B069D5183AB}"/>
                </a:ext>
              </a:extLst>
            </p:cNvPr>
            <p:cNvSpPr/>
            <p:nvPr/>
          </p:nvSpPr>
          <p:spPr>
            <a:xfrm>
              <a:off x="2133541" y="3956901"/>
              <a:ext cx="447734" cy="452662"/>
            </a:xfrm>
            <a:custGeom>
              <a:avLst/>
              <a:gdLst>
                <a:gd name="connsiteX0" fmla="*/ 32552 w 571147"/>
                <a:gd name="connsiteY0" fmla="*/ 406999 h 577432"/>
                <a:gd name="connsiteX1" fmla="*/ 111849 w 571147"/>
                <a:gd name="connsiteY1" fmla="*/ 406999 h 577432"/>
                <a:gd name="connsiteX2" fmla="*/ 137666 w 571147"/>
                <a:gd name="connsiteY2" fmla="*/ 432794 h 577432"/>
                <a:gd name="connsiteX3" fmla="*/ 137666 w 571147"/>
                <a:gd name="connsiteY3" fmla="*/ 550715 h 577432"/>
                <a:gd name="connsiteX4" fmla="*/ 111849 w 571147"/>
                <a:gd name="connsiteY4" fmla="*/ 577432 h 577432"/>
                <a:gd name="connsiteX5" fmla="*/ 32552 w 571147"/>
                <a:gd name="connsiteY5" fmla="*/ 577432 h 577432"/>
                <a:gd name="connsiteX6" fmla="*/ 6734 w 571147"/>
                <a:gd name="connsiteY6" fmla="*/ 550715 h 577432"/>
                <a:gd name="connsiteX7" fmla="*/ 6734 w 571147"/>
                <a:gd name="connsiteY7" fmla="*/ 432794 h 577432"/>
                <a:gd name="connsiteX8" fmla="*/ 32552 w 571147"/>
                <a:gd name="connsiteY8" fmla="*/ 406999 h 577432"/>
                <a:gd name="connsiteX9" fmla="*/ 236302 w 571147"/>
                <a:gd name="connsiteY9" fmla="*/ 314976 h 577432"/>
                <a:gd name="connsiteX10" fmla="*/ 315688 w 571147"/>
                <a:gd name="connsiteY10" fmla="*/ 314976 h 577432"/>
                <a:gd name="connsiteX11" fmla="*/ 341535 w 571147"/>
                <a:gd name="connsiteY11" fmla="*/ 340761 h 577432"/>
                <a:gd name="connsiteX12" fmla="*/ 341535 w 571147"/>
                <a:gd name="connsiteY12" fmla="*/ 550726 h 577432"/>
                <a:gd name="connsiteX13" fmla="*/ 315688 w 571147"/>
                <a:gd name="connsiteY13" fmla="*/ 577432 h 577432"/>
                <a:gd name="connsiteX14" fmla="*/ 236302 w 571147"/>
                <a:gd name="connsiteY14" fmla="*/ 577432 h 577432"/>
                <a:gd name="connsiteX15" fmla="*/ 210455 w 571147"/>
                <a:gd name="connsiteY15" fmla="*/ 550726 h 577432"/>
                <a:gd name="connsiteX16" fmla="*/ 210455 w 571147"/>
                <a:gd name="connsiteY16" fmla="*/ 340761 h 577432"/>
                <a:gd name="connsiteX17" fmla="*/ 236302 w 571147"/>
                <a:gd name="connsiteY17" fmla="*/ 314976 h 577432"/>
                <a:gd name="connsiteX18" fmla="*/ 440171 w 571147"/>
                <a:gd name="connsiteY18" fmla="*/ 209935 h 577432"/>
                <a:gd name="connsiteX19" fmla="*/ 518634 w 571147"/>
                <a:gd name="connsiteY19" fmla="*/ 209935 h 577432"/>
                <a:gd name="connsiteX20" fmla="*/ 545404 w 571147"/>
                <a:gd name="connsiteY20" fmla="*/ 235724 h 577432"/>
                <a:gd name="connsiteX21" fmla="*/ 545404 w 571147"/>
                <a:gd name="connsiteY21" fmla="*/ 550722 h 577432"/>
                <a:gd name="connsiteX22" fmla="*/ 518634 w 571147"/>
                <a:gd name="connsiteY22" fmla="*/ 577432 h 577432"/>
                <a:gd name="connsiteX23" fmla="*/ 440171 w 571147"/>
                <a:gd name="connsiteY23" fmla="*/ 577432 h 577432"/>
                <a:gd name="connsiteX24" fmla="*/ 414324 w 571147"/>
                <a:gd name="connsiteY24" fmla="*/ 550722 h 577432"/>
                <a:gd name="connsiteX25" fmla="*/ 414324 w 571147"/>
                <a:gd name="connsiteY25" fmla="*/ 235724 h 577432"/>
                <a:gd name="connsiteX26" fmla="*/ 440171 w 571147"/>
                <a:gd name="connsiteY26" fmla="*/ 209935 h 577432"/>
                <a:gd name="connsiteX27" fmla="*/ 296320 w 571147"/>
                <a:gd name="connsiteY27" fmla="*/ 121530 h 577432"/>
                <a:gd name="connsiteX28" fmla="*/ 361828 w 571147"/>
                <a:gd name="connsiteY28" fmla="*/ 134423 h 577432"/>
                <a:gd name="connsiteX29" fmla="*/ 370132 w 571147"/>
                <a:gd name="connsiteY29" fmla="*/ 141791 h 577432"/>
                <a:gd name="connsiteX30" fmla="*/ 371055 w 571147"/>
                <a:gd name="connsiteY30" fmla="*/ 152843 h 577432"/>
                <a:gd name="connsiteX31" fmla="*/ 346143 w 571147"/>
                <a:gd name="connsiteY31" fmla="*/ 213626 h 577432"/>
                <a:gd name="connsiteX32" fmla="*/ 334149 w 571147"/>
                <a:gd name="connsiteY32" fmla="*/ 221915 h 577432"/>
                <a:gd name="connsiteX33" fmla="*/ 333226 w 571147"/>
                <a:gd name="connsiteY33" fmla="*/ 221915 h 577432"/>
                <a:gd name="connsiteX34" fmla="*/ 322154 w 571147"/>
                <a:gd name="connsiteY34" fmla="*/ 215468 h 577432"/>
                <a:gd name="connsiteX35" fmla="*/ 308314 w 571147"/>
                <a:gd name="connsiteY35" fmla="*/ 190602 h 577432"/>
                <a:gd name="connsiteX36" fmla="*/ 19522 w 571147"/>
                <a:gd name="connsiteY36" fmla="*/ 339798 h 577432"/>
                <a:gd name="connsiteX37" fmla="*/ 13064 w 571147"/>
                <a:gd name="connsiteY37" fmla="*/ 340719 h 577432"/>
                <a:gd name="connsiteX38" fmla="*/ 1069 w 571147"/>
                <a:gd name="connsiteY38" fmla="*/ 334272 h 577432"/>
                <a:gd name="connsiteX39" fmla="*/ 7528 w 571147"/>
                <a:gd name="connsiteY39" fmla="*/ 315853 h 577432"/>
                <a:gd name="connsiteX40" fmla="*/ 296320 w 571147"/>
                <a:gd name="connsiteY40" fmla="*/ 167578 h 577432"/>
                <a:gd name="connsiteX41" fmla="*/ 281557 w 571147"/>
                <a:gd name="connsiteY41" fmla="*/ 139949 h 577432"/>
                <a:gd name="connsiteX42" fmla="*/ 283402 w 571147"/>
                <a:gd name="connsiteY42" fmla="*/ 126135 h 577432"/>
                <a:gd name="connsiteX43" fmla="*/ 296320 w 571147"/>
                <a:gd name="connsiteY43" fmla="*/ 121530 h 577432"/>
                <a:gd name="connsiteX44" fmla="*/ 484451 w 571147"/>
                <a:gd name="connsiteY44" fmla="*/ 100307 h 577432"/>
                <a:gd name="connsiteX45" fmla="*/ 502944 w 571147"/>
                <a:gd name="connsiteY45" fmla="*/ 115101 h 577432"/>
                <a:gd name="connsiteX46" fmla="*/ 484451 w 571147"/>
                <a:gd name="connsiteY46" fmla="*/ 129896 h 577432"/>
                <a:gd name="connsiteX47" fmla="*/ 475278 w 571147"/>
                <a:gd name="connsiteY47" fmla="*/ 51633 h 577432"/>
                <a:gd name="connsiteX48" fmla="*/ 475278 w 571147"/>
                <a:gd name="connsiteY48" fmla="*/ 78263 h 577432"/>
                <a:gd name="connsiteX49" fmla="*/ 458708 w 571147"/>
                <a:gd name="connsiteY49" fmla="*/ 64489 h 577432"/>
                <a:gd name="connsiteX50" fmla="*/ 475278 w 571147"/>
                <a:gd name="connsiteY50" fmla="*/ 51633 h 577432"/>
                <a:gd name="connsiteX51" fmla="*/ 479865 w 571147"/>
                <a:gd name="connsiteY51" fmla="*/ 23014 h 577432"/>
                <a:gd name="connsiteX52" fmla="*/ 475254 w 571147"/>
                <a:gd name="connsiteY52" fmla="*/ 27617 h 577432"/>
                <a:gd name="connsiteX53" fmla="*/ 475254 w 571147"/>
                <a:gd name="connsiteY53" fmla="*/ 35901 h 577432"/>
                <a:gd name="connsiteX54" fmla="*/ 439295 w 571147"/>
                <a:gd name="connsiteY54" fmla="*/ 67200 h 577432"/>
                <a:gd name="connsiteX55" fmla="*/ 475254 w 571147"/>
                <a:gd name="connsiteY55" fmla="*/ 98499 h 577432"/>
                <a:gd name="connsiteX56" fmla="*/ 475254 w 571147"/>
                <a:gd name="connsiteY56" fmla="*/ 129798 h 577432"/>
                <a:gd name="connsiteX57" fmla="*/ 446671 w 571147"/>
                <a:gd name="connsiteY57" fmla="*/ 107704 h 577432"/>
                <a:gd name="connsiteX58" fmla="*/ 437451 w 571147"/>
                <a:gd name="connsiteY58" fmla="*/ 117830 h 577432"/>
                <a:gd name="connsiteX59" fmla="*/ 475254 w 571147"/>
                <a:gd name="connsiteY59" fmla="*/ 145447 h 577432"/>
                <a:gd name="connsiteX60" fmla="*/ 475254 w 571147"/>
                <a:gd name="connsiteY60" fmla="*/ 154652 h 577432"/>
                <a:gd name="connsiteX61" fmla="*/ 479865 w 571147"/>
                <a:gd name="connsiteY61" fmla="*/ 159255 h 577432"/>
                <a:gd name="connsiteX62" fmla="*/ 484475 w 571147"/>
                <a:gd name="connsiteY62" fmla="*/ 154652 h 577432"/>
                <a:gd name="connsiteX63" fmla="*/ 484475 w 571147"/>
                <a:gd name="connsiteY63" fmla="*/ 145447 h 577432"/>
                <a:gd name="connsiteX64" fmla="*/ 522279 w 571147"/>
                <a:gd name="connsiteY64" fmla="*/ 113228 h 577432"/>
                <a:gd name="connsiteX65" fmla="*/ 484475 w 571147"/>
                <a:gd name="connsiteY65" fmla="*/ 80088 h 577432"/>
                <a:gd name="connsiteX66" fmla="*/ 484475 w 571147"/>
                <a:gd name="connsiteY66" fmla="*/ 51551 h 577432"/>
                <a:gd name="connsiteX67" fmla="*/ 511214 w 571147"/>
                <a:gd name="connsiteY67" fmla="*/ 68121 h 577432"/>
                <a:gd name="connsiteX68" fmla="*/ 520435 w 571147"/>
                <a:gd name="connsiteY68" fmla="*/ 58915 h 577432"/>
                <a:gd name="connsiteX69" fmla="*/ 484475 w 571147"/>
                <a:gd name="connsiteY69" fmla="*/ 35901 h 577432"/>
                <a:gd name="connsiteX70" fmla="*/ 484475 w 571147"/>
                <a:gd name="connsiteY70" fmla="*/ 27617 h 577432"/>
                <a:gd name="connsiteX71" fmla="*/ 479865 w 571147"/>
                <a:gd name="connsiteY71" fmla="*/ 23014 h 577432"/>
                <a:gd name="connsiteX72" fmla="*/ 479865 w 571147"/>
                <a:gd name="connsiteY72" fmla="*/ 0 h 577432"/>
                <a:gd name="connsiteX73" fmla="*/ 571147 w 571147"/>
                <a:gd name="connsiteY73" fmla="*/ 91135 h 577432"/>
                <a:gd name="connsiteX74" fmla="*/ 479865 w 571147"/>
                <a:gd name="connsiteY74" fmla="*/ 182269 h 577432"/>
                <a:gd name="connsiteX75" fmla="*/ 388582 w 571147"/>
                <a:gd name="connsiteY75" fmla="*/ 91135 h 577432"/>
                <a:gd name="connsiteX76" fmla="*/ 479865 w 571147"/>
                <a:gd name="connsiteY76" fmla="*/ 0 h 577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71147" h="577432">
                  <a:moveTo>
                    <a:pt x="32552" y="406999"/>
                  </a:moveTo>
                  <a:lnTo>
                    <a:pt x="111849" y="406999"/>
                  </a:lnTo>
                  <a:cubicBezTo>
                    <a:pt x="125679" y="406999"/>
                    <a:pt x="137666" y="418054"/>
                    <a:pt x="137666" y="432794"/>
                  </a:cubicBezTo>
                  <a:lnTo>
                    <a:pt x="137666" y="550715"/>
                  </a:lnTo>
                  <a:cubicBezTo>
                    <a:pt x="137666" y="565456"/>
                    <a:pt x="125679" y="577432"/>
                    <a:pt x="111849" y="577432"/>
                  </a:cubicBezTo>
                  <a:lnTo>
                    <a:pt x="32552" y="577432"/>
                  </a:lnTo>
                  <a:cubicBezTo>
                    <a:pt x="18721" y="577432"/>
                    <a:pt x="6734" y="565456"/>
                    <a:pt x="6734" y="550715"/>
                  </a:cubicBezTo>
                  <a:lnTo>
                    <a:pt x="6734" y="432794"/>
                  </a:lnTo>
                  <a:cubicBezTo>
                    <a:pt x="6734" y="418054"/>
                    <a:pt x="18721" y="406999"/>
                    <a:pt x="32552" y="406999"/>
                  </a:cubicBezTo>
                  <a:close/>
                  <a:moveTo>
                    <a:pt x="236302" y="314976"/>
                  </a:moveTo>
                  <a:lnTo>
                    <a:pt x="315688" y="314976"/>
                  </a:lnTo>
                  <a:cubicBezTo>
                    <a:pt x="329535" y="314976"/>
                    <a:pt x="341535" y="326948"/>
                    <a:pt x="341535" y="340761"/>
                  </a:cubicBezTo>
                  <a:lnTo>
                    <a:pt x="341535" y="550726"/>
                  </a:lnTo>
                  <a:cubicBezTo>
                    <a:pt x="341535" y="565460"/>
                    <a:pt x="329535" y="577432"/>
                    <a:pt x="315688" y="577432"/>
                  </a:cubicBezTo>
                  <a:lnTo>
                    <a:pt x="236302" y="577432"/>
                  </a:lnTo>
                  <a:cubicBezTo>
                    <a:pt x="221532" y="577432"/>
                    <a:pt x="210455" y="565460"/>
                    <a:pt x="210455" y="550726"/>
                  </a:cubicBezTo>
                  <a:lnTo>
                    <a:pt x="210455" y="340761"/>
                  </a:lnTo>
                  <a:cubicBezTo>
                    <a:pt x="210455" y="326948"/>
                    <a:pt x="221532" y="314976"/>
                    <a:pt x="236302" y="314976"/>
                  </a:cubicBezTo>
                  <a:close/>
                  <a:moveTo>
                    <a:pt x="440171" y="209935"/>
                  </a:moveTo>
                  <a:lnTo>
                    <a:pt x="518634" y="209935"/>
                  </a:lnTo>
                  <a:cubicBezTo>
                    <a:pt x="533404" y="209935"/>
                    <a:pt x="545404" y="221909"/>
                    <a:pt x="545404" y="235724"/>
                  </a:cubicBezTo>
                  <a:lnTo>
                    <a:pt x="545404" y="550722"/>
                  </a:lnTo>
                  <a:cubicBezTo>
                    <a:pt x="545404" y="565458"/>
                    <a:pt x="533404" y="577432"/>
                    <a:pt x="518634" y="577432"/>
                  </a:cubicBezTo>
                  <a:lnTo>
                    <a:pt x="440171" y="577432"/>
                  </a:lnTo>
                  <a:cubicBezTo>
                    <a:pt x="425401" y="577432"/>
                    <a:pt x="414324" y="565458"/>
                    <a:pt x="414324" y="550722"/>
                  </a:cubicBezTo>
                  <a:lnTo>
                    <a:pt x="414324" y="235724"/>
                  </a:lnTo>
                  <a:cubicBezTo>
                    <a:pt x="414324" y="221909"/>
                    <a:pt x="425401" y="209935"/>
                    <a:pt x="440171" y="209935"/>
                  </a:cubicBezTo>
                  <a:close/>
                  <a:moveTo>
                    <a:pt x="296320" y="121530"/>
                  </a:moveTo>
                  <a:lnTo>
                    <a:pt x="361828" y="134423"/>
                  </a:lnTo>
                  <a:cubicBezTo>
                    <a:pt x="365519" y="135344"/>
                    <a:pt x="368287" y="138107"/>
                    <a:pt x="370132" y="141791"/>
                  </a:cubicBezTo>
                  <a:cubicBezTo>
                    <a:pt x="371977" y="144554"/>
                    <a:pt x="372900" y="149159"/>
                    <a:pt x="371055" y="152843"/>
                  </a:cubicBezTo>
                  <a:lnTo>
                    <a:pt x="346143" y="213626"/>
                  </a:lnTo>
                  <a:cubicBezTo>
                    <a:pt x="344298" y="219152"/>
                    <a:pt x="339684" y="221915"/>
                    <a:pt x="334149" y="221915"/>
                  </a:cubicBezTo>
                  <a:cubicBezTo>
                    <a:pt x="334149" y="221915"/>
                    <a:pt x="334149" y="221915"/>
                    <a:pt x="333226" y="221915"/>
                  </a:cubicBezTo>
                  <a:cubicBezTo>
                    <a:pt x="328613" y="221915"/>
                    <a:pt x="323999" y="219152"/>
                    <a:pt x="322154" y="215468"/>
                  </a:cubicBezTo>
                  <a:lnTo>
                    <a:pt x="308314" y="190602"/>
                  </a:lnTo>
                  <a:lnTo>
                    <a:pt x="19522" y="339798"/>
                  </a:lnTo>
                  <a:cubicBezTo>
                    <a:pt x="16754" y="340719"/>
                    <a:pt x="14909" y="340719"/>
                    <a:pt x="13064" y="340719"/>
                  </a:cubicBezTo>
                  <a:cubicBezTo>
                    <a:pt x="8450" y="340719"/>
                    <a:pt x="3837" y="337956"/>
                    <a:pt x="1069" y="334272"/>
                  </a:cubicBezTo>
                  <a:cubicBezTo>
                    <a:pt x="-1699" y="327826"/>
                    <a:pt x="1069" y="319537"/>
                    <a:pt x="7528" y="315853"/>
                  </a:cubicBezTo>
                  <a:lnTo>
                    <a:pt x="296320" y="167578"/>
                  </a:lnTo>
                  <a:lnTo>
                    <a:pt x="281557" y="139949"/>
                  </a:lnTo>
                  <a:cubicBezTo>
                    <a:pt x="279712" y="135344"/>
                    <a:pt x="279712" y="129819"/>
                    <a:pt x="283402" y="126135"/>
                  </a:cubicBezTo>
                  <a:cubicBezTo>
                    <a:pt x="286170" y="121530"/>
                    <a:pt x="291706" y="119688"/>
                    <a:pt x="296320" y="121530"/>
                  </a:cubicBezTo>
                  <a:close/>
                  <a:moveTo>
                    <a:pt x="484451" y="100307"/>
                  </a:moveTo>
                  <a:cubicBezTo>
                    <a:pt x="492773" y="102156"/>
                    <a:pt x="502944" y="104930"/>
                    <a:pt x="502944" y="115101"/>
                  </a:cubicBezTo>
                  <a:cubicBezTo>
                    <a:pt x="502944" y="125273"/>
                    <a:pt x="493698" y="128971"/>
                    <a:pt x="484451" y="129896"/>
                  </a:cubicBezTo>
                  <a:close/>
                  <a:moveTo>
                    <a:pt x="475278" y="51633"/>
                  </a:moveTo>
                  <a:lnTo>
                    <a:pt x="475278" y="78263"/>
                  </a:lnTo>
                  <a:cubicBezTo>
                    <a:pt x="464231" y="76426"/>
                    <a:pt x="458708" y="71835"/>
                    <a:pt x="458708" y="64489"/>
                  </a:cubicBezTo>
                  <a:cubicBezTo>
                    <a:pt x="458708" y="58061"/>
                    <a:pt x="465152" y="51633"/>
                    <a:pt x="475278" y="51633"/>
                  </a:cubicBezTo>
                  <a:close/>
                  <a:moveTo>
                    <a:pt x="479865" y="23014"/>
                  </a:moveTo>
                  <a:cubicBezTo>
                    <a:pt x="477098" y="23014"/>
                    <a:pt x="475254" y="25775"/>
                    <a:pt x="475254" y="27617"/>
                  </a:cubicBezTo>
                  <a:lnTo>
                    <a:pt x="475254" y="35901"/>
                  </a:lnTo>
                  <a:cubicBezTo>
                    <a:pt x="456813" y="36822"/>
                    <a:pt x="439295" y="46948"/>
                    <a:pt x="439295" y="67200"/>
                  </a:cubicBezTo>
                  <a:cubicBezTo>
                    <a:pt x="439295" y="84691"/>
                    <a:pt x="453125" y="93896"/>
                    <a:pt x="475254" y="98499"/>
                  </a:cubicBezTo>
                  <a:lnTo>
                    <a:pt x="475254" y="129798"/>
                  </a:lnTo>
                  <a:cubicBezTo>
                    <a:pt x="450359" y="128877"/>
                    <a:pt x="463268" y="107704"/>
                    <a:pt x="446671" y="107704"/>
                  </a:cubicBezTo>
                  <a:cubicBezTo>
                    <a:pt x="441139" y="107704"/>
                    <a:pt x="437451" y="111387"/>
                    <a:pt x="437451" y="117830"/>
                  </a:cubicBezTo>
                  <a:cubicBezTo>
                    <a:pt x="437451" y="129798"/>
                    <a:pt x="450359" y="144526"/>
                    <a:pt x="475254" y="145447"/>
                  </a:cubicBezTo>
                  <a:lnTo>
                    <a:pt x="475254" y="154652"/>
                  </a:lnTo>
                  <a:cubicBezTo>
                    <a:pt x="475254" y="157414"/>
                    <a:pt x="477098" y="159255"/>
                    <a:pt x="479865" y="159255"/>
                  </a:cubicBezTo>
                  <a:cubicBezTo>
                    <a:pt x="482631" y="159255"/>
                    <a:pt x="484475" y="157414"/>
                    <a:pt x="484475" y="154652"/>
                  </a:cubicBezTo>
                  <a:lnTo>
                    <a:pt x="484475" y="145447"/>
                  </a:lnTo>
                  <a:cubicBezTo>
                    <a:pt x="506604" y="143606"/>
                    <a:pt x="522279" y="133480"/>
                    <a:pt x="522279" y="113228"/>
                  </a:cubicBezTo>
                  <a:cubicBezTo>
                    <a:pt x="522279" y="90214"/>
                    <a:pt x="504760" y="84691"/>
                    <a:pt x="484475" y="80088"/>
                  </a:cubicBezTo>
                  <a:lnTo>
                    <a:pt x="484475" y="51551"/>
                  </a:lnTo>
                  <a:cubicBezTo>
                    <a:pt x="501072" y="51551"/>
                    <a:pt x="501072" y="68121"/>
                    <a:pt x="511214" y="68121"/>
                  </a:cubicBezTo>
                  <a:cubicBezTo>
                    <a:pt x="515824" y="68121"/>
                    <a:pt x="520435" y="64439"/>
                    <a:pt x="520435" y="58915"/>
                  </a:cubicBezTo>
                  <a:cubicBezTo>
                    <a:pt x="520435" y="43266"/>
                    <a:pt x="496461" y="35901"/>
                    <a:pt x="484475" y="35901"/>
                  </a:cubicBezTo>
                  <a:lnTo>
                    <a:pt x="484475" y="27617"/>
                  </a:lnTo>
                  <a:cubicBezTo>
                    <a:pt x="484475" y="25775"/>
                    <a:pt x="482631" y="23014"/>
                    <a:pt x="479865" y="23014"/>
                  </a:cubicBezTo>
                  <a:close/>
                  <a:moveTo>
                    <a:pt x="479865" y="0"/>
                  </a:moveTo>
                  <a:cubicBezTo>
                    <a:pt x="529655" y="0"/>
                    <a:pt x="571147" y="40504"/>
                    <a:pt x="571147" y="91135"/>
                  </a:cubicBezTo>
                  <a:cubicBezTo>
                    <a:pt x="571147" y="141765"/>
                    <a:pt x="529655" y="182269"/>
                    <a:pt x="479865" y="182269"/>
                  </a:cubicBezTo>
                  <a:cubicBezTo>
                    <a:pt x="429152" y="182269"/>
                    <a:pt x="388582" y="141765"/>
                    <a:pt x="388582" y="91135"/>
                  </a:cubicBezTo>
                  <a:cubicBezTo>
                    <a:pt x="388582" y="40504"/>
                    <a:pt x="429152" y="0"/>
                    <a:pt x="479865" y="0"/>
                  </a:cubicBezTo>
                  <a:close/>
                </a:path>
              </a:pathLst>
            </a:cu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6" name="ïṩḻïḍe">
              <a:extLst>
                <a:ext uri="{FF2B5EF4-FFF2-40B4-BE49-F238E27FC236}">
                  <a16:creationId xmlns:a16="http://schemas.microsoft.com/office/drawing/2014/main" id="{810CDD29-1569-412B-A0F3-DB822E92DDF2}"/>
                </a:ext>
              </a:extLst>
            </p:cNvPr>
            <p:cNvSpPr/>
            <p:nvPr/>
          </p:nvSpPr>
          <p:spPr>
            <a:xfrm>
              <a:off x="6740907" y="2838450"/>
              <a:ext cx="455132" cy="437710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7" name="ïṡḷîḓê">
              <a:extLst>
                <a:ext uri="{FF2B5EF4-FFF2-40B4-BE49-F238E27FC236}">
                  <a16:creationId xmlns:a16="http://schemas.microsoft.com/office/drawing/2014/main" id="{8BE024B7-3705-48A7-9F6E-C2EC99B596CC}"/>
                </a:ext>
              </a:extLst>
            </p:cNvPr>
            <p:cNvSpPr/>
            <p:nvPr/>
          </p:nvSpPr>
          <p:spPr>
            <a:xfrm>
              <a:off x="5263375" y="5460873"/>
              <a:ext cx="432576" cy="455406"/>
            </a:xfrm>
            <a:custGeom>
              <a:avLst/>
              <a:gdLst>
                <a:gd name="connsiteX0" fmla="*/ 17244 w 576909"/>
                <a:gd name="connsiteY0" fmla="*/ 412385 h 607357"/>
                <a:gd name="connsiteX1" fmla="*/ 49769 w 576909"/>
                <a:gd name="connsiteY1" fmla="*/ 412385 h 607357"/>
                <a:gd name="connsiteX2" fmla="*/ 57152 w 576909"/>
                <a:gd name="connsiteY2" fmla="*/ 412385 h 607357"/>
                <a:gd name="connsiteX3" fmla="*/ 60095 w 576909"/>
                <a:gd name="connsiteY3" fmla="*/ 412643 h 607357"/>
                <a:gd name="connsiteX4" fmla="*/ 72020 w 576909"/>
                <a:gd name="connsiteY4" fmla="*/ 420839 h 607357"/>
                <a:gd name="connsiteX5" fmla="*/ 74292 w 576909"/>
                <a:gd name="connsiteY5" fmla="*/ 429498 h 607357"/>
                <a:gd name="connsiteX6" fmla="*/ 74447 w 576909"/>
                <a:gd name="connsiteY6" fmla="*/ 577176 h 607357"/>
                <a:gd name="connsiteX7" fmla="*/ 72588 w 576909"/>
                <a:gd name="connsiteY7" fmla="*/ 585011 h 607357"/>
                <a:gd name="connsiteX8" fmla="*/ 60714 w 576909"/>
                <a:gd name="connsiteY8" fmla="*/ 594083 h 607357"/>
                <a:gd name="connsiteX9" fmla="*/ 57307 w 576909"/>
                <a:gd name="connsiteY9" fmla="*/ 594444 h 607357"/>
                <a:gd name="connsiteX10" fmla="*/ 50389 w 576909"/>
                <a:gd name="connsiteY10" fmla="*/ 594444 h 607357"/>
                <a:gd name="connsiteX11" fmla="*/ 17347 w 576909"/>
                <a:gd name="connsiteY11" fmla="*/ 594444 h 607357"/>
                <a:gd name="connsiteX12" fmla="*/ 155 w 576909"/>
                <a:gd name="connsiteY12" fmla="*/ 577280 h 607357"/>
                <a:gd name="connsiteX13" fmla="*/ 0 w 576909"/>
                <a:gd name="connsiteY13" fmla="*/ 429550 h 607357"/>
                <a:gd name="connsiteX14" fmla="*/ 17244 w 576909"/>
                <a:gd name="connsiteY14" fmla="*/ 412385 h 607357"/>
                <a:gd name="connsiteX15" fmla="*/ 196520 w 576909"/>
                <a:gd name="connsiteY15" fmla="*/ 401870 h 607357"/>
                <a:gd name="connsiteX16" fmla="*/ 308583 w 576909"/>
                <a:gd name="connsiteY16" fmla="*/ 433626 h 607357"/>
                <a:gd name="connsiteX17" fmla="*/ 325823 w 576909"/>
                <a:gd name="connsiteY17" fmla="*/ 438369 h 607357"/>
                <a:gd name="connsiteX18" fmla="*/ 392669 w 576909"/>
                <a:gd name="connsiteY18" fmla="*/ 438782 h 607357"/>
                <a:gd name="connsiteX19" fmla="*/ 409806 w 576909"/>
                <a:gd name="connsiteY19" fmla="*/ 456052 h 607357"/>
                <a:gd name="connsiteX20" fmla="*/ 409651 w 576909"/>
                <a:gd name="connsiteY20" fmla="*/ 484096 h 607357"/>
                <a:gd name="connsiteX21" fmla="*/ 409599 w 576909"/>
                <a:gd name="connsiteY21" fmla="*/ 494252 h 607357"/>
                <a:gd name="connsiteX22" fmla="*/ 392410 w 576909"/>
                <a:gd name="connsiteY22" fmla="*/ 511367 h 607357"/>
                <a:gd name="connsiteX23" fmla="*/ 257584 w 576909"/>
                <a:gd name="connsiteY23" fmla="*/ 511161 h 607357"/>
                <a:gd name="connsiteX24" fmla="*/ 249325 w 576909"/>
                <a:gd name="connsiteY24" fmla="*/ 519358 h 607357"/>
                <a:gd name="connsiteX25" fmla="*/ 249325 w 576909"/>
                <a:gd name="connsiteY25" fmla="*/ 521987 h 607357"/>
                <a:gd name="connsiteX26" fmla="*/ 257584 w 576909"/>
                <a:gd name="connsiteY26" fmla="*/ 530287 h 607357"/>
                <a:gd name="connsiteX27" fmla="*/ 407122 w 576909"/>
                <a:gd name="connsiteY27" fmla="*/ 530493 h 607357"/>
                <a:gd name="connsiteX28" fmla="*/ 407793 w 576909"/>
                <a:gd name="connsiteY28" fmla="*/ 530493 h 607357"/>
                <a:gd name="connsiteX29" fmla="*/ 507519 w 576909"/>
                <a:gd name="connsiteY29" fmla="*/ 429296 h 607357"/>
                <a:gd name="connsiteX30" fmla="*/ 524656 w 576909"/>
                <a:gd name="connsiteY30" fmla="*/ 413573 h 607357"/>
                <a:gd name="connsiteX31" fmla="*/ 524811 w 576909"/>
                <a:gd name="connsiteY31" fmla="*/ 413573 h 607357"/>
                <a:gd name="connsiteX32" fmla="*/ 529921 w 576909"/>
                <a:gd name="connsiteY32" fmla="*/ 413573 h 607357"/>
                <a:gd name="connsiteX33" fmla="*/ 560066 w 576909"/>
                <a:gd name="connsiteY33" fmla="*/ 413779 h 607357"/>
                <a:gd name="connsiteX34" fmla="*/ 576842 w 576909"/>
                <a:gd name="connsiteY34" fmla="*/ 432131 h 607357"/>
                <a:gd name="connsiteX35" fmla="*/ 416258 w 576909"/>
                <a:gd name="connsiteY35" fmla="*/ 607357 h 607357"/>
                <a:gd name="connsiteX36" fmla="*/ 360252 w 576909"/>
                <a:gd name="connsiteY36" fmla="*/ 606996 h 607357"/>
                <a:gd name="connsiteX37" fmla="*/ 233943 w 576909"/>
                <a:gd name="connsiteY37" fmla="*/ 594779 h 607357"/>
                <a:gd name="connsiteX38" fmla="*/ 197191 w 576909"/>
                <a:gd name="connsiteY38" fmla="*/ 587819 h 607357"/>
                <a:gd name="connsiteX39" fmla="*/ 168801 w 576909"/>
                <a:gd name="connsiteY39" fmla="*/ 585138 h 607357"/>
                <a:gd name="connsiteX40" fmla="*/ 94162 w 576909"/>
                <a:gd name="connsiteY40" fmla="*/ 585138 h 607357"/>
                <a:gd name="connsiteX41" fmla="*/ 94988 w 576909"/>
                <a:gd name="connsiteY41" fmla="*/ 577302 h 607357"/>
                <a:gd name="connsiteX42" fmla="*/ 94884 w 576909"/>
                <a:gd name="connsiteY42" fmla="*/ 429605 h 607357"/>
                <a:gd name="connsiteX43" fmla="*/ 93852 w 576909"/>
                <a:gd name="connsiteY43" fmla="*/ 420738 h 607357"/>
                <a:gd name="connsiteX44" fmla="*/ 117028 w 576909"/>
                <a:gd name="connsiteY44" fmla="*/ 420584 h 607357"/>
                <a:gd name="connsiteX45" fmla="*/ 196520 w 576909"/>
                <a:gd name="connsiteY45" fmla="*/ 401870 h 607357"/>
                <a:gd name="connsiteX46" fmla="*/ 468886 w 576909"/>
                <a:gd name="connsiteY46" fmla="*/ 357273 h 607357"/>
                <a:gd name="connsiteX47" fmla="*/ 512800 w 576909"/>
                <a:gd name="connsiteY47" fmla="*/ 357273 h 607357"/>
                <a:gd name="connsiteX48" fmla="*/ 529984 w 576909"/>
                <a:gd name="connsiteY48" fmla="*/ 374594 h 607357"/>
                <a:gd name="connsiteX49" fmla="*/ 529881 w 576909"/>
                <a:gd name="connsiteY49" fmla="*/ 392946 h 607357"/>
                <a:gd name="connsiteX50" fmla="*/ 524772 w 576909"/>
                <a:gd name="connsiteY50" fmla="*/ 392946 h 607357"/>
                <a:gd name="connsiteX51" fmla="*/ 524566 w 576909"/>
                <a:gd name="connsiteY51" fmla="*/ 392946 h 607357"/>
                <a:gd name="connsiteX52" fmla="*/ 498971 w 576909"/>
                <a:gd name="connsiteY52" fmla="*/ 402895 h 607357"/>
                <a:gd name="connsiteX53" fmla="*/ 486844 w 576909"/>
                <a:gd name="connsiteY53" fmla="*/ 427485 h 607357"/>
                <a:gd name="connsiteX54" fmla="*/ 447368 w 576909"/>
                <a:gd name="connsiteY54" fmla="*/ 498985 h 607357"/>
                <a:gd name="connsiteX55" fmla="*/ 428120 w 576909"/>
                <a:gd name="connsiteY55" fmla="*/ 506872 h 607357"/>
                <a:gd name="connsiteX56" fmla="*/ 430287 w 576909"/>
                <a:gd name="connsiteY56" fmla="*/ 494449 h 607357"/>
                <a:gd name="connsiteX57" fmla="*/ 430391 w 576909"/>
                <a:gd name="connsiteY57" fmla="*/ 470478 h 607357"/>
                <a:gd name="connsiteX58" fmla="*/ 451496 w 576909"/>
                <a:gd name="connsiteY58" fmla="*/ 405524 h 607357"/>
                <a:gd name="connsiteX59" fmla="*/ 451702 w 576909"/>
                <a:gd name="connsiteY59" fmla="*/ 374285 h 607357"/>
                <a:gd name="connsiteX60" fmla="*/ 468886 w 576909"/>
                <a:gd name="connsiteY60" fmla="*/ 357273 h 607357"/>
                <a:gd name="connsiteX61" fmla="*/ 361457 w 576909"/>
                <a:gd name="connsiteY61" fmla="*/ 0 h 607357"/>
                <a:gd name="connsiteX62" fmla="*/ 386592 w 576909"/>
                <a:gd name="connsiteY62" fmla="*/ 0 h 607357"/>
                <a:gd name="connsiteX63" fmla="*/ 407237 w 576909"/>
                <a:gd name="connsiteY63" fmla="*/ 20619 h 607357"/>
                <a:gd name="connsiteX64" fmla="*/ 407237 w 576909"/>
                <a:gd name="connsiteY64" fmla="*/ 127010 h 607357"/>
                <a:gd name="connsiteX65" fmla="*/ 455649 w 576909"/>
                <a:gd name="connsiteY65" fmla="*/ 175463 h 607357"/>
                <a:gd name="connsiteX66" fmla="*/ 445946 w 576909"/>
                <a:gd name="connsiteY66" fmla="*/ 198917 h 607357"/>
                <a:gd name="connsiteX67" fmla="*/ 423753 w 576909"/>
                <a:gd name="connsiteY67" fmla="*/ 198917 h 607357"/>
                <a:gd name="connsiteX68" fmla="*/ 406514 w 576909"/>
                <a:gd name="connsiteY68" fmla="*/ 216081 h 607357"/>
                <a:gd name="connsiteX69" fmla="*/ 406514 w 576909"/>
                <a:gd name="connsiteY69" fmla="*/ 349070 h 607357"/>
                <a:gd name="connsiteX70" fmla="*/ 389327 w 576909"/>
                <a:gd name="connsiteY70" fmla="*/ 366235 h 607357"/>
                <a:gd name="connsiteX71" fmla="*/ 352631 w 576909"/>
                <a:gd name="connsiteY71" fmla="*/ 366235 h 607357"/>
                <a:gd name="connsiteX72" fmla="*/ 335444 w 576909"/>
                <a:gd name="connsiteY72" fmla="*/ 349070 h 607357"/>
                <a:gd name="connsiteX73" fmla="*/ 335444 w 576909"/>
                <a:gd name="connsiteY73" fmla="*/ 289895 h 607357"/>
                <a:gd name="connsiteX74" fmla="*/ 318257 w 576909"/>
                <a:gd name="connsiteY74" fmla="*/ 272731 h 607357"/>
                <a:gd name="connsiteX75" fmla="*/ 241871 w 576909"/>
                <a:gd name="connsiteY75" fmla="*/ 272731 h 607357"/>
                <a:gd name="connsiteX76" fmla="*/ 224633 w 576909"/>
                <a:gd name="connsiteY76" fmla="*/ 289895 h 607357"/>
                <a:gd name="connsiteX77" fmla="*/ 224633 w 576909"/>
                <a:gd name="connsiteY77" fmla="*/ 349019 h 607357"/>
                <a:gd name="connsiteX78" fmla="*/ 207446 w 576909"/>
                <a:gd name="connsiteY78" fmla="*/ 366184 h 607357"/>
                <a:gd name="connsiteX79" fmla="*/ 170750 w 576909"/>
                <a:gd name="connsiteY79" fmla="*/ 366184 h 607357"/>
                <a:gd name="connsiteX80" fmla="*/ 153563 w 576909"/>
                <a:gd name="connsiteY80" fmla="*/ 349019 h 607357"/>
                <a:gd name="connsiteX81" fmla="*/ 153563 w 576909"/>
                <a:gd name="connsiteY81" fmla="*/ 216030 h 607357"/>
                <a:gd name="connsiteX82" fmla="*/ 136376 w 576909"/>
                <a:gd name="connsiteY82" fmla="*/ 198814 h 607357"/>
                <a:gd name="connsiteX83" fmla="*/ 114131 w 576909"/>
                <a:gd name="connsiteY83" fmla="*/ 198814 h 607357"/>
                <a:gd name="connsiteX84" fmla="*/ 104428 w 576909"/>
                <a:gd name="connsiteY84" fmla="*/ 175412 h 607357"/>
                <a:gd name="connsiteX85" fmla="*/ 267884 w 576909"/>
                <a:gd name="connsiteY85" fmla="*/ 12165 h 607357"/>
                <a:gd name="connsiteX86" fmla="*/ 292245 w 576909"/>
                <a:gd name="connsiteY86" fmla="*/ 12165 h 607357"/>
                <a:gd name="connsiteX87" fmla="*/ 340812 w 576909"/>
                <a:gd name="connsiteY87" fmla="*/ 60670 h 607357"/>
                <a:gd name="connsiteX88" fmla="*/ 340812 w 576909"/>
                <a:gd name="connsiteY88" fmla="*/ 20619 h 607357"/>
                <a:gd name="connsiteX89" fmla="*/ 361457 w 576909"/>
                <a:gd name="connsiteY89" fmla="*/ 0 h 607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76909" h="607357">
                  <a:moveTo>
                    <a:pt x="17244" y="412385"/>
                  </a:moveTo>
                  <a:lnTo>
                    <a:pt x="49769" y="412385"/>
                  </a:lnTo>
                  <a:lnTo>
                    <a:pt x="57152" y="412385"/>
                  </a:lnTo>
                  <a:cubicBezTo>
                    <a:pt x="58184" y="412385"/>
                    <a:pt x="59165" y="412540"/>
                    <a:pt x="60095" y="412643"/>
                  </a:cubicBezTo>
                  <a:cubicBezTo>
                    <a:pt x="65206" y="413571"/>
                    <a:pt x="69491" y="416560"/>
                    <a:pt x="72020" y="420839"/>
                  </a:cubicBezTo>
                  <a:cubicBezTo>
                    <a:pt x="73518" y="423364"/>
                    <a:pt x="74447" y="426406"/>
                    <a:pt x="74292" y="429498"/>
                  </a:cubicBezTo>
                  <a:lnTo>
                    <a:pt x="74447" y="577176"/>
                  </a:lnTo>
                  <a:cubicBezTo>
                    <a:pt x="74447" y="580011"/>
                    <a:pt x="73724" y="582692"/>
                    <a:pt x="72588" y="585011"/>
                  </a:cubicBezTo>
                  <a:cubicBezTo>
                    <a:pt x="70214" y="589651"/>
                    <a:pt x="65877" y="593053"/>
                    <a:pt x="60714" y="594083"/>
                  </a:cubicBezTo>
                  <a:cubicBezTo>
                    <a:pt x="59630" y="594290"/>
                    <a:pt x="58442" y="594444"/>
                    <a:pt x="57307" y="594444"/>
                  </a:cubicBezTo>
                  <a:lnTo>
                    <a:pt x="50389" y="594444"/>
                  </a:lnTo>
                  <a:lnTo>
                    <a:pt x="17347" y="594444"/>
                  </a:lnTo>
                  <a:cubicBezTo>
                    <a:pt x="7847" y="594444"/>
                    <a:pt x="155" y="586764"/>
                    <a:pt x="155" y="577280"/>
                  </a:cubicBezTo>
                  <a:lnTo>
                    <a:pt x="0" y="429550"/>
                  </a:lnTo>
                  <a:cubicBezTo>
                    <a:pt x="0" y="420066"/>
                    <a:pt x="7744" y="412385"/>
                    <a:pt x="17244" y="412385"/>
                  </a:cubicBezTo>
                  <a:close/>
                  <a:moveTo>
                    <a:pt x="196520" y="401870"/>
                  </a:moveTo>
                  <a:cubicBezTo>
                    <a:pt x="248809" y="401870"/>
                    <a:pt x="291859" y="423831"/>
                    <a:pt x="308583" y="433626"/>
                  </a:cubicBezTo>
                  <a:cubicBezTo>
                    <a:pt x="313796" y="436720"/>
                    <a:pt x="319784" y="438318"/>
                    <a:pt x="325823" y="438369"/>
                  </a:cubicBezTo>
                  <a:lnTo>
                    <a:pt x="392669" y="438782"/>
                  </a:lnTo>
                  <a:cubicBezTo>
                    <a:pt x="402218" y="438782"/>
                    <a:pt x="409857" y="446566"/>
                    <a:pt x="409806" y="456052"/>
                  </a:cubicBezTo>
                  <a:lnTo>
                    <a:pt x="409651" y="484096"/>
                  </a:lnTo>
                  <a:lnTo>
                    <a:pt x="409599" y="494252"/>
                  </a:lnTo>
                  <a:cubicBezTo>
                    <a:pt x="409548" y="503737"/>
                    <a:pt x="401805" y="511367"/>
                    <a:pt x="392410" y="511367"/>
                  </a:cubicBezTo>
                  <a:lnTo>
                    <a:pt x="257584" y="511161"/>
                  </a:lnTo>
                  <a:cubicBezTo>
                    <a:pt x="253042" y="511161"/>
                    <a:pt x="249325" y="514821"/>
                    <a:pt x="249325" y="519358"/>
                  </a:cubicBezTo>
                  <a:lnTo>
                    <a:pt x="249325" y="521987"/>
                  </a:lnTo>
                  <a:cubicBezTo>
                    <a:pt x="249325" y="526575"/>
                    <a:pt x="253042" y="530287"/>
                    <a:pt x="257584" y="530287"/>
                  </a:cubicBezTo>
                  <a:lnTo>
                    <a:pt x="407122" y="530493"/>
                  </a:lnTo>
                  <a:lnTo>
                    <a:pt x="407793" y="530493"/>
                  </a:lnTo>
                  <a:cubicBezTo>
                    <a:pt x="416361" y="530493"/>
                    <a:pt x="499002" y="527967"/>
                    <a:pt x="507519" y="429296"/>
                  </a:cubicBezTo>
                  <a:cubicBezTo>
                    <a:pt x="508293" y="420377"/>
                    <a:pt x="515726" y="413573"/>
                    <a:pt x="524656" y="413573"/>
                  </a:cubicBezTo>
                  <a:lnTo>
                    <a:pt x="524811" y="413573"/>
                  </a:lnTo>
                  <a:lnTo>
                    <a:pt x="529921" y="413573"/>
                  </a:lnTo>
                  <a:lnTo>
                    <a:pt x="560066" y="413779"/>
                  </a:lnTo>
                  <a:cubicBezTo>
                    <a:pt x="569976" y="413830"/>
                    <a:pt x="577719" y="422233"/>
                    <a:pt x="576842" y="432131"/>
                  </a:cubicBezTo>
                  <a:cubicBezTo>
                    <a:pt x="565744" y="600346"/>
                    <a:pt x="416258" y="607357"/>
                    <a:pt x="416258" y="607357"/>
                  </a:cubicBezTo>
                  <a:lnTo>
                    <a:pt x="360252" y="606996"/>
                  </a:lnTo>
                  <a:cubicBezTo>
                    <a:pt x="317874" y="606739"/>
                    <a:pt x="275599" y="602666"/>
                    <a:pt x="233943" y="594779"/>
                  </a:cubicBezTo>
                  <a:lnTo>
                    <a:pt x="197191" y="587819"/>
                  </a:lnTo>
                  <a:cubicBezTo>
                    <a:pt x="187848" y="586015"/>
                    <a:pt x="178351" y="585138"/>
                    <a:pt x="168801" y="585138"/>
                  </a:cubicBezTo>
                  <a:lnTo>
                    <a:pt x="94162" y="585138"/>
                  </a:lnTo>
                  <a:cubicBezTo>
                    <a:pt x="94730" y="582612"/>
                    <a:pt x="94988" y="579983"/>
                    <a:pt x="94988" y="577302"/>
                  </a:cubicBezTo>
                  <a:lnTo>
                    <a:pt x="94884" y="429605"/>
                  </a:lnTo>
                  <a:cubicBezTo>
                    <a:pt x="94884" y="426512"/>
                    <a:pt x="94523" y="423522"/>
                    <a:pt x="93852" y="420738"/>
                  </a:cubicBezTo>
                  <a:lnTo>
                    <a:pt x="117028" y="420584"/>
                  </a:lnTo>
                  <a:cubicBezTo>
                    <a:pt x="144438" y="406922"/>
                    <a:pt x="171537" y="401870"/>
                    <a:pt x="196520" y="401870"/>
                  </a:cubicBezTo>
                  <a:close/>
                  <a:moveTo>
                    <a:pt x="468886" y="357273"/>
                  </a:moveTo>
                  <a:lnTo>
                    <a:pt x="512800" y="357273"/>
                  </a:lnTo>
                  <a:cubicBezTo>
                    <a:pt x="522347" y="357273"/>
                    <a:pt x="530087" y="365006"/>
                    <a:pt x="529984" y="374594"/>
                  </a:cubicBezTo>
                  <a:lnTo>
                    <a:pt x="529881" y="392946"/>
                  </a:lnTo>
                  <a:lnTo>
                    <a:pt x="524772" y="392946"/>
                  </a:lnTo>
                  <a:lnTo>
                    <a:pt x="524566" y="392946"/>
                  </a:lnTo>
                  <a:cubicBezTo>
                    <a:pt x="515071" y="392946"/>
                    <a:pt x="505989" y="396451"/>
                    <a:pt x="498971" y="402895"/>
                  </a:cubicBezTo>
                  <a:cubicBezTo>
                    <a:pt x="491953" y="409288"/>
                    <a:pt x="487670" y="418103"/>
                    <a:pt x="486844" y="427485"/>
                  </a:cubicBezTo>
                  <a:cubicBezTo>
                    <a:pt x="483903" y="461714"/>
                    <a:pt x="470641" y="485737"/>
                    <a:pt x="447368" y="498985"/>
                  </a:cubicBezTo>
                  <a:cubicBezTo>
                    <a:pt x="440763" y="502851"/>
                    <a:pt x="434003" y="505326"/>
                    <a:pt x="428120" y="506872"/>
                  </a:cubicBezTo>
                  <a:cubicBezTo>
                    <a:pt x="429565" y="502954"/>
                    <a:pt x="430287" y="498779"/>
                    <a:pt x="430287" y="494449"/>
                  </a:cubicBezTo>
                  <a:lnTo>
                    <a:pt x="430391" y="470478"/>
                  </a:lnTo>
                  <a:cubicBezTo>
                    <a:pt x="443085" y="457899"/>
                    <a:pt x="452064" y="437692"/>
                    <a:pt x="451496" y="405524"/>
                  </a:cubicBezTo>
                  <a:lnTo>
                    <a:pt x="451702" y="374285"/>
                  </a:lnTo>
                  <a:cubicBezTo>
                    <a:pt x="451754" y="364903"/>
                    <a:pt x="459494" y="357273"/>
                    <a:pt x="468886" y="357273"/>
                  </a:cubicBezTo>
                  <a:close/>
                  <a:moveTo>
                    <a:pt x="361457" y="0"/>
                  </a:moveTo>
                  <a:lnTo>
                    <a:pt x="386592" y="0"/>
                  </a:lnTo>
                  <a:cubicBezTo>
                    <a:pt x="397998" y="0"/>
                    <a:pt x="407237" y="9227"/>
                    <a:pt x="407237" y="20619"/>
                  </a:cubicBezTo>
                  <a:lnTo>
                    <a:pt x="407237" y="127010"/>
                  </a:lnTo>
                  <a:lnTo>
                    <a:pt x="455649" y="175463"/>
                  </a:lnTo>
                  <a:cubicBezTo>
                    <a:pt x="464320" y="184123"/>
                    <a:pt x="458230" y="198917"/>
                    <a:pt x="445946" y="198917"/>
                  </a:cubicBezTo>
                  <a:lnTo>
                    <a:pt x="423753" y="198917"/>
                  </a:lnTo>
                  <a:cubicBezTo>
                    <a:pt x="414256" y="198917"/>
                    <a:pt x="406514" y="206597"/>
                    <a:pt x="406514" y="216081"/>
                  </a:cubicBezTo>
                  <a:lnTo>
                    <a:pt x="406514" y="349070"/>
                  </a:lnTo>
                  <a:cubicBezTo>
                    <a:pt x="406514" y="358555"/>
                    <a:pt x="398824" y="366235"/>
                    <a:pt x="389327" y="366235"/>
                  </a:cubicBezTo>
                  <a:lnTo>
                    <a:pt x="352631" y="366235"/>
                  </a:lnTo>
                  <a:cubicBezTo>
                    <a:pt x="343134" y="366235"/>
                    <a:pt x="335444" y="358555"/>
                    <a:pt x="335444" y="349070"/>
                  </a:cubicBezTo>
                  <a:lnTo>
                    <a:pt x="335444" y="289895"/>
                  </a:lnTo>
                  <a:cubicBezTo>
                    <a:pt x="335444" y="280411"/>
                    <a:pt x="327754" y="272731"/>
                    <a:pt x="318257" y="272731"/>
                  </a:cubicBezTo>
                  <a:lnTo>
                    <a:pt x="241871" y="272731"/>
                  </a:lnTo>
                  <a:cubicBezTo>
                    <a:pt x="232375" y="272731"/>
                    <a:pt x="224633" y="280411"/>
                    <a:pt x="224633" y="289895"/>
                  </a:cubicBezTo>
                  <a:lnTo>
                    <a:pt x="224633" y="349019"/>
                  </a:lnTo>
                  <a:cubicBezTo>
                    <a:pt x="224633" y="358503"/>
                    <a:pt x="216943" y="366184"/>
                    <a:pt x="207446" y="366184"/>
                  </a:cubicBezTo>
                  <a:lnTo>
                    <a:pt x="170750" y="366184"/>
                  </a:lnTo>
                  <a:cubicBezTo>
                    <a:pt x="161253" y="366184"/>
                    <a:pt x="153563" y="358503"/>
                    <a:pt x="153563" y="349019"/>
                  </a:cubicBezTo>
                  <a:lnTo>
                    <a:pt x="153563" y="216030"/>
                  </a:lnTo>
                  <a:cubicBezTo>
                    <a:pt x="153563" y="206545"/>
                    <a:pt x="145872" y="198814"/>
                    <a:pt x="136376" y="198814"/>
                  </a:cubicBezTo>
                  <a:lnTo>
                    <a:pt x="114131" y="198814"/>
                  </a:lnTo>
                  <a:cubicBezTo>
                    <a:pt x="101899" y="198814"/>
                    <a:pt x="95757" y="184071"/>
                    <a:pt x="104428" y="175412"/>
                  </a:cubicBezTo>
                  <a:lnTo>
                    <a:pt x="267884" y="12165"/>
                  </a:lnTo>
                  <a:cubicBezTo>
                    <a:pt x="274593" y="5413"/>
                    <a:pt x="285484" y="5413"/>
                    <a:pt x="292245" y="12165"/>
                  </a:cubicBezTo>
                  <a:lnTo>
                    <a:pt x="340812" y="60670"/>
                  </a:lnTo>
                  <a:lnTo>
                    <a:pt x="340812" y="20619"/>
                  </a:lnTo>
                  <a:cubicBezTo>
                    <a:pt x="340812" y="9227"/>
                    <a:pt x="350050" y="0"/>
                    <a:pt x="361457" y="0"/>
                  </a:cubicBezTo>
                  <a:close/>
                </a:path>
              </a:pathLst>
            </a:cu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5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8" name="îṣľîḋé">
              <a:extLst>
                <a:ext uri="{FF2B5EF4-FFF2-40B4-BE49-F238E27FC236}">
                  <a16:creationId xmlns:a16="http://schemas.microsoft.com/office/drawing/2014/main" id="{0B8060F8-5175-4A88-BBE0-8E12E0AFCB0C}"/>
                </a:ext>
              </a:extLst>
            </p:cNvPr>
            <p:cNvSpPr txBox="1"/>
            <p:nvPr/>
          </p:nvSpPr>
          <p:spPr bwMode="auto">
            <a:xfrm>
              <a:off x="660400" y="4825938"/>
              <a:ext cx="172208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29" name="i$liḑe">
              <a:extLst>
                <a:ext uri="{FF2B5EF4-FFF2-40B4-BE49-F238E27FC236}">
                  <a16:creationId xmlns:a16="http://schemas.microsoft.com/office/drawing/2014/main" id="{7E901614-9665-4167-A533-4ADC1ADE0DFC}"/>
                </a:ext>
              </a:extLst>
            </p:cNvPr>
            <p:cNvSpPr/>
            <p:nvPr/>
          </p:nvSpPr>
          <p:spPr bwMode="auto">
            <a:xfrm>
              <a:off x="660400" y="5267745"/>
              <a:ext cx="1722087" cy="83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0" name="íşlíḑê">
              <a:extLst>
                <a:ext uri="{FF2B5EF4-FFF2-40B4-BE49-F238E27FC236}">
                  <a16:creationId xmlns:a16="http://schemas.microsoft.com/office/drawing/2014/main" id="{0B8060F8-5175-4A88-BBE0-8E12E0AFCB0C}"/>
                </a:ext>
              </a:extLst>
            </p:cNvPr>
            <p:cNvSpPr txBox="1"/>
            <p:nvPr/>
          </p:nvSpPr>
          <p:spPr bwMode="auto">
            <a:xfrm>
              <a:off x="3091379" y="4264530"/>
              <a:ext cx="172208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31" name="î$ḻîḑê">
              <a:extLst>
                <a:ext uri="{FF2B5EF4-FFF2-40B4-BE49-F238E27FC236}">
                  <a16:creationId xmlns:a16="http://schemas.microsoft.com/office/drawing/2014/main" id="{7E901614-9665-4167-A533-4ADC1ADE0DFC}"/>
                </a:ext>
              </a:extLst>
            </p:cNvPr>
            <p:cNvSpPr/>
            <p:nvPr/>
          </p:nvSpPr>
          <p:spPr bwMode="auto">
            <a:xfrm>
              <a:off x="3091379" y="4706337"/>
              <a:ext cx="1722087" cy="83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2" name="işḷidê">
              <a:extLst>
                <a:ext uri="{FF2B5EF4-FFF2-40B4-BE49-F238E27FC236}">
                  <a16:creationId xmlns:a16="http://schemas.microsoft.com/office/drawing/2014/main" id="{0B8060F8-5175-4A88-BBE0-8E12E0AFCB0C}"/>
                </a:ext>
              </a:extLst>
            </p:cNvPr>
            <p:cNvSpPr txBox="1"/>
            <p:nvPr/>
          </p:nvSpPr>
          <p:spPr bwMode="auto">
            <a:xfrm>
              <a:off x="5387725" y="3661112"/>
              <a:ext cx="172208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33" name="iṡ1îḓè">
              <a:extLst>
                <a:ext uri="{FF2B5EF4-FFF2-40B4-BE49-F238E27FC236}">
                  <a16:creationId xmlns:a16="http://schemas.microsoft.com/office/drawing/2014/main" id="{7E901614-9665-4167-A533-4ADC1ADE0DFC}"/>
                </a:ext>
              </a:extLst>
            </p:cNvPr>
            <p:cNvSpPr/>
            <p:nvPr/>
          </p:nvSpPr>
          <p:spPr bwMode="auto">
            <a:xfrm>
              <a:off x="5387725" y="4102919"/>
              <a:ext cx="1722087" cy="83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4" name="îṧľîḓê">
              <a:extLst>
                <a:ext uri="{FF2B5EF4-FFF2-40B4-BE49-F238E27FC236}">
                  <a16:creationId xmlns:a16="http://schemas.microsoft.com/office/drawing/2014/main" id="{0B8060F8-5175-4A88-BBE0-8E12E0AFCB0C}"/>
                </a:ext>
              </a:extLst>
            </p:cNvPr>
            <p:cNvSpPr txBox="1"/>
            <p:nvPr/>
          </p:nvSpPr>
          <p:spPr bwMode="auto">
            <a:xfrm>
              <a:off x="7662843" y="3084754"/>
              <a:ext cx="172208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35" name="išḻîḍè">
              <a:extLst>
                <a:ext uri="{FF2B5EF4-FFF2-40B4-BE49-F238E27FC236}">
                  <a16:creationId xmlns:a16="http://schemas.microsoft.com/office/drawing/2014/main" id="{7E901614-9665-4167-A533-4ADC1ADE0DFC}"/>
                </a:ext>
              </a:extLst>
            </p:cNvPr>
            <p:cNvSpPr/>
            <p:nvPr/>
          </p:nvSpPr>
          <p:spPr bwMode="auto">
            <a:xfrm>
              <a:off x="7662843" y="3526561"/>
              <a:ext cx="1722087" cy="83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6" name="ïṩḷïďè">
              <a:extLst>
                <a:ext uri="{FF2B5EF4-FFF2-40B4-BE49-F238E27FC236}">
                  <a16:creationId xmlns:a16="http://schemas.microsoft.com/office/drawing/2014/main" id="{FCFE35C6-711B-428E-8D77-D8F902E92D9D}"/>
                </a:ext>
              </a:extLst>
            </p:cNvPr>
            <p:cNvSpPr txBox="1"/>
            <p:nvPr/>
          </p:nvSpPr>
          <p:spPr bwMode="auto">
            <a:xfrm>
              <a:off x="9786889" y="3594217"/>
              <a:ext cx="172208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37" name="ïş1îḍè">
              <a:extLst>
                <a:ext uri="{FF2B5EF4-FFF2-40B4-BE49-F238E27FC236}">
                  <a16:creationId xmlns:a16="http://schemas.microsoft.com/office/drawing/2014/main" id="{32AB49F0-A6BC-49B5-B1D6-0817CF416BE6}"/>
                </a:ext>
              </a:extLst>
            </p:cNvPr>
            <p:cNvSpPr/>
            <p:nvPr/>
          </p:nvSpPr>
          <p:spPr bwMode="auto">
            <a:xfrm>
              <a:off x="9786889" y="4036024"/>
              <a:ext cx="1722087" cy="83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7216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A45EA9-F986-43C4-A9ED-8DA9695D3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1E3E13-24F8-4F9C-AA91-EDCCDFAA4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22209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09DF384-901D-404D-A8CE-5714E16C8435}"/>
              </a:ext>
            </a:extLst>
          </p:cNvPr>
          <p:cNvGrpSpPr>
            <a:grpSpLocks noChangeAspect="1"/>
          </p:cNvGrpSpPr>
          <p:nvPr/>
        </p:nvGrpSpPr>
        <p:grpSpPr>
          <a:xfrm>
            <a:off x="1740755" y="1362774"/>
            <a:ext cx="8710490" cy="4551552"/>
            <a:chOff x="1740755" y="1362774"/>
            <a:chExt cx="8710490" cy="4551552"/>
          </a:xfrm>
        </p:grpSpPr>
        <p:sp>
          <p:nvSpPr>
            <p:cNvPr id="6" name="ïşḷíḑè">
              <a:extLst>
                <a:ext uri="{FF2B5EF4-FFF2-40B4-BE49-F238E27FC236}">
                  <a16:creationId xmlns:a16="http://schemas.microsoft.com/office/drawing/2014/main" id="{18196CC9-A0E8-4DD0-86CB-16AB8BDBC0AD}"/>
                </a:ext>
              </a:extLst>
            </p:cNvPr>
            <p:cNvSpPr/>
            <p:nvPr/>
          </p:nvSpPr>
          <p:spPr>
            <a:xfrm>
              <a:off x="1981200" y="2873595"/>
              <a:ext cx="2040059" cy="1731688"/>
            </a:xfrm>
            <a:custGeom>
              <a:avLst/>
              <a:gdLst/>
              <a:ahLst/>
              <a:cxnLst/>
              <a:rect l="l" t="t" r="r" b="b"/>
              <a:pathLst>
                <a:path w="978" h="830" extrusionOk="0">
                  <a:moveTo>
                    <a:pt x="933" y="297"/>
                  </a:moveTo>
                  <a:cubicBezTo>
                    <a:pt x="902" y="296"/>
                    <a:pt x="872" y="337"/>
                    <a:pt x="856" y="341"/>
                  </a:cubicBezTo>
                  <a:cubicBezTo>
                    <a:pt x="835" y="345"/>
                    <a:pt x="824" y="336"/>
                    <a:pt x="813" y="322"/>
                  </a:cubicBezTo>
                  <a:cubicBezTo>
                    <a:pt x="793" y="296"/>
                    <a:pt x="788" y="268"/>
                    <a:pt x="799" y="200"/>
                  </a:cubicBezTo>
                  <a:cubicBezTo>
                    <a:pt x="799" y="199"/>
                    <a:pt x="799" y="199"/>
                    <a:pt x="799" y="199"/>
                  </a:cubicBezTo>
                  <a:cubicBezTo>
                    <a:pt x="808" y="155"/>
                    <a:pt x="820" y="112"/>
                    <a:pt x="834" y="70"/>
                  </a:cubicBezTo>
                  <a:cubicBezTo>
                    <a:pt x="837" y="58"/>
                    <a:pt x="831" y="46"/>
                    <a:pt x="820" y="41"/>
                  </a:cubicBezTo>
                  <a:cubicBezTo>
                    <a:pt x="788" y="28"/>
                    <a:pt x="765" y="18"/>
                    <a:pt x="727" y="10"/>
                  </a:cubicBezTo>
                  <a:cubicBezTo>
                    <a:pt x="704" y="6"/>
                    <a:pt x="664" y="0"/>
                    <a:pt x="646" y="0"/>
                  </a:cubicBezTo>
                  <a:cubicBezTo>
                    <a:pt x="612" y="0"/>
                    <a:pt x="596" y="13"/>
                    <a:pt x="593" y="26"/>
                  </a:cubicBezTo>
                  <a:cubicBezTo>
                    <a:pt x="586" y="50"/>
                    <a:pt x="643" y="83"/>
                    <a:pt x="640" y="116"/>
                  </a:cubicBezTo>
                  <a:cubicBezTo>
                    <a:pt x="636" y="163"/>
                    <a:pt x="565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13" y="188"/>
                    <a:pt x="342" y="163"/>
                    <a:pt x="338" y="116"/>
                  </a:cubicBezTo>
                  <a:cubicBezTo>
                    <a:pt x="335" y="83"/>
                    <a:pt x="391" y="50"/>
                    <a:pt x="385" y="26"/>
                  </a:cubicBezTo>
                  <a:cubicBezTo>
                    <a:pt x="381" y="13"/>
                    <a:pt x="366" y="0"/>
                    <a:pt x="332" y="0"/>
                  </a:cubicBezTo>
                  <a:cubicBezTo>
                    <a:pt x="314" y="0"/>
                    <a:pt x="274" y="6"/>
                    <a:pt x="251" y="10"/>
                  </a:cubicBezTo>
                  <a:cubicBezTo>
                    <a:pt x="213" y="18"/>
                    <a:pt x="190" y="28"/>
                    <a:pt x="158" y="41"/>
                  </a:cubicBezTo>
                  <a:cubicBezTo>
                    <a:pt x="147" y="46"/>
                    <a:pt x="141" y="58"/>
                    <a:pt x="144" y="70"/>
                  </a:cubicBezTo>
                  <a:cubicBezTo>
                    <a:pt x="158" y="112"/>
                    <a:pt x="170" y="155"/>
                    <a:pt x="179" y="199"/>
                  </a:cubicBezTo>
                  <a:cubicBezTo>
                    <a:pt x="179" y="199"/>
                    <a:pt x="179" y="199"/>
                    <a:pt x="179" y="200"/>
                  </a:cubicBezTo>
                  <a:cubicBezTo>
                    <a:pt x="190" y="268"/>
                    <a:pt x="185" y="296"/>
                    <a:pt x="165" y="322"/>
                  </a:cubicBezTo>
                  <a:cubicBezTo>
                    <a:pt x="154" y="336"/>
                    <a:pt x="143" y="345"/>
                    <a:pt x="122" y="341"/>
                  </a:cubicBezTo>
                  <a:cubicBezTo>
                    <a:pt x="106" y="337"/>
                    <a:pt x="75" y="296"/>
                    <a:pt x="45" y="297"/>
                  </a:cubicBezTo>
                  <a:cubicBezTo>
                    <a:pt x="17" y="299"/>
                    <a:pt x="0" y="361"/>
                    <a:pt x="0" y="415"/>
                  </a:cubicBezTo>
                  <a:cubicBezTo>
                    <a:pt x="0" y="470"/>
                    <a:pt x="17" y="532"/>
                    <a:pt x="45" y="534"/>
                  </a:cubicBezTo>
                  <a:cubicBezTo>
                    <a:pt x="75" y="535"/>
                    <a:pt x="106" y="494"/>
                    <a:pt x="122" y="490"/>
                  </a:cubicBezTo>
                  <a:cubicBezTo>
                    <a:pt x="143" y="486"/>
                    <a:pt x="154" y="495"/>
                    <a:pt x="165" y="509"/>
                  </a:cubicBezTo>
                  <a:cubicBezTo>
                    <a:pt x="185" y="535"/>
                    <a:pt x="190" y="562"/>
                    <a:pt x="179" y="631"/>
                  </a:cubicBezTo>
                  <a:cubicBezTo>
                    <a:pt x="179" y="632"/>
                    <a:pt x="179" y="632"/>
                    <a:pt x="179" y="632"/>
                  </a:cubicBezTo>
                  <a:cubicBezTo>
                    <a:pt x="170" y="676"/>
                    <a:pt x="158" y="719"/>
                    <a:pt x="144" y="761"/>
                  </a:cubicBezTo>
                  <a:cubicBezTo>
                    <a:pt x="141" y="773"/>
                    <a:pt x="147" y="785"/>
                    <a:pt x="158" y="790"/>
                  </a:cubicBezTo>
                  <a:cubicBezTo>
                    <a:pt x="190" y="803"/>
                    <a:pt x="213" y="813"/>
                    <a:pt x="251" y="821"/>
                  </a:cubicBezTo>
                  <a:cubicBezTo>
                    <a:pt x="274" y="825"/>
                    <a:pt x="314" y="830"/>
                    <a:pt x="332" y="830"/>
                  </a:cubicBezTo>
                  <a:cubicBezTo>
                    <a:pt x="366" y="830"/>
                    <a:pt x="381" y="818"/>
                    <a:pt x="385" y="805"/>
                  </a:cubicBezTo>
                  <a:cubicBezTo>
                    <a:pt x="391" y="781"/>
                    <a:pt x="335" y="748"/>
                    <a:pt x="338" y="715"/>
                  </a:cubicBezTo>
                  <a:cubicBezTo>
                    <a:pt x="342" y="668"/>
                    <a:pt x="413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565" y="643"/>
                    <a:pt x="636" y="668"/>
                    <a:pt x="640" y="715"/>
                  </a:cubicBezTo>
                  <a:cubicBezTo>
                    <a:pt x="643" y="748"/>
                    <a:pt x="586" y="781"/>
                    <a:pt x="593" y="805"/>
                  </a:cubicBezTo>
                  <a:cubicBezTo>
                    <a:pt x="596" y="818"/>
                    <a:pt x="612" y="830"/>
                    <a:pt x="646" y="830"/>
                  </a:cubicBezTo>
                  <a:cubicBezTo>
                    <a:pt x="664" y="830"/>
                    <a:pt x="704" y="825"/>
                    <a:pt x="727" y="821"/>
                  </a:cubicBezTo>
                  <a:cubicBezTo>
                    <a:pt x="765" y="813"/>
                    <a:pt x="788" y="803"/>
                    <a:pt x="820" y="790"/>
                  </a:cubicBezTo>
                  <a:cubicBezTo>
                    <a:pt x="831" y="785"/>
                    <a:pt x="837" y="773"/>
                    <a:pt x="834" y="761"/>
                  </a:cubicBezTo>
                  <a:cubicBezTo>
                    <a:pt x="820" y="719"/>
                    <a:pt x="808" y="676"/>
                    <a:pt x="799" y="632"/>
                  </a:cubicBezTo>
                  <a:cubicBezTo>
                    <a:pt x="799" y="632"/>
                    <a:pt x="799" y="632"/>
                    <a:pt x="799" y="631"/>
                  </a:cubicBezTo>
                  <a:cubicBezTo>
                    <a:pt x="788" y="562"/>
                    <a:pt x="793" y="535"/>
                    <a:pt x="813" y="509"/>
                  </a:cubicBezTo>
                  <a:cubicBezTo>
                    <a:pt x="824" y="495"/>
                    <a:pt x="835" y="486"/>
                    <a:pt x="856" y="490"/>
                  </a:cubicBezTo>
                  <a:cubicBezTo>
                    <a:pt x="872" y="494"/>
                    <a:pt x="902" y="535"/>
                    <a:pt x="933" y="534"/>
                  </a:cubicBezTo>
                  <a:cubicBezTo>
                    <a:pt x="961" y="532"/>
                    <a:pt x="978" y="470"/>
                    <a:pt x="978" y="415"/>
                  </a:cubicBezTo>
                  <a:cubicBezTo>
                    <a:pt x="978" y="361"/>
                    <a:pt x="961" y="299"/>
                    <a:pt x="933" y="2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" name="îS1îḑê">
              <a:extLst>
                <a:ext uri="{FF2B5EF4-FFF2-40B4-BE49-F238E27FC236}">
                  <a16:creationId xmlns:a16="http://schemas.microsoft.com/office/drawing/2014/main" id="{CE97772B-C22D-4922-8009-560C22D15DB3}"/>
                </a:ext>
              </a:extLst>
            </p:cNvPr>
            <p:cNvSpPr/>
            <p:nvPr/>
          </p:nvSpPr>
          <p:spPr>
            <a:xfrm>
              <a:off x="2773539" y="3492074"/>
              <a:ext cx="380255" cy="379507"/>
            </a:xfrm>
            <a:custGeom>
              <a:avLst/>
              <a:gdLst>
                <a:gd name="connsiteX0" fmla="*/ 373364 w 608838"/>
                <a:gd name="connsiteY0" fmla="*/ 414474 h 607639"/>
                <a:gd name="connsiteX1" fmla="*/ 373364 w 608838"/>
                <a:gd name="connsiteY1" fmla="*/ 461833 h 607639"/>
                <a:gd name="connsiteX2" fmla="*/ 399854 w 608838"/>
                <a:gd name="connsiteY2" fmla="*/ 447365 h 607639"/>
                <a:gd name="connsiteX3" fmla="*/ 235475 w 608838"/>
                <a:gd name="connsiteY3" fmla="*/ 414474 h 607639"/>
                <a:gd name="connsiteX4" fmla="*/ 208984 w 608838"/>
                <a:gd name="connsiteY4" fmla="*/ 447365 h 607639"/>
                <a:gd name="connsiteX5" fmla="*/ 235475 w 608838"/>
                <a:gd name="connsiteY5" fmla="*/ 461833 h 607639"/>
                <a:gd name="connsiteX6" fmla="*/ 304419 w 608838"/>
                <a:gd name="connsiteY6" fmla="*/ 174508 h 607639"/>
                <a:gd name="connsiteX7" fmla="*/ 371668 w 608838"/>
                <a:gd name="connsiteY7" fmla="*/ 241687 h 607639"/>
                <a:gd name="connsiteX8" fmla="*/ 304419 w 608838"/>
                <a:gd name="connsiteY8" fmla="*/ 308866 h 607639"/>
                <a:gd name="connsiteX9" fmla="*/ 237170 w 608838"/>
                <a:gd name="connsiteY9" fmla="*/ 241687 h 607639"/>
                <a:gd name="connsiteX10" fmla="*/ 304419 w 608838"/>
                <a:gd name="connsiteY10" fmla="*/ 174508 h 607639"/>
                <a:gd name="connsiteX11" fmla="*/ 304419 w 608838"/>
                <a:gd name="connsiteY11" fmla="*/ 131452 h 607639"/>
                <a:gd name="connsiteX12" fmla="*/ 131776 w 608838"/>
                <a:gd name="connsiteY12" fmla="*/ 303820 h 607639"/>
                <a:gd name="connsiteX13" fmla="*/ 168568 w 608838"/>
                <a:gd name="connsiteY13" fmla="*/ 410179 h 607639"/>
                <a:gd name="connsiteX14" fmla="*/ 231626 w 608838"/>
                <a:gd name="connsiteY14" fmla="*/ 329251 h 607639"/>
                <a:gd name="connsiteX15" fmla="*/ 254720 w 608838"/>
                <a:gd name="connsiteY15" fmla="*/ 317157 h 607639"/>
                <a:gd name="connsiteX16" fmla="*/ 354005 w 608838"/>
                <a:gd name="connsiteY16" fmla="*/ 317157 h 607639"/>
                <a:gd name="connsiteX17" fmla="*/ 377326 w 608838"/>
                <a:gd name="connsiteY17" fmla="*/ 329364 h 607639"/>
                <a:gd name="connsiteX18" fmla="*/ 440157 w 608838"/>
                <a:gd name="connsiteY18" fmla="*/ 410179 h 607639"/>
                <a:gd name="connsiteX19" fmla="*/ 477063 w 608838"/>
                <a:gd name="connsiteY19" fmla="*/ 303820 h 607639"/>
                <a:gd name="connsiteX20" fmla="*/ 304419 w 608838"/>
                <a:gd name="connsiteY20" fmla="*/ 131452 h 607639"/>
                <a:gd name="connsiteX21" fmla="*/ 273400 w 608838"/>
                <a:gd name="connsiteY21" fmla="*/ 0 h 607639"/>
                <a:gd name="connsiteX22" fmla="*/ 338042 w 608838"/>
                <a:gd name="connsiteY22" fmla="*/ 0 h 607639"/>
                <a:gd name="connsiteX23" fmla="*/ 370420 w 608838"/>
                <a:gd name="connsiteY23" fmla="*/ 28709 h 607639"/>
                <a:gd name="connsiteX24" fmla="*/ 374269 w 608838"/>
                <a:gd name="connsiteY24" fmla="*/ 62392 h 607639"/>
                <a:gd name="connsiteX25" fmla="*/ 428610 w 608838"/>
                <a:gd name="connsiteY25" fmla="*/ 85110 h 607639"/>
                <a:gd name="connsiteX26" fmla="*/ 454534 w 608838"/>
                <a:gd name="connsiteY26" fmla="*/ 64539 h 607639"/>
                <a:gd name="connsiteX27" fmla="*/ 474799 w 608838"/>
                <a:gd name="connsiteY27" fmla="*/ 57531 h 607639"/>
                <a:gd name="connsiteX28" fmla="*/ 497780 w 608838"/>
                <a:gd name="connsiteY28" fmla="*/ 67026 h 607639"/>
                <a:gd name="connsiteX29" fmla="*/ 543403 w 608838"/>
                <a:gd name="connsiteY29" fmla="*/ 112576 h 607639"/>
                <a:gd name="connsiteX30" fmla="*/ 545894 w 608838"/>
                <a:gd name="connsiteY30" fmla="*/ 155753 h 607639"/>
                <a:gd name="connsiteX31" fmla="*/ 524611 w 608838"/>
                <a:gd name="connsiteY31" fmla="*/ 182540 h 607639"/>
                <a:gd name="connsiteX32" fmla="*/ 545441 w 608838"/>
                <a:gd name="connsiteY32" fmla="*/ 233742 h 607639"/>
                <a:gd name="connsiteX33" fmla="*/ 579970 w 608838"/>
                <a:gd name="connsiteY33" fmla="*/ 237811 h 607639"/>
                <a:gd name="connsiteX34" fmla="*/ 608838 w 608838"/>
                <a:gd name="connsiteY34" fmla="*/ 270024 h 607639"/>
                <a:gd name="connsiteX35" fmla="*/ 608838 w 608838"/>
                <a:gd name="connsiteY35" fmla="*/ 334676 h 607639"/>
                <a:gd name="connsiteX36" fmla="*/ 579970 w 608838"/>
                <a:gd name="connsiteY36" fmla="*/ 366889 h 607639"/>
                <a:gd name="connsiteX37" fmla="*/ 544875 w 608838"/>
                <a:gd name="connsiteY37" fmla="*/ 370958 h 607639"/>
                <a:gd name="connsiteX38" fmla="*/ 523139 w 608838"/>
                <a:gd name="connsiteY38" fmla="*/ 422838 h 607639"/>
                <a:gd name="connsiteX39" fmla="*/ 546007 w 608838"/>
                <a:gd name="connsiteY39" fmla="*/ 451773 h 607639"/>
                <a:gd name="connsiteX40" fmla="*/ 543517 w 608838"/>
                <a:gd name="connsiteY40" fmla="*/ 494950 h 607639"/>
                <a:gd name="connsiteX41" fmla="*/ 497780 w 608838"/>
                <a:gd name="connsiteY41" fmla="*/ 540613 h 607639"/>
                <a:gd name="connsiteX42" fmla="*/ 474799 w 608838"/>
                <a:gd name="connsiteY42" fmla="*/ 550108 h 607639"/>
                <a:gd name="connsiteX43" fmla="*/ 454534 w 608838"/>
                <a:gd name="connsiteY43" fmla="*/ 543100 h 607639"/>
                <a:gd name="connsiteX44" fmla="*/ 425100 w 608838"/>
                <a:gd name="connsiteY44" fmla="*/ 519816 h 607639"/>
                <a:gd name="connsiteX45" fmla="*/ 372118 w 608838"/>
                <a:gd name="connsiteY45" fmla="*/ 541178 h 607639"/>
                <a:gd name="connsiteX46" fmla="*/ 367816 w 608838"/>
                <a:gd name="connsiteY46" fmla="*/ 578930 h 607639"/>
                <a:gd name="connsiteX47" fmla="*/ 335439 w 608838"/>
                <a:gd name="connsiteY47" fmla="*/ 607639 h 607639"/>
                <a:gd name="connsiteX48" fmla="*/ 270796 w 608838"/>
                <a:gd name="connsiteY48" fmla="*/ 607639 h 607639"/>
                <a:gd name="connsiteX49" fmla="*/ 238418 w 608838"/>
                <a:gd name="connsiteY49" fmla="*/ 578930 h 607639"/>
                <a:gd name="connsiteX50" fmla="*/ 233890 w 608838"/>
                <a:gd name="connsiteY50" fmla="*/ 539596 h 607639"/>
                <a:gd name="connsiteX51" fmla="*/ 184871 w 608838"/>
                <a:gd name="connsiteY51" fmla="*/ 518799 h 607639"/>
                <a:gd name="connsiteX52" fmla="*/ 154304 w 608838"/>
                <a:gd name="connsiteY52" fmla="*/ 542987 h 607639"/>
                <a:gd name="connsiteX53" fmla="*/ 134040 w 608838"/>
                <a:gd name="connsiteY53" fmla="*/ 549995 h 607639"/>
                <a:gd name="connsiteX54" fmla="*/ 111058 w 608838"/>
                <a:gd name="connsiteY54" fmla="*/ 540500 h 607639"/>
                <a:gd name="connsiteX55" fmla="*/ 65322 w 608838"/>
                <a:gd name="connsiteY55" fmla="*/ 494837 h 607639"/>
                <a:gd name="connsiteX56" fmla="*/ 62831 w 608838"/>
                <a:gd name="connsiteY56" fmla="*/ 451660 h 607639"/>
                <a:gd name="connsiteX57" fmla="*/ 87284 w 608838"/>
                <a:gd name="connsiteY57" fmla="*/ 420917 h 607639"/>
                <a:gd name="connsiteX58" fmla="*/ 67473 w 608838"/>
                <a:gd name="connsiteY58" fmla="*/ 374123 h 607639"/>
                <a:gd name="connsiteX59" fmla="*/ 28869 w 608838"/>
                <a:gd name="connsiteY59" fmla="*/ 369602 h 607639"/>
                <a:gd name="connsiteX60" fmla="*/ 0 w 608838"/>
                <a:gd name="connsiteY60" fmla="*/ 337389 h 607639"/>
                <a:gd name="connsiteX61" fmla="*/ 0 w 608838"/>
                <a:gd name="connsiteY61" fmla="*/ 272737 h 607639"/>
                <a:gd name="connsiteX62" fmla="*/ 28869 w 608838"/>
                <a:gd name="connsiteY62" fmla="*/ 240524 h 607639"/>
                <a:gd name="connsiteX63" fmla="*/ 65209 w 608838"/>
                <a:gd name="connsiteY63" fmla="*/ 236342 h 607639"/>
                <a:gd name="connsiteX64" fmla="*/ 85699 w 608838"/>
                <a:gd name="connsiteY64" fmla="*/ 184575 h 607639"/>
                <a:gd name="connsiteX65" fmla="*/ 62831 w 608838"/>
                <a:gd name="connsiteY65" fmla="*/ 155866 h 607639"/>
                <a:gd name="connsiteX66" fmla="*/ 65322 w 608838"/>
                <a:gd name="connsiteY66" fmla="*/ 112576 h 607639"/>
                <a:gd name="connsiteX67" fmla="*/ 111058 w 608838"/>
                <a:gd name="connsiteY67" fmla="*/ 67026 h 607639"/>
                <a:gd name="connsiteX68" fmla="*/ 134040 w 608838"/>
                <a:gd name="connsiteY68" fmla="*/ 57531 h 607639"/>
                <a:gd name="connsiteX69" fmla="*/ 154304 w 608838"/>
                <a:gd name="connsiteY69" fmla="*/ 64539 h 607639"/>
                <a:gd name="connsiteX70" fmla="*/ 181361 w 608838"/>
                <a:gd name="connsiteY70" fmla="*/ 85901 h 607639"/>
                <a:gd name="connsiteX71" fmla="*/ 237173 w 608838"/>
                <a:gd name="connsiteY71" fmla="*/ 62392 h 607639"/>
                <a:gd name="connsiteX72" fmla="*/ 241022 w 608838"/>
                <a:gd name="connsiteY72" fmla="*/ 28709 h 607639"/>
                <a:gd name="connsiteX73" fmla="*/ 273400 w 608838"/>
                <a:gd name="connsiteY73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838" h="607639">
                  <a:moveTo>
                    <a:pt x="373364" y="414474"/>
                  </a:moveTo>
                  <a:lnTo>
                    <a:pt x="373364" y="461833"/>
                  </a:lnTo>
                  <a:cubicBezTo>
                    <a:pt x="382647" y="457764"/>
                    <a:pt x="391477" y="452904"/>
                    <a:pt x="399854" y="447365"/>
                  </a:cubicBezTo>
                  <a:close/>
                  <a:moveTo>
                    <a:pt x="235475" y="414474"/>
                  </a:moveTo>
                  <a:lnTo>
                    <a:pt x="208984" y="447365"/>
                  </a:lnTo>
                  <a:cubicBezTo>
                    <a:pt x="217362" y="452904"/>
                    <a:pt x="226192" y="457764"/>
                    <a:pt x="235475" y="461833"/>
                  </a:cubicBezTo>
                  <a:close/>
                  <a:moveTo>
                    <a:pt x="304419" y="174508"/>
                  </a:moveTo>
                  <a:cubicBezTo>
                    <a:pt x="341560" y="174508"/>
                    <a:pt x="371668" y="204585"/>
                    <a:pt x="371668" y="241687"/>
                  </a:cubicBezTo>
                  <a:cubicBezTo>
                    <a:pt x="371668" y="278789"/>
                    <a:pt x="341560" y="308866"/>
                    <a:pt x="304419" y="308866"/>
                  </a:cubicBezTo>
                  <a:cubicBezTo>
                    <a:pt x="267278" y="308866"/>
                    <a:pt x="237170" y="278789"/>
                    <a:pt x="237170" y="241687"/>
                  </a:cubicBezTo>
                  <a:cubicBezTo>
                    <a:pt x="237170" y="204585"/>
                    <a:pt x="267278" y="174508"/>
                    <a:pt x="304419" y="174508"/>
                  </a:cubicBezTo>
                  <a:close/>
                  <a:moveTo>
                    <a:pt x="304419" y="131452"/>
                  </a:moveTo>
                  <a:cubicBezTo>
                    <a:pt x="209210" y="131452"/>
                    <a:pt x="131776" y="208763"/>
                    <a:pt x="131776" y="303820"/>
                  </a:cubicBezTo>
                  <a:cubicBezTo>
                    <a:pt x="131776" y="343944"/>
                    <a:pt x="145587" y="380792"/>
                    <a:pt x="168568" y="410179"/>
                  </a:cubicBezTo>
                  <a:lnTo>
                    <a:pt x="231626" y="329251"/>
                  </a:lnTo>
                  <a:cubicBezTo>
                    <a:pt x="236720" y="321678"/>
                    <a:pt x="245437" y="317157"/>
                    <a:pt x="254720" y="317157"/>
                  </a:cubicBezTo>
                  <a:lnTo>
                    <a:pt x="354005" y="317157"/>
                  </a:lnTo>
                  <a:cubicBezTo>
                    <a:pt x="363288" y="317157"/>
                    <a:pt x="372005" y="321678"/>
                    <a:pt x="377326" y="329364"/>
                  </a:cubicBezTo>
                  <a:lnTo>
                    <a:pt x="440157" y="410179"/>
                  </a:lnTo>
                  <a:cubicBezTo>
                    <a:pt x="463251" y="380792"/>
                    <a:pt x="477063" y="343944"/>
                    <a:pt x="477063" y="303820"/>
                  </a:cubicBezTo>
                  <a:cubicBezTo>
                    <a:pt x="477063" y="208763"/>
                    <a:pt x="399628" y="131452"/>
                    <a:pt x="304419" y="131452"/>
                  </a:cubicBezTo>
                  <a:close/>
                  <a:moveTo>
                    <a:pt x="273400" y="0"/>
                  </a:moveTo>
                  <a:lnTo>
                    <a:pt x="338042" y="0"/>
                  </a:lnTo>
                  <a:cubicBezTo>
                    <a:pt x="354571" y="0"/>
                    <a:pt x="368382" y="12320"/>
                    <a:pt x="370420" y="28709"/>
                  </a:cubicBezTo>
                  <a:lnTo>
                    <a:pt x="374269" y="62392"/>
                  </a:lnTo>
                  <a:cubicBezTo>
                    <a:pt x="393288" y="67817"/>
                    <a:pt x="411515" y="75390"/>
                    <a:pt x="428610" y="85110"/>
                  </a:cubicBezTo>
                  <a:lnTo>
                    <a:pt x="454534" y="64539"/>
                  </a:lnTo>
                  <a:cubicBezTo>
                    <a:pt x="460308" y="60018"/>
                    <a:pt x="467553" y="57531"/>
                    <a:pt x="474799" y="57531"/>
                  </a:cubicBezTo>
                  <a:cubicBezTo>
                    <a:pt x="483516" y="57531"/>
                    <a:pt x="491667" y="60809"/>
                    <a:pt x="497780" y="67026"/>
                  </a:cubicBezTo>
                  <a:lnTo>
                    <a:pt x="543403" y="112576"/>
                  </a:lnTo>
                  <a:cubicBezTo>
                    <a:pt x="555064" y="124218"/>
                    <a:pt x="556083" y="142868"/>
                    <a:pt x="545894" y="155753"/>
                  </a:cubicBezTo>
                  <a:lnTo>
                    <a:pt x="524611" y="182540"/>
                  </a:lnTo>
                  <a:cubicBezTo>
                    <a:pt x="533554" y="198929"/>
                    <a:pt x="540573" y="216223"/>
                    <a:pt x="545441" y="233742"/>
                  </a:cubicBezTo>
                  <a:lnTo>
                    <a:pt x="579970" y="237811"/>
                  </a:lnTo>
                  <a:cubicBezTo>
                    <a:pt x="596385" y="239733"/>
                    <a:pt x="608838" y="253635"/>
                    <a:pt x="608838" y="270024"/>
                  </a:cubicBezTo>
                  <a:lnTo>
                    <a:pt x="608838" y="334676"/>
                  </a:lnTo>
                  <a:cubicBezTo>
                    <a:pt x="608838" y="351065"/>
                    <a:pt x="596385" y="364968"/>
                    <a:pt x="579970" y="366889"/>
                  </a:cubicBezTo>
                  <a:lnTo>
                    <a:pt x="544875" y="370958"/>
                  </a:lnTo>
                  <a:cubicBezTo>
                    <a:pt x="539781" y="388817"/>
                    <a:pt x="532422" y="406223"/>
                    <a:pt x="523139" y="422838"/>
                  </a:cubicBezTo>
                  <a:lnTo>
                    <a:pt x="546007" y="451773"/>
                  </a:lnTo>
                  <a:cubicBezTo>
                    <a:pt x="556196" y="464772"/>
                    <a:pt x="555177" y="483308"/>
                    <a:pt x="543517" y="494950"/>
                  </a:cubicBezTo>
                  <a:lnTo>
                    <a:pt x="497780" y="540613"/>
                  </a:lnTo>
                  <a:cubicBezTo>
                    <a:pt x="491554" y="546717"/>
                    <a:pt x="483403" y="550108"/>
                    <a:pt x="474799" y="550108"/>
                  </a:cubicBezTo>
                  <a:cubicBezTo>
                    <a:pt x="467440" y="550108"/>
                    <a:pt x="460308" y="547621"/>
                    <a:pt x="454534" y="543100"/>
                  </a:cubicBezTo>
                  <a:lnTo>
                    <a:pt x="425100" y="519816"/>
                  </a:lnTo>
                  <a:cubicBezTo>
                    <a:pt x="408232" y="528971"/>
                    <a:pt x="390458" y="536092"/>
                    <a:pt x="372118" y="541178"/>
                  </a:cubicBezTo>
                  <a:lnTo>
                    <a:pt x="367816" y="578930"/>
                  </a:lnTo>
                  <a:cubicBezTo>
                    <a:pt x="365892" y="595319"/>
                    <a:pt x="351967" y="607639"/>
                    <a:pt x="335439" y="607639"/>
                  </a:cubicBezTo>
                  <a:lnTo>
                    <a:pt x="270796" y="607639"/>
                  </a:lnTo>
                  <a:cubicBezTo>
                    <a:pt x="254268" y="607639"/>
                    <a:pt x="240343" y="595319"/>
                    <a:pt x="238418" y="578930"/>
                  </a:cubicBezTo>
                  <a:lnTo>
                    <a:pt x="233890" y="539596"/>
                  </a:lnTo>
                  <a:cubicBezTo>
                    <a:pt x="216795" y="534397"/>
                    <a:pt x="200380" y="527502"/>
                    <a:pt x="184871" y="518799"/>
                  </a:cubicBezTo>
                  <a:lnTo>
                    <a:pt x="154304" y="542987"/>
                  </a:lnTo>
                  <a:cubicBezTo>
                    <a:pt x="148530" y="547508"/>
                    <a:pt x="141285" y="549995"/>
                    <a:pt x="134040" y="549995"/>
                  </a:cubicBezTo>
                  <a:cubicBezTo>
                    <a:pt x="125323" y="549995"/>
                    <a:pt x="117172" y="546604"/>
                    <a:pt x="111058" y="540500"/>
                  </a:cubicBezTo>
                  <a:lnTo>
                    <a:pt x="65322" y="494837"/>
                  </a:lnTo>
                  <a:cubicBezTo>
                    <a:pt x="53661" y="483082"/>
                    <a:pt x="52642" y="464545"/>
                    <a:pt x="62831" y="451660"/>
                  </a:cubicBezTo>
                  <a:lnTo>
                    <a:pt x="87284" y="420917"/>
                  </a:lnTo>
                  <a:cubicBezTo>
                    <a:pt x="79133" y="406110"/>
                    <a:pt x="72454" y="390399"/>
                    <a:pt x="67473" y="374123"/>
                  </a:cubicBezTo>
                  <a:lnTo>
                    <a:pt x="28869" y="369602"/>
                  </a:lnTo>
                  <a:cubicBezTo>
                    <a:pt x="12453" y="367680"/>
                    <a:pt x="0" y="353778"/>
                    <a:pt x="0" y="337389"/>
                  </a:cubicBezTo>
                  <a:lnTo>
                    <a:pt x="0" y="272737"/>
                  </a:lnTo>
                  <a:cubicBezTo>
                    <a:pt x="0" y="256348"/>
                    <a:pt x="12453" y="242445"/>
                    <a:pt x="28869" y="240524"/>
                  </a:cubicBezTo>
                  <a:lnTo>
                    <a:pt x="65209" y="236342"/>
                  </a:lnTo>
                  <a:cubicBezTo>
                    <a:pt x="69963" y="218483"/>
                    <a:pt x="76869" y="201077"/>
                    <a:pt x="85699" y="184575"/>
                  </a:cubicBezTo>
                  <a:lnTo>
                    <a:pt x="62831" y="155866"/>
                  </a:lnTo>
                  <a:cubicBezTo>
                    <a:pt x="52642" y="142868"/>
                    <a:pt x="53661" y="124331"/>
                    <a:pt x="65322" y="112576"/>
                  </a:cubicBezTo>
                  <a:lnTo>
                    <a:pt x="111058" y="67026"/>
                  </a:lnTo>
                  <a:cubicBezTo>
                    <a:pt x="117285" y="60922"/>
                    <a:pt x="125436" y="57531"/>
                    <a:pt x="134040" y="57531"/>
                  </a:cubicBezTo>
                  <a:cubicBezTo>
                    <a:pt x="141398" y="57531"/>
                    <a:pt x="148530" y="60018"/>
                    <a:pt x="154304" y="64539"/>
                  </a:cubicBezTo>
                  <a:lnTo>
                    <a:pt x="181361" y="85901"/>
                  </a:lnTo>
                  <a:cubicBezTo>
                    <a:pt x="198908" y="75842"/>
                    <a:pt x="217588" y="67930"/>
                    <a:pt x="237173" y="62392"/>
                  </a:cubicBezTo>
                  <a:lnTo>
                    <a:pt x="241022" y="28709"/>
                  </a:lnTo>
                  <a:cubicBezTo>
                    <a:pt x="242947" y="12320"/>
                    <a:pt x="256871" y="0"/>
                    <a:pt x="2734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Gill Sans"/>
                <a:buNone/>
              </a:pPr>
              <a:endParaRPr sz="1200" b="0" i="0" u="none" strike="noStrike" cap="none">
                <a:solidFill>
                  <a:srgbClr val="FFFFFF"/>
                </a:solidFill>
              </a:endParaRPr>
            </a:p>
          </p:txBody>
        </p:sp>
        <p:sp>
          <p:nvSpPr>
            <p:cNvPr id="8" name="îş1íḑê">
              <a:extLst>
                <a:ext uri="{FF2B5EF4-FFF2-40B4-BE49-F238E27FC236}">
                  <a16:creationId xmlns:a16="http://schemas.microsoft.com/office/drawing/2014/main" id="{F62E3325-00C0-47E4-AFF6-8D3692485B03}"/>
                </a:ext>
              </a:extLst>
            </p:cNvPr>
            <p:cNvSpPr/>
            <p:nvPr/>
          </p:nvSpPr>
          <p:spPr>
            <a:xfrm>
              <a:off x="5084982" y="2873595"/>
              <a:ext cx="2040059" cy="1731688"/>
            </a:xfrm>
            <a:custGeom>
              <a:avLst/>
              <a:gdLst/>
              <a:ahLst/>
              <a:cxnLst/>
              <a:rect l="l" t="t" r="r" b="b"/>
              <a:pathLst>
                <a:path w="978" h="830" extrusionOk="0">
                  <a:moveTo>
                    <a:pt x="933" y="297"/>
                  </a:moveTo>
                  <a:cubicBezTo>
                    <a:pt x="902" y="296"/>
                    <a:pt x="872" y="337"/>
                    <a:pt x="856" y="341"/>
                  </a:cubicBezTo>
                  <a:cubicBezTo>
                    <a:pt x="835" y="345"/>
                    <a:pt x="824" y="336"/>
                    <a:pt x="813" y="322"/>
                  </a:cubicBezTo>
                  <a:cubicBezTo>
                    <a:pt x="793" y="296"/>
                    <a:pt x="788" y="268"/>
                    <a:pt x="799" y="200"/>
                  </a:cubicBezTo>
                  <a:cubicBezTo>
                    <a:pt x="799" y="199"/>
                    <a:pt x="799" y="199"/>
                    <a:pt x="799" y="199"/>
                  </a:cubicBezTo>
                  <a:cubicBezTo>
                    <a:pt x="808" y="155"/>
                    <a:pt x="820" y="112"/>
                    <a:pt x="834" y="70"/>
                  </a:cubicBezTo>
                  <a:cubicBezTo>
                    <a:pt x="837" y="58"/>
                    <a:pt x="831" y="46"/>
                    <a:pt x="820" y="41"/>
                  </a:cubicBezTo>
                  <a:cubicBezTo>
                    <a:pt x="788" y="28"/>
                    <a:pt x="765" y="18"/>
                    <a:pt x="727" y="10"/>
                  </a:cubicBezTo>
                  <a:cubicBezTo>
                    <a:pt x="704" y="6"/>
                    <a:pt x="664" y="0"/>
                    <a:pt x="646" y="0"/>
                  </a:cubicBezTo>
                  <a:cubicBezTo>
                    <a:pt x="612" y="0"/>
                    <a:pt x="596" y="13"/>
                    <a:pt x="593" y="26"/>
                  </a:cubicBezTo>
                  <a:cubicBezTo>
                    <a:pt x="586" y="50"/>
                    <a:pt x="643" y="83"/>
                    <a:pt x="640" y="116"/>
                  </a:cubicBezTo>
                  <a:cubicBezTo>
                    <a:pt x="636" y="163"/>
                    <a:pt x="565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13" y="188"/>
                    <a:pt x="342" y="163"/>
                    <a:pt x="338" y="116"/>
                  </a:cubicBezTo>
                  <a:cubicBezTo>
                    <a:pt x="335" y="83"/>
                    <a:pt x="391" y="50"/>
                    <a:pt x="385" y="26"/>
                  </a:cubicBezTo>
                  <a:cubicBezTo>
                    <a:pt x="381" y="13"/>
                    <a:pt x="366" y="0"/>
                    <a:pt x="331" y="0"/>
                  </a:cubicBezTo>
                  <a:cubicBezTo>
                    <a:pt x="314" y="0"/>
                    <a:pt x="274" y="6"/>
                    <a:pt x="251" y="10"/>
                  </a:cubicBezTo>
                  <a:cubicBezTo>
                    <a:pt x="212" y="18"/>
                    <a:pt x="190" y="28"/>
                    <a:pt x="158" y="41"/>
                  </a:cubicBezTo>
                  <a:cubicBezTo>
                    <a:pt x="147" y="46"/>
                    <a:pt x="141" y="58"/>
                    <a:pt x="143" y="70"/>
                  </a:cubicBezTo>
                  <a:cubicBezTo>
                    <a:pt x="158" y="112"/>
                    <a:pt x="169" y="155"/>
                    <a:pt x="178" y="199"/>
                  </a:cubicBezTo>
                  <a:cubicBezTo>
                    <a:pt x="179" y="199"/>
                    <a:pt x="179" y="199"/>
                    <a:pt x="179" y="200"/>
                  </a:cubicBezTo>
                  <a:cubicBezTo>
                    <a:pt x="190" y="268"/>
                    <a:pt x="185" y="296"/>
                    <a:pt x="165" y="322"/>
                  </a:cubicBezTo>
                  <a:cubicBezTo>
                    <a:pt x="154" y="336"/>
                    <a:pt x="143" y="345"/>
                    <a:pt x="122" y="341"/>
                  </a:cubicBezTo>
                  <a:cubicBezTo>
                    <a:pt x="106" y="337"/>
                    <a:pt x="75" y="296"/>
                    <a:pt x="44" y="297"/>
                  </a:cubicBezTo>
                  <a:cubicBezTo>
                    <a:pt x="17" y="299"/>
                    <a:pt x="0" y="361"/>
                    <a:pt x="0" y="415"/>
                  </a:cubicBezTo>
                  <a:cubicBezTo>
                    <a:pt x="0" y="470"/>
                    <a:pt x="17" y="532"/>
                    <a:pt x="44" y="534"/>
                  </a:cubicBezTo>
                  <a:cubicBezTo>
                    <a:pt x="75" y="535"/>
                    <a:pt x="106" y="494"/>
                    <a:pt x="122" y="490"/>
                  </a:cubicBezTo>
                  <a:cubicBezTo>
                    <a:pt x="143" y="486"/>
                    <a:pt x="154" y="495"/>
                    <a:pt x="165" y="509"/>
                  </a:cubicBezTo>
                  <a:cubicBezTo>
                    <a:pt x="185" y="535"/>
                    <a:pt x="190" y="562"/>
                    <a:pt x="179" y="631"/>
                  </a:cubicBezTo>
                  <a:cubicBezTo>
                    <a:pt x="179" y="632"/>
                    <a:pt x="179" y="632"/>
                    <a:pt x="178" y="632"/>
                  </a:cubicBezTo>
                  <a:cubicBezTo>
                    <a:pt x="169" y="676"/>
                    <a:pt x="158" y="719"/>
                    <a:pt x="143" y="761"/>
                  </a:cubicBezTo>
                  <a:cubicBezTo>
                    <a:pt x="141" y="773"/>
                    <a:pt x="147" y="785"/>
                    <a:pt x="158" y="790"/>
                  </a:cubicBezTo>
                  <a:cubicBezTo>
                    <a:pt x="190" y="803"/>
                    <a:pt x="212" y="813"/>
                    <a:pt x="251" y="821"/>
                  </a:cubicBezTo>
                  <a:cubicBezTo>
                    <a:pt x="274" y="825"/>
                    <a:pt x="314" y="830"/>
                    <a:pt x="331" y="830"/>
                  </a:cubicBezTo>
                  <a:cubicBezTo>
                    <a:pt x="366" y="830"/>
                    <a:pt x="381" y="818"/>
                    <a:pt x="385" y="805"/>
                  </a:cubicBezTo>
                  <a:cubicBezTo>
                    <a:pt x="391" y="781"/>
                    <a:pt x="335" y="748"/>
                    <a:pt x="338" y="715"/>
                  </a:cubicBezTo>
                  <a:cubicBezTo>
                    <a:pt x="342" y="668"/>
                    <a:pt x="413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565" y="643"/>
                    <a:pt x="636" y="668"/>
                    <a:pt x="640" y="715"/>
                  </a:cubicBezTo>
                  <a:cubicBezTo>
                    <a:pt x="643" y="748"/>
                    <a:pt x="586" y="781"/>
                    <a:pt x="593" y="805"/>
                  </a:cubicBezTo>
                  <a:cubicBezTo>
                    <a:pt x="596" y="818"/>
                    <a:pt x="612" y="830"/>
                    <a:pt x="646" y="830"/>
                  </a:cubicBezTo>
                  <a:cubicBezTo>
                    <a:pt x="664" y="830"/>
                    <a:pt x="704" y="825"/>
                    <a:pt x="727" y="821"/>
                  </a:cubicBezTo>
                  <a:cubicBezTo>
                    <a:pt x="765" y="813"/>
                    <a:pt x="788" y="803"/>
                    <a:pt x="820" y="790"/>
                  </a:cubicBezTo>
                  <a:cubicBezTo>
                    <a:pt x="831" y="785"/>
                    <a:pt x="837" y="773"/>
                    <a:pt x="834" y="761"/>
                  </a:cubicBezTo>
                  <a:cubicBezTo>
                    <a:pt x="820" y="719"/>
                    <a:pt x="808" y="676"/>
                    <a:pt x="799" y="632"/>
                  </a:cubicBezTo>
                  <a:cubicBezTo>
                    <a:pt x="799" y="632"/>
                    <a:pt x="799" y="632"/>
                    <a:pt x="799" y="631"/>
                  </a:cubicBezTo>
                  <a:cubicBezTo>
                    <a:pt x="788" y="562"/>
                    <a:pt x="793" y="535"/>
                    <a:pt x="813" y="509"/>
                  </a:cubicBezTo>
                  <a:cubicBezTo>
                    <a:pt x="824" y="495"/>
                    <a:pt x="835" y="486"/>
                    <a:pt x="856" y="490"/>
                  </a:cubicBezTo>
                  <a:cubicBezTo>
                    <a:pt x="872" y="494"/>
                    <a:pt x="902" y="535"/>
                    <a:pt x="933" y="534"/>
                  </a:cubicBezTo>
                  <a:cubicBezTo>
                    <a:pt x="961" y="532"/>
                    <a:pt x="978" y="470"/>
                    <a:pt x="978" y="415"/>
                  </a:cubicBezTo>
                  <a:cubicBezTo>
                    <a:pt x="978" y="361"/>
                    <a:pt x="961" y="299"/>
                    <a:pt x="933" y="2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" name="ïSľïḋê">
              <a:extLst>
                <a:ext uri="{FF2B5EF4-FFF2-40B4-BE49-F238E27FC236}">
                  <a16:creationId xmlns:a16="http://schemas.microsoft.com/office/drawing/2014/main" id="{140D5CE5-B549-4718-80AA-4C4753C45E08}"/>
                </a:ext>
              </a:extLst>
            </p:cNvPr>
            <p:cNvSpPr/>
            <p:nvPr/>
          </p:nvSpPr>
          <p:spPr>
            <a:xfrm>
              <a:off x="5900574" y="3492074"/>
              <a:ext cx="380255" cy="379507"/>
            </a:xfrm>
            <a:custGeom>
              <a:avLst/>
              <a:gdLst>
                <a:gd name="connsiteX0" fmla="*/ 373364 w 608838"/>
                <a:gd name="connsiteY0" fmla="*/ 414474 h 607639"/>
                <a:gd name="connsiteX1" fmla="*/ 373364 w 608838"/>
                <a:gd name="connsiteY1" fmla="*/ 461833 h 607639"/>
                <a:gd name="connsiteX2" fmla="*/ 399854 w 608838"/>
                <a:gd name="connsiteY2" fmla="*/ 447365 h 607639"/>
                <a:gd name="connsiteX3" fmla="*/ 235475 w 608838"/>
                <a:gd name="connsiteY3" fmla="*/ 414474 h 607639"/>
                <a:gd name="connsiteX4" fmla="*/ 208984 w 608838"/>
                <a:gd name="connsiteY4" fmla="*/ 447365 h 607639"/>
                <a:gd name="connsiteX5" fmla="*/ 235475 w 608838"/>
                <a:gd name="connsiteY5" fmla="*/ 461833 h 607639"/>
                <a:gd name="connsiteX6" fmla="*/ 304419 w 608838"/>
                <a:gd name="connsiteY6" fmla="*/ 174508 h 607639"/>
                <a:gd name="connsiteX7" fmla="*/ 371668 w 608838"/>
                <a:gd name="connsiteY7" fmla="*/ 241687 h 607639"/>
                <a:gd name="connsiteX8" fmla="*/ 304419 w 608838"/>
                <a:gd name="connsiteY8" fmla="*/ 308866 h 607639"/>
                <a:gd name="connsiteX9" fmla="*/ 237170 w 608838"/>
                <a:gd name="connsiteY9" fmla="*/ 241687 h 607639"/>
                <a:gd name="connsiteX10" fmla="*/ 304419 w 608838"/>
                <a:gd name="connsiteY10" fmla="*/ 174508 h 607639"/>
                <a:gd name="connsiteX11" fmla="*/ 304419 w 608838"/>
                <a:gd name="connsiteY11" fmla="*/ 131452 h 607639"/>
                <a:gd name="connsiteX12" fmla="*/ 131776 w 608838"/>
                <a:gd name="connsiteY12" fmla="*/ 303820 h 607639"/>
                <a:gd name="connsiteX13" fmla="*/ 168568 w 608838"/>
                <a:gd name="connsiteY13" fmla="*/ 410179 h 607639"/>
                <a:gd name="connsiteX14" fmla="*/ 231626 w 608838"/>
                <a:gd name="connsiteY14" fmla="*/ 329251 h 607639"/>
                <a:gd name="connsiteX15" fmla="*/ 254720 w 608838"/>
                <a:gd name="connsiteY15" fmla="*/ 317157 h 607639"/>
                <a:gd name="connsiteX16" fmla="*/ 354005 w 608838"/>
                <a:gd name="connsiteY16" fmla="*/ 317157 h 607639"/>
                <a:gd name="connsiteX17" fmla="*/ 377326 w 608838"/>
                <a:gd name="connsiteY17" fmla="*/ 329364 h 607639"/>
                <a:gd name="connsiteX18" fmla="*/ 440157 w 608838"/>
                <a:gd name="connsiteY18" fmla="*/ 410179 h 607639"/>
                <a:gd name="connsiteX19" fmla="*/ 477063 w 608838"/>
                <a:gd name="connsiteY19" fmla="*/ 303820 h 607639"/>
                <a:gd name="connsiteX20" fmla="*/ 304419 w 608838"/>
                <a:gd name="connsiteY20" fmla="*/ 131452 h 607639"/>
                <a:gd name="connsiteX21" fmla="*/ 273400 w 608838"/>
                <a:gd name="connsiteY21" fmla="*/ 0 h 607639"/>
                <a:gd name="connsiteX22" fmla="*/ 338042 w 608838"/>
                <a:gd name="connsiteY22" fmla="*/ 0 h 607639"/>
                <a:gd name="connsiteX23" fmla="*/ 370420 w 608838"/>
                <a:gd name="connsiteY23" fmla="*/ 28709 h 607639"/>
                <a:gd name="connsiteX24" fmla="*/ 374269 w 608838"/>
                <a:gd name="connsiteY24" fmla="*/ 62392 h 607639"/>
                <a:gd name="connsiteX25" fmla="*/ 428610 w 608838"/>
                <a:gd name="connsiteY25" fmla="*/ 85110 h 607639"/>
                <a:gd name="connsiteX26" fmla="*/ 454534 w 608838"/>
                <a:gd name="connsiteY26" fmla="*/ 64539 h 607639"/>
                <a:gd name="connsiteX27" fmla="*/ 474799 w 608838"/>
                <a:gd name="connsiteY27" fmla="*/ 57531 h 607639"/>
                <a:gd name="connsiteX28" fmla="*/ 497780 w 608838"/>
                <a:gd name="connsiteY28" fmla="*/ 67026 h 607639"/>
                <a:gd name="connsiteX29" fmla="*/ 543403 w 608838"/>
                <a:gd name="connsiteY29" fmla="*/ 112576 h 607639"/>
                <a:gd name="connsiteX30" fmla="*/ 545894 w 608838"/>
                <a:gd name="connsiteY30" fmla="*/ 155753 h 607639"/>
                <a:gd name="connsiteX31" fmla="*/ 524611 w 608838"/>
                <a:gd name="connsiteY31" fmla="*/ 182540 h 607639"/>
                <a:gd name="connsiteX32" fmla="*/ 545441 w 608838"/>
                <a:gd name="connsiteY32" fmla="*/ 233742 h 607639"/>
                <a:gd name="connsiteX33" fmla="*/ 579970 w 608838"/>
                <a:gd name="connsiteY33" fmla="*/ 237811 h 607639"/>
                <a:gd name="connsiteX34" fmla="*/ 608838 w 608838"/>
                <a:gd name="connsiteY34" fmla="*/ 270024 h 607639"/>
                <a:gd name="connsiteX35" fmla="*/ 608838 w 608838"/>
                <a:gd name="connsiteY35" fmla="*/ 334676 h 607639"/>
                <a:gd name="connsiteX36" fmla="*/ 579970 w 608838"/>
                <a:gd name="connsiteY36" fmla="*/ 366889 h 607639"/>
                <a:gd name="connsiteX37" fmla="*/ 544875 w 608838"/>
                <a:gd name="connsiteY37" fmla="*/ 370958 h 607639"/>
                <a:gd name="connsiteX38" fmla="*/ 523139 w 608838"/>
                <a:gd name="connsiteY38" fmla="*/ 422838 h 607639"/>
                <a:gd name="connsiteX39" fmla="*/ 546007 w 608838"/>
                <a:gd name="connsiteY39" fmla="*/ 451773 h 607639"/>
                <a:gd name="connsiteX40" fmla="*/ 543517 w 608838"/>
                <a:gd name="connsiteY40" fmla="*/ 494950 h 607639"/>
                <a:gd name="connsiteX41" fmla="*/ 497780 w 608838"/>
                <a:gd name="connsiteY41" fmla="*/ 540613 h 607639"/>
                <a:gd name="connsiteX42" fmla="*/ 474799 w 608838"/>
                <a:gd name="connsiteY42" fmla="*/ 550108 h 607639"/>
                <a:gd name="connsiteX43" fmla="*/ 454534 w 608838"/>
                <a:gd name="connsiteY43" fmla="*/ 543100 h 607639"/>
                <a:gd name="connsiteX44" fmla="*/ 425100 w 608838"/>
                <a:gd name="connsiteY44" fmla="*/ 519816 h 607639"/>
                <a:gd name="connsiteX45" fmla="*/ 372118 w 608838"/>
                <a:gd name="connsiteY45" fmla="*/ 541178 h 607639"/>
                <a:gd name="connsiteX46" fmla="*/ 367816 w 608838"/>
                <a:gd name="connsiteY46" fmla="*/ 578930 h 607639"/>
                <a:gd name="connsiteX47" fmla="*/ 335439 w 608838"/>
                <a:gd name="connsiteY47" fmla="*/ 607639 h 607639"/>
                <a:gd name="connsiteX48" fmla="*/ 270796 w 608838"/>
                <a:gd name="connsiteY48" fmla="*/ 607639 h 607639"/>
                <a:gd name="connsiteX49" fmla="*/ 238418 w 608838"/>
                <a:gd name="connsiteY49" fmla="*/ 578930 h 607639"/>
                <a:gd name="connsiteX50" fmla="*/ 233890 w 608838"/>
                <a:gd name="connsiteY50" fmla="*/ 539596 h 607639"/>
                <a:gd name="connsiteX51" fmla="*/ 184871 w 608838"/>
                <a:gd name="connsiteY51" fmla="*/ 518799 h 607639"/>
                <a:gd name="connsiteX52" fmla="*/ 154304 w 608838"/>
                <a:gd name="connsiteY52" fmla="*/ 542987 h 607639"/>
                <a:gd name="connsiteX53" fmla="*/ 134040 w 608838"/>
                <a:gd name="connsiteY53" fmla="*/ 549995 h 607639"/>
                <a:gd name="connsiteX54" fmla="*/ 111058 w 608838"/>
                <a:gd name="connsiteY54" fmla="*/ 540500 h 607639"/>
                <a:gd name="connsiteX55" fmla="*/ 65322 w 608838"/>
                <a:gd name="connsiteY55" fmla="*/ 494837 h 607639"/>
                <a:gd name="connsiteX56" fmla="*/ 62831 w 608838"/>
                <a:gd name="connsiteY56" fmla="*/ 451660 h 607639"/>
                <a:gd name="connsiteX57" fmla="*/ 87284 w 608838"/>
                <a:gd name="connsiteY57" fmla="*/ 420917 h 607639"/>
                <a:gd name="connsiteX58" fmla="*/ 67473 w 608838"/>
                <a:gd name="connsiteY58" fmla="*/ 374123 h 607639"/>
                <a:gd name="connsiteX59" fmla="*/ 28869 w 608838"/>
                <a:gd name="connsiteY59" fmla="*/ 369602 h 607639"/>
                <a:gd name="connsiteX60" fmla="*/ 0 w 608838"/>
                <a:gd name="connsiteY60" fmla="*/ 337389 h 607639"/>
                <a:gd name="connsiteX61" fmla="*/ 0 w 608838"/>
                <a:gd name="connsiteY61" fmla="*/ 272737 h 607639"/>
                <a:gd name="connsiteX62" fmla="*/ 28869 w 608838"/>
                <a:gd name="connsiteY62" fmla="*/ 240524 h 607639"/>
                <a:gd name="connsiteX63" fmla="*/ 65209 w 608838"/>
                <a:gd name="connsiteY63" fmla="*/ 236342 h 607639"/>
                <a:gd name="connsiteX64" fmla="*/ 85699 w 608838"/>
                <a:gd name="connsiteY64" fmla="*/ 184575 h 607639"/>
                <a:gd name="connsiteX65" fmla="*/ 62831 w 608838"/>
                <a:gd name="connsiteY65" fmla="*/ 155866 h 607639"/>
                <a:gd name="connsiteX66" fmla="*/ 65322 w 608838"/>
                <a:gd name="connsiteY66" fmla="*/ 112576 h 607639"/>
                <a:gd name="connsiteX67" fmla="*/ 111058 w 608838"/>
                <a:gd name="connsiteY67" fmla="*/ 67026 h 607639"/>
                <a:gd name="connsiteX68" fmla="*/ 134040 w 608838"/>
                <a:gd name="connsiteY68" fmla="*/ 57531 h 607639"/>
                <a:gd name="connsiteX69" fmla="*/ 154304 w 608838"/>
                <a:gd name="connsiteY69" fmla="*/ 64539 h 607639"/>
                <a:gd name="connsiteX70" fmla="*/ 181361 w 608838"/>
                <a:gd name="connsiteY70" fmla="*/ 85901 h 607639"/>
                <a:gd name="connsiteX71" fmla="*/ 237173 w 608838"/>
                <a:gd name="connsiteY71" fmla="*/ 62392 h 607639"/>
                <a:gd name="connsiteX72" fmla="*/ 241022 w 608838"/>
                <a:gd name="connsiteY72" fmla="*/ 28709 h 607639"/>
                <a:gd name="connsiteX73" fmla="*/ 273400 w 608838"/>
                <a:gd name="connsiteY73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838" h="607639">
                  <a:moveTo>
                    <a:pt x="373364" y="414474"/>
                  </a:moveTo>
                  <a:lnTo>
                    <a:pt x="373364" y="461833"/>
                  </a:lnTo>
                  <a:cubicBezTo>
                    <a:pt x="382647" y="457764"/>
                    <a:pt x="391477" y="452904"/>
                    <a:pt x="399854" y="447365"/>
                  </a:cubicBezTo>
                  <a:close/>
                  <a:moveTo>
                    <a:pt x="235475" y="414474"/>
                  </a:moveTo>
                  <a:lnTo>
                    <a:pt x="208984" y="447365"/>
                  </a:lnTo>
                  <a:cubicBezTo>
                    <a:pt x="217362" y="452904"/>
                    <a:pt x="226192" y="457764"/>
                    <a:pt x="235475" y="461833"/>
                  </a:cubicBezTo>
                  <a:close/>
                  <a:moveTo>
                    <a:pt x="304419" y="174508"/>
                  </a:moveTo>
                  <a:cubicBezTo>
                    <a:pt x="341560" y="174508"/>
                    <a:pt x="371668" y="204585"/>
                    <a:pt x="371668" y="241687"/>
                  </a:cubicBezTo>
                  <a:cubicBezTo>
                    <a:pt x="371668" y="278789"/>
                    <a:pt x="341560" y="308866"/>
                    <a:pt x="304419" y="308866"/>
                  </a:cubicBezTo>
                  <a:cubicBezTo>
                    <a:pt x="267278" y="308866"/>
                    <a:pt x="237170" y="278789"/>
                    <a:pt x="237170" y="241687"/>
                  </a:cubicBezTo>
                  <a:cubicBezTo>
                    <a:pt x="237170" y="204585"/>
                    <a:pt x="267278" y="174508"/>
                    <a:pt x="304419" y="174508"/>
                  </a:cubicBezTo>
                  <a:close/>
                  <a:moveTo>
                    <a:pt x="304419" y="131452"/>
                  </a:moveTo>
                  <a:cubicBezTo>
                    <a:pt x="209210" y="131452"/>
                    <a:pt x="131776" y="208763"/>
                    <a:pt x="131776" y="303820"/>
                  </a:cubicBezTo>
                  <a:cubicBezTo>
                    <a:pt x="131776" y="343944"/>
                    <a:pt x="145587" y="380792"/>
                    <a:pt x="168568" y="410179"/>
                  </a:cubicBezTo>
                  <a:lnTo>
                    <a:pt x="231626" y="329251"/>
                  </a:lnTo>
                  <a:cubicBezTo>
                    <a:pt x="236720" y="321678"/>
                    <a:pt x="245437" y="317157"/>
                    <a:pt x="254720" y="317157"/>
                  </a:cubicBezTo>
                  <a:lnTo>
                    <a:pt x="354005" y="317157"/>
                  </a:lnTo>
                  <a:cubicBezTo>
                    <a:pt x="363288" y="317157"/>
                    <a:pt x="372005" y="321678"/>
                    <a:pt x="377326" y="329364"/>
                  </a:cubicBezTo>
                  <a:lnTo>
                    <a:pt x="440157" y="410179"/>
                  </a:lnTo>
                  <a:cubicBezTo>
                    <a:pt x="463251" y="380792"/>
                    <a:pt x="477063" y="343944"/>
                    <a:pt x="477063" y="303820"/>
                  </a:cubicBezTo>
                  <a:cubicBezTo>
                    <a:pt x="477063" y="208763"/>
                    <a:pt x="399628" y="131452"/>
                    <a:pt x="304419" y="131452"/>
                  </a:cubicBezTo>
                  <a:close/>
                  <a:moveTo>
                    <a:pt x="273400" y="0"/>
                  </a:moveTo>
                  <a:lnTo>
                    <a:pt x="338042" y="0"/>
                  </a:lnTo>
                  <a:cubicBezTo>
                    <a:pt x="354571" y="0"/>
                    <a:pt x="368382" y="12320"/>
                    <a:pt x="370420" y="28709"/>
                  </a:cubicBezTo>
                  <a:lnTo>
                    <a:pt x="374269" y="62392"/>
                  </a:lnTo>
                  <a:cubicBezTo>
                    <a:pt x="393288" y="67817"/>
                    <a:pt x="411515" y="75390"/>
                    <a:pt x="428610" y="85110"/>
                  </a:cubicBezTo>
                  <a:lnTo>
                    <a:pt x="454534" y="64539"/>
                  </a:lnTo>
                  <a:cubicBezTo>
                    <a:pt x="460308" y="60018"/>
                    <a:pt x="467553" y="57531"/>
                    <a:pt x="474799" y="57531"/>
                  </a:cubicBezTo>
                  <a:cubicBezTo>
                    <a:pt x="483516" y="57531"/>
                    <a:pt x="491667" y="60809"/>
                    <a:pt x="497780" y="67026"/>
                  </a:cubicBezTo>
                  <a:lnTo>
                    <a:pt x="543403" y="112576"/>
                  </a:lnTo>
                  <a:cubicBezTo>
                    <a:pt x="555064" y="124218"/>
                    <a:pt x="556083" y="142868"/>
                    <a:pt x="545894" y="155753"/>
                  </a:cubicBezTo>
                  <a:lnTo>
                    <a:pt x="524611" y="182540"/>
                  </a:lnTo>
                  <a:cubicBezTo>
                    <a:pt x="533554" y="198929"/>
                    <a:pt x="540573" y="216223"/>
                    <a:pt x="545441" y="233742"/>
                  </a:cubicBezTo>
                  <a:lnTo>
                    <a:pt x="579970" y="237811"/>
                  </a:lnTo>
                  <a:cubicBezTo>
                    <a:pt x="596385" y="239733"/>
                    <a:pt x="608838" y="253635"/>
                    <a:pt x="608838" y="270024"/>
                  </a:cubicBezTo>
                  <a:lnTo>
                    <a:pt x="608838" y="334676"/>
                  </a:lnTo>
                  <a:cubicBezTo>
                    <a:pt x="608838" y="351065"/>
                    <a:pt x="596385" y="364968"/>
                    <a:pt x="579970" y="366889"/>
                  </a:cubicBezTo>
                  <a:lnTo>
                    <a:pt x="544875" y="370958"/>
                  </a:lnTo>
                  <a:cubicBezTo>
                    <a:pt x="539781" y="388817"/>
                    <a:pt x="532422" y="406223"/>
                    <a:pt x="523139" y="422838"/>
                  </a:cubicBezTo>
                  <a:lnTo>
                    <a:pt x="546007" y="451773"/>
                  </a:lnTo>
                  <a:cubicBezTo>
                    <a:pt x="556196" y="464772"/>
                    <a:pt x="555177" y="483308"/>
                    <a:pt x="543517" y="494950"/>
                  </a:cubicBezTo>
                  <a:lnTo>
                    <a:pt x="497780" y="540613"/>
                  </a:lnTo>
                  <a:cubicBezTo>
                    <a:pt x="491554" y="546717"/>
                    <a:pt x="483403" y="550108"/>
                    <a:pt x="474799" y="550108"/>
                  </a:cubicBezTo>
                  <a:cubicBezTo>
                    <a:pt x="467440" y="550108"/>
                    <a:pt x="460308" y="547621"/>
                    <a:pt x="454534" y="543100"/>
                  </a:cubicBezTo>
                  <a:lnTo>
                    <a:pt x="425100" y="519816"/>
                  </a:lnTo>
                  <a:cubicBezTo>
                    <a:pt x="408232" y="528971"/>
                    <a:pt x="390458" y="536092"/>
                    <a:pt x="372118" y="541178"/>
                  </a:cubicBezTo>
                  <a:lnTo>
                    <a:pt x="367816" y="578930"/>
                  </a:lnTo>
                  <a:cubicBezTo>
                    <a:pt x="365892" y="595319"/>
                    <a:pt x="351967" y="607639"/>
                    <a:pt x="335439" y="607639"/>
                  </a:cubicBezTo>
                  <a:lnTo>
                    <a:pt x="270796" y="607639"/>
                  </a:lnTo>
                  <a:cubicBezTo>
                    <a:pt x="254268" y="607639"/>
                    <a:pt x="240343" y="595319"/>
                    <a:pt x="238418" y="578930"/>
                  </a:cubicBezTo>
                  <a:lnTo>
                    <a:pt x="233890" y="539596"/>
                  </a:lnTo>
                  <a:cubicBezTo>
                    <a:pt x="216795" y="534397"/>
                    <a:pt x="200380" y="527502"/>
                    <a:pt x="184871" y="518799"/>
                  </a:cubicBezTo>
                  <a:lnTo>
                    <a:pt x="154304" y="542987"/>
                  </a:lnTo>
                  <a:cubicBezTo>
                    <a:pt x="148530" y="547508"/>
                    <a:pt x="141285" y="549995"/>
                    <a:pt x="134040" y="549995"/>
                  </a:cubicBezTo>
                  <a:cubicBezTo>
                    <a:pt x="125323" y="549995"/>
                    <a:pt x="117172" y="546604"/>
                    <a:pt x="111058" y="540500"/>
                  </a:cubicBezTo>
                  <a:lnTo>
                    <a:pt x="65322" y="494837"/>
                  </a:lnTo>
                  <a:cubicBezTo>
                    <a:pt x="53661" y="483082"/>
                    <a:pt x="52642" y="464545"/>
                    <a:pt x="62831" y="451660"/>
                  </a:cubicBezTo>
                  <a:lnTo>
                    <a:pt x="87284" y="420917"/>
                  </a:lnTo>
                  <a:cubicBezTo>
                    <a:pt x="79133" y="406110"/>
                    <a:pt x="72454" y="390399"/>
                    <a:pt x="67473" y="374123"/>
                  </a:cubicBezTo>
                  <a:lnTo>
                    <a:pt x="28869" y="369602"/>
                  </a:lnTo>
                  <a:cubicBezTo>
                    <a:pt x="12453" y="367680"/>
                    <a:pt x="0" y="353778"/>
                    <a:pt x="0" y="337389"/>
                  </a:cubicBezTo>
                  <a:lnTo>
                    <a:pt x="0" y="272737"/>
                  </a:lnTo>
                  <a:cubicBezTo>
                    <a:pt x="0" y="256348"/>
                    <a:pt x="12453" y="242445"/>
                    <a:pt x="28869" y="240524"/>
                  </a:cubicBezTo>
                  <a:lnTo>
                    <a:pt x="65209" y="236342"/>
                  </a:lnTo>
                  <a:cubicBezTo>
                    <a:pt x="69963" y="218483"/>
                    <a:pt x="76869" y="201077"/>
                    <a:pt x="85699" y="184575"/>
                  </a:cubicBezTo>
                  <a:lnTo>
                    <a:pt x="62831" y="155866"/>
                  </a:lnTo>
                  <a:cubicBezTo>
                    <a:pt x="52642" y="142868"/>
                    <a:pt x="53661" y="124331"/>
                    <a:pt x="65322" y="112576"/>
                  </a:cubicBezTo>
                  <a:lnTo>
                    <a:pt x="111058" y="67026"/>
                  </a:lnTo>
                  <a:cubicBezTo>
                    <a:pt x="117285" y="60922"/>
                    <a:pt x="125436" y="57531"/>
                    <a:pt x="134040" y="57531"/>
                  </a:cubicBezTo>
                  <a:cubicBezTo>
                    <a:pt x="141398" y="57531"/>
                    <a:pt x="148530" y="60018"/>
                    <a:pt x="154304" y="64539"/>
                  </a:cubicBezTo>
                  <a:lnTo>
                    <a:pt x="181361" y="85901"/>
                  </a:lnTo>
                  <a:cubicBezTo>
                    <a:pt x="198908" y="75842"/>
                    <a:pt x="217588" y="67930"/>
                    <a:pt x="237173" y="62392"/>
                  </a:cubicBezTo>
                  <a:lnTo>
                    <a:pt x="241022" y="28709"/>
                  </a:lnTo>
                  <a:cubicBezTo>
                    <a:pt x="242947" y="12320"/>
                    <a:pt x="256871" y="0"/>
                    <a:pt x="2734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Gill Sans"/>
                <a:buNone/>
              </a:pPr>
              <a:endParaRPr sz="1200" b="0" i="0" u="none" strike="noStrike" cap="none">
                <a:solidFill>
                  <a:srgbClr val="FFFFFF"/>
                </a:solidFill>
              </a:endParaRPr>
            </a:p>
          </p:txBody>
        </p:sp>
        <p:sp>
          <p:nvSpPr>
            <p:cNvPr id="10" name="išľîḓé">
              <a:extLst>
                <a:ext uri="{FF2B5EF4-FFF2-40B4-BE49-F238E27FC236}">
                  <a16:creationId xmlns:a16="http://schemas.microsoft.com/office/drawing/2014/main" id="{57C3857A-88FF-444A-AFA6-A9EC7072E375}"/>
                </a:ext>
              </a:extLst>
            </p:cNvPr>
            <p:cNvSpPr/>
            <p:nvPr/>
          </p:nvSpPr>
          <p:spPr>
            <a:xfrm>
              <a:off x="3687778" y="2718908"/>
              <a:ext cx="1730685" cy="2041062"/>
            </a:xfrm>
            <a:custGeom>
              <a:avLst/>
              <a:gdLst/>
              <a:ahLst/>
              <a:cxnLst/>
              <a:rect l="l" t="t" r="r" b="b"/>
              <a:pathLst>
                <a:path w="830" h="978" extrusionOk="0">
                  <a:moveTo>
                    <a:pt x="297" y="45"/>
                  </a:moveTo>
                  <a:cubicBezTo>
                    <a:pt x="295" y="76"/>
                    <a:pt x="337" y="106"/>
                    <a:pt x="340" y="123"/>
                  </a:cubicBezTo>
                  <a:cubicBezTo>
                    <a:pt x="345" y="143"/>
                    <a:pt x="335" y="155"/>
                    <a:pt x="321" y="165"/>
                  </a:cubicBezTo>
                  <a:cubicBezTo>
                    <a:pt x="295" y="185"/>
                    <a:pt x="268" y="190"/>
                    <a:pt x="199" y="179"/>
                  </a:cubicBezTo>
                  <a:cubicBezTo>
                    <a:pt x="199" y="179"/>
                    <a:pt x="198" y="179"/>
                    <a:pt x="198" y="179"/>
                  </a:cubicBezTo>
                  <a:cubicBezTo>
                    <a:pt x="155" y="170"/>
                    <a:pt x="111" y="158"/>
                    <a:pt x="69" y="144"/>
                  </a:cubicBezTo>
                  <a:cubicBezTo>
                    <a:pt x="57" y="142"/>
                    <a:pt x="45" y="148"/>
                    <a:pt x="40" y="159"/>
                  </a:cubicBezTo>
                  <a:cubicBezTo>
                    <a:pt x="28" y="190"/>
                    <a:pt x="17" y="213"/>
                    <a:pt x="9" y="251"/>
                  </a:cubicBezTo>
                  <a:cubicBezTo>
                    <a:pt x="5" y="275"/>
                    <a:pt x="0" y="314"/>
                    <a:pt x="0" y="332"/>
                  </a:cubicBezTo>
                  <a:cubicBezTo>
                    <a:pt x="0" y="366"/>
                    <a:pt x="12" y="382"/>
                    <a:pt x="26" y="386"/>
                  </a:cubicBezTo>
                  <a:cubicBezTo>
                    <a:pt x="49" y="392"/>
                    <a:pt x="82" y="336"/>
                    <a:pt x="115" y="338"/>
                  </a:cubicBezTo>
                  <a:cubicBezTo>
                    <a:pt x="162" y="342"/>
                    <a:pt x="187" y="414"/>
                    <a:pt x="187" y="489"/>
                  </a:cubicBezTo>
                  <a:cubicBezTo>
                    <a:pt x="187" y="489"/>
                    <a:pt x="187" y="489"/>
                    <a:pt x="187" y="489"/>
                  </a:cubicBezTo>
                  <a:cubicBezTo>
                    <a:pt x="187" y="489"/>
                    <a:pt x="187" y="490"/>
                    <a:pt x="187" y="490"/>
                  </a:cubicBezTo>
                  <a:cubicBezTo>
                    <a:pt x="187" y="565"/>
                    <a:pt x="162" y="636"/>
                    <a:pt x="115" y="640"/>
                  </a:cubicBezTo>
                  <a:cubicBezTo>
                    <a:pt x="82" y="643"/>
                    <a:pt x="49" y="587"/>
                    <a:pt x="26" y="593"/>
                  </a:cubicBezTo>
                  <a:cubicBezTo>
                    <a:pt x="12" y="597"/>
                    <a:pt x="0" y="612"/>
                    <a:pt x="0" y="647"/>
                  </a:cubicBezTo>
                  <a:cubicBezTo>
                    <a:pt x="0" y="664"/>
                    <a:pt x="5" y="704"/>
                    <a:pt x="9" y="727"/>
                  </a:cubicBezTo>
                  <a:cubicBezTo>
                    <a:pt x="17" y="766"/>
                    <a:pt x="28" y="788"/>
                    <a:pt x="40" y="820"/>
                  </a:cubicBezTo>
                  <a:cubicBezTo>
                    <a:pt x="45" y="831"/>
                    <a:pt x="57" y="837"/>
                    <a:pt x="69" y="835"/>
                  </a:cubicBezTo>
                  <a:cubicBezTo>
                    <a:pt x="111" y="820"/>
                    <a:pt x="155" y="809"/>
                    <a:pt x="198" y="800"/>
                  </a:cubicBezTo>
                  <a:cubicBezTo>
                    <a:pt x="198" y="800"/>
                    <a:pt x="199" y="800"/>
                    <a:pt x="199" y="800"/>
                  </a:cubicBezTo>
                  <a:cubicBezTo>
                    <a:pt x="268" y="788"/>
                    <a:pt x="295" y="793"/>
                    <a:pt x="321" y="814"/>
                  </a:cubicBezTo>
                  <a:cubicBezTo>
                    <a:pt x="335" y="824"/>
                    <a:pt x="345" y="835"/>
                    <a:pt x="340" y="856"/>
                  </a:cubicBezTo>
                  <a:cubicBezTo>
                    <a:pt x="337" y="873"/>
                    <a:pt x="295" y="903"/>
                    <a:pt x="297" y="934"/>
                  </a:cubicBezTo>
                  <a:cubicBezTo>
                    <a:pt x="298" y="962"/>
                    <a:pt x="360" y="978"/>
                    <a:pt x="415" y="978"/>
                  </a:cubicBezTo>
                  <a:cubicBezTo>
                    <a:pt x="470" y="978"/>
                    <a:pt x="531" y="962"/>
                    <a:pt x="533" y="934"/>
                  </a:cubicBezTo>
                  <a:cubicBezTo>
                    <a:pt x="535" y="903"/>
                    <a:pt x="493" y="873"/>
                    <a:pt x="490" y="856"/>
                  </a:cubicBezTo>
                  <a:cubicBezTo>
                    <a:pt x="485" y="835"/>
                    <a:pt x="495" y="824"/>
                    <a:pt x="508" y="814"/>
                  </a:cubicBezTo>
                  <a:cubicBezTo>
                    <a:pt x="535" y="793"/>
                    <a:pt x="562" y="788"/>
                    <a:pt x="631" y="800"/>
                  </a:cubicBezTo>
                  <a:cubicBezTo>
                    <a:pt x="631" y="800"/>
                    <a:pt x="631" y="800"/>
                    <a:pt x="632" y="800"/>
                  </a:cubicBezTo>
                  <a:cubicBezTo>
                    <a:pt x="675" y="809"/>
                    <a:pt x="718" y="820"/>
                    <a:pt x="760" y="835"/>
                  </a:cubicBezTo>
                  <a:cubicBezTo>
                    <a:pt x="772" y="837"/>
                    <a:pt x="784" y="831"/>
                    <a:pt x="790" y="820"/>
                  </a:cubicBezTo>
                  <a:cubicBezTo>
                    <a:pt x="802" y="788"/>
                    <a:pt x="813" y="766"/>
                    <a:pt x="821" y="727"/>
                  </a:cubicBezTo>
                  <a:cubicBezTo>
                    <a:pt x="825" y="704"/>
                    <a:pt x="830" y="664"/>
                    <a:pt x="830" y="647"/>
                  </a:cubicBezTo>
                  <a:cubicBezTo>
                    <a:pt x="830" y="612"/>
                    <a:pt x="818" y="597"/>
                    <a:pt x="804" y="593"/>
                  </a:cubicBezTo>
                  <a:cubicBezTo>
                    <a:pt x="781" y="587"/>
                    <a:pt x="748" y="643"/>
                    <a:pt x="715" y="640"/>
                  </a:cubicBezTo>
                  <a:cubicBezTo>
                    <a:pt x="668" y="636"/>
                    <a:pt x="642" y="565"/>
                    <a:pt x="642" y="490"/>
                  </a:cubicBezTo>
                  <a:cubicBezTo>
                    <a:pt x="642" y="490"/>
                    <a:pt x="642" y="489"/>
                    <a:pt x="642" y="489"/>
                  </a:cubicBezTo>
                  <a:cubicBezTo>
                    <a:pt x="642" y="489"/>
                    <a:pt x="642" y="489"/>
                    <a:pt x="642" y="489"/>
                  </a:cubicBezTo>
                  <a:cubicBezTo>
                    <a:pt x="642" y="414"/>
                    <a:pt x="668" y="342"/>
                    <a:pt x="715" y="338"/>
                  </a:cubicBezTo>
                  <a:cubicBezTo>
                    <a:pt x="748" y="336"/>
                    <a:pt x="781" y="392"/>
                    <a:pt x="804" y="386"/>
                  </a:cubicBezTo>
                  <a:cubicBezTo>
                    <a:pt x="818" y="382"/>
                    <a:pt x="830" y="366"/>
                    <a:pt x="830" y="332"/>
                  </a:cubicBezTo>
                  <a:cubicBezTo>
                    <a:pt x="830" y="314"/>
                    <a:pt x="825" y="275"/>
                    <a:pt x="821" y="251"/>
                  </a:cubicBezTo>
                  <a:cubicBezTo>
                    <a:pt x="813" y="213"/>
                    <a:pt x="802" y="190"/>
                    <a:pt x="790" y="159"/>
                  </a:cubicBezTo>
                  <a:cubicBezTo>
                    <a:pt x="784" y="148"/>
                    <a:pt x="772" y="142"/>
                    <a:pt x="760" y="144"/>
                  </a:cubicBezTo>
                  <a:cubicBezTo>
                    <a:pt x="718" y="158"/>
                    <a:pt x="675" y="170"/>
                    <a:pt x="632" y="179"/>
                  </a:cubicBezTo>
                  <a:cubicBezTo>
                    <a:pt x="631" y="179"/>
                    <a:pt x="631" y="179"/>
                    <a:pt x="631" y="179"/>
                  </a:cubicBezTo>
                  <a:cubicBezTo>
                    <a:pt x="562" y="190"/>
                    <a:pt x="535" y="185"/>
                    <a:pt x="508" y="165"/>
                  </a:cubicBezTo>
                  <a:cubicBezTo>
                    <a:pt x="495" y="155"/>
                    <a:pt x="485" y="143"/>
                    <a:pt x="490" y="123"/>
                  </a:cubicBezTo>
                  <a:cubicBezTo>
                    <a:pt x="493" y="106"/>
                    <a:pt x="535" y="76"/>
                    <a:pt x="533" y="45"/>
                  </a:cubicBezTo>
                  <a:cubicBezTo>
                    <a:pt x="531" y="17"/>
                    <a:pt x="470" y="0"/>
                    <a:pt x="415" y="0"/>
                  </a:cubicBezTo>
                  <a:cubicBezTo>
                    <a:pt x="360" y="0"/>
                    <a:pt x="298" y="17"/>
                    <a:pt x="297" y="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" name="îṥ1iḍe">
              <a:extLst>
                <a:ext uri="{FF2B5EF4-FFF2-40B4-BE49-F238E27FC236}">
                  <a16:creationId xmlns:a16="http://schemas.microsoft.com/office/drawing/2014/main" id="{E4F12438-1872-479E-B0E9-C59E0A4CC43D}"/>
                </a:ext>
              </a:extLst>
            </p:cNvPr>
            <p:cNvSpPr/>
            <p:nvPr/>
          </p:nvSpPr>
          <p:spPr>
            <a:xfrm>
              <a:off x="4362992" y="3492074"/>
              <a:ext cx="380255" cy="379507"/>
            </a:xfrm>
            <a:custGeom>
              <a:avLst/>
              <a:gdLst>
                <a:gd name="connsiteX0" fmla="*/ 373364 w 608838"/>
                <a:gd name="connsiteY0" fmla="*/ 414474 h 607639"/>
                <a:gd name="connsiteX1" fmla="*/ 373364 w 608838"/>
                <a:gd name="connsiteY1" fmla="*/ 461833 h 607639"/>
                <a:gd name="connsiteX2" fmla="*/ 399854 w 608838"/>
                <a:gd name="connsiteY2" fmla="*/ 447365 h 607639"/>
                <a:gd name="connsiteX3" fmla="*/ 235475 w 608838"/>
                <a:gd name="connsiteY3" fmla="*/ 414474 h 607639"/>
                <a:gd name="connsiteX4" fmla="*/ 208984 w 608838"/>
                <a:gd name="connsiteY4" fmla="*/ 447365 h 607639"/>
                <a:gd name="connsiteX5" fmla="*/ 235475 w 608838"/>
                <a:gd name="connsiteY5" fmla="*/ 461833 h 607639"/>
                <a:gd name="connsiteX6" fmla="*/ 304419 w 608838"/>
                <a:gd name="connsiteY6" fmla="*/ 174508 h 607639"/>
                <a:gd name="connsiteX7" fmla="*/ 371668 w 608838"/>
                <a:gd name="connsiteY7" fmla="*/ 241687 h 607639"/>
                <a:gd name="connsiteX8" fmla="*/ 304419 w 608838"/>
                <a:gd name="connsiteY8" fmla="*/ 308866 h 607639"/>
                <a:gd name="connsiteX9" fmla="*/ 237170 w 608838"/>
                <a:gd name="connsiteY9" fmla="*/ 241687 h 607639"/>
                <a:gd name="connsiteX10" fmla="*/ 304419 w 608838"/>
                <a:gd name="connsiteY10" fmla="*/ 174508 h 607639"/>
                <a:gd name="connsiteX11" fmla="*/ 304419 w 608838"/>
                <a:gd name="connsiteY11" fmla="*/ 131452 h 607639"/>
                <a:gd name="connsiteX12" fmla="*/ 131776 w 608838"/>
                <a:gd name="connsiteY12" fmla="*/ 303820 h 607639"/>
                <a:gd name="connsiteX13" fmla="*/ 168568 w 608838"/>
                <a:gd name="connsiteY13" fmla="*/ 410179 h 607639"/>
                <a:gd name="connsiteX14" fmla="*/ 231626 w 608838"/>
                <a:gd name="connsiteY14" fmla="*/ 329251 h 607639"/>
                <a:gd name="connsiteX15" fmla="*/ 254720 w 608838"/>
                <a:gd name="connsiteY15" fmla="*/ 317157 h 607639"/>
                <a:gd name="connsiteX16" fmla="*/ 354005 w 608838"/>
                <a:gd name="connsiteY16" fmla="*/ 317157 h 607639"/>
                <a:gd name="connsiteX17" fmla="*/ 377326 w 608838"/>
                <a:gd name="connsiteY17" fmla="*/ 329364 h 607639"/>
                <a:gd name="connsiteX18" fmla="*/ 440157 w 608838"/>
                <a:gd name="connsiteY18" fmla="*/ 410179 h 607639"/>
                <a:gd name="connsiteX19" fmla="*/ 477063 w 608838"/>
                <a:gd name="connsiteY19" fmla="*/ 303820 h 607639"/>
                <a:gd name="connsiteX20" fmla="*/ 304419 w 608838"/>
                <a:gd name="connsiteY20" fmla="*/ 131452 h 607639"/>
                <a:gd name="connsiteX21" fmla="*/ 273400 w 608838"/>
                <a:gd name="connsiteY21" fmla="*/ 0 h 607639"/>
                <a:gd name="connsiteX22" fmla="*/ 338042 w 608838"/>
                <a:gd name="connsiteY22" fmla="*/ 0 h 607639"/>
                <a:gd name="connsiteX23" fmla="*/ 370420 w 608838"/>
                <a:gd name="connsiteY23" fmla="*/ 28709 h 607639"/>
                <a:gd name="connsiteX24" fmla="*/ 374269 w 608838"/>
                <a:gd name="connsiteY24" fmla="*/ 62392 h 607639"/>
                <a:gd name="connsiteX25" fmla="*/ 428610 w 608838"/>
                <a:gd name="connsiteY25" fmla="*/ 85110 h 607639"/>
                <a:gd name="connsiteX26" fmla="*/ 454534 w 608838"/>
                <a:gd name="connsiteY26" fmla="*/ 64539 h 607639"/>
                <a:gd name="connsiteX27" fmla="*/ 474799 w 608838"/>
                <a:gd name="connsiteY27" fmla="*/ 57531 h 607639"/>
                <a:gd name="connsiteX28" fmla="*/ 497780 w 608838"/>
                <a:gd name="connsiteY28" fmla="*/ 67026 h 607639"/>
                <a:gd name="connsiteX29" fmla="*/ 543403 w 608838"/>
                <a:gd name="connsiteY29" fmla="*/ 112576 h 607639"/>
                <a:gd name="connsiteX30" fmla="*/ 545894 w 608838"/>
                <a:gd name="connsiteY30" fmla="*/ 155753 h 607639"/>
                <a:gd name="connsiteX31" fmla="*/ 524611 w 608838"/>
                <a:gd name="connsiteY31" fmla="*/ 182540 h 607639"/>
                <a:gd name="connsiteX32" fmla="*/ 545441 w 608838"/>
                <a:gd name="connsiteY32" fmla="*/ 233742 h 607639"/>
                <a:gd name="connsiteX33" fmla="*/ 579970 w 608838"/>
                <a:gd name="connsiteY33" fmla="*/ 237811 h 607639"/>
                <a:gd name="connsiteX34" fmla="*/ 608838 w 608838"/>
                <a:gd name="connsiteY34" fmla="*/ 270024 h 607639"/>
                <a:gd name="connsiteX35" fmla="*/ 608838 w 608838"/>
                <a:gd name="connsiteY35" fmla="*/ 334676 h 607639"/>
                <a:gd name="connsiteX36" fmla="*/ 579970 w 608838"/>
                <a:gd name="connsiteY36" fmla="*/ 366889 h 607639"/>
                <a:gd name="connsiteX37" fmla="*/ 544875 w 608838"/>
                <a:gd name="connsiteY37" fmla="*/ 370958 h 607639"/>
                <a:gd name="connsiteX38" fmla="*/ 523139 w 608838"/>
                <a:gd name="connsiteY38" fmla="*/ 422838 h 607639"/>
                <a:gd name="connsiteX39" fmla="*/ 546007 w 608838"/>
                <a:gd name="connsiteY39" fmla="*/ 451773 h 607639"/>
                <a:gd name="connsiteX40" fmla="*/ 543517 w 608838"/>
                <a:gd name="connsiteY40" fmla="*/ 494950 h 607639"/>
                <a:gd name="connsiteX41" fmla="*/ 497780 w 608838"/>
                <a:gd name="connsiteY41" fmla="*/ 540613 h 607639"/>
                <a:gd name="connsiteX42" fmla="*/ 474799 w 608838"/>
                <a:gd name="connsiteY42" fmla="*/ 550108 h 607639"/>
                <a:gd name="connsiteX43" fmla="*/ 454534 w 608838"/>
                <a:gd name="connsiteY43" fmla="*/ 543100 h 607639"/>
                <a:gd name="connsiteX44" fmla="*/ 425100 w 608838"/>
                <a:gd name="connsiteY44" fmla="*/ 519816 h 607639"/>
                <a:gd name="connsiteX45" fmla="*/ 372118 w 608838"/>
                <a:gd name="connsiteY45" fmla="*/ 541178 h 607639"/>
                <a:gd name="connsiteX46" fmla="*/ 367816 w 608838"/>
                <a:gd name="connsiteY46" fmla="*/ 578930 h 607639"/>
                <a:gd name="connsiteX47" fmla="*/ 335439 w 608838"/>
                <a:gd name="connsiteY47" fmla="*/ 607639 h 607639"/>
                <a:gd name="connsiteX48" fmla="*/ 270796 w 608838"/>
                <a:gd name="connsiteY48" fmla="*/ 607639 h 607639"/>
                <a:gd name="connsiteX49" fmla="*/ 238418 w 608838"/>
                <a:gd name="connsiteY49" fmla="*/ 578930 h 607639"/>
                <a:gd name="connsiteX50" fmla="*/ 233890 w 608838"/>
                <a:gd name="connsiteY50" fmla="*/ 539596 h 607639"/>
                <a:gd name="connsiteX51" fmla="*/ 184871 w 608838"/>
                <a:gd name="connsiteY51" fmla="*/ 518799 h 607639"/>
                <a:gd name="connsiteX52" fmla="*/ 154304 w 608838"/>
                <a:gd name="connsiteY52" fmla="*/ 542987 h 607639"/>
                <a:gd name="connsiteX53" fmla="*/ 134040 w 608838"/>
                <a:gd name="connsiteY53" fmla="*/ 549995 h 607639"/>
                <a:gd name="connsiteX54" fmla="*/ 111058 w 608838"/>
                <a:gd name="connsiteY54" fmla="*/ 540500 h 607639"/>
                <a:gd name="connsiteX55" fmla="*/ 65322 w 608838"/>
                <a:gd name="connsiteY55" fmla="*/ 494837 h 607639"/>
                <a:gd name="connsiteX56" fmla="*/ 62831 w 608838"/>
                <a:gd name="connsiteY56" fmla="*/ 451660 h 607639"/>
                <a:gd name="connsiteX57" fmla="*/ 87284 w 608838"/>
                <a:gd name="connsiteY57" fmla="*/ 420917 h 607639"/>
                <a:gd name="connsiteX58" fmla="*/ 67473 w 608838"/>
                <a:gd name="connsiteY58" fmla="*/ 374123 h 607639"/>
                <a:gd name="connsiteX59" fmla="*/ 28869 w 608838"/>
                <a:gd name="connsiteY59" fmla="*/ 369602 h 607639"/>
                <a:gd name="connsiteX60" fmla="*/ 0 w 608838"/>
                <a:gd name="connsiteY60" fmla="*/ 337389 h 607639"/>
                <a:gd name="connsiteX61" fmla="*/ 0 w 608838"/>
                <a:gd name="connsiteY61" fmla="*/ 272737 h 607639"/>
                <a:gd name="connsiteX62" fmla="*/ 28869 w 608838"/>
                <a:gd name="connsiteY62" fmla="*/ 240524 h 607639"/>
                <a:gd name="connsiteX63" fmla="*/ 65209 w 608838"/>
                <a:gd name="connsiteY63" fmla="*/ 236342 h 607639"/>
                <a:gd name="connsiteX64" fmla="*/ 85699 w 608838"/>
                <a:gd name="connsiteY64" fmla="*/ 184575 h 607639"/>
                <a:gd name="connsiteX65" fmla="*/ 62831 w 608838"/>
                <a:gd name="connsiteY65" fmla="*/ 155866 h 607639"/>
                <a:gd name="connsiteX66" fmla="*/ 65322 w 608838"/>
                <a:gd name="connsiteY66" fmla="*/ 112576 h 607639"/>
                <a:gd name="connsiteX67" fmla="*/ 111058 w 608838"/>
                <a:gd name="connsiteY67" fmla="*/ 67026 h 607639"/>
                <a:gd name="connsiteX68" fmla="*/ 134040 w 608838"/>
                <a:gd name="connsiteY68" fmla="*/ 57531 h 607639"/>
                <a:gd name="connsiteX69" fmla="*/ 154304 w 608838"/>
                <a:gd name="connsiteY69" fmla="*/ 64539 h 607639"/>
                <a:gd name="connsiteX70" fmla="*/ 181361 w 608838"/>
                <a:gd name="connsiteY70" fmla="*/ 85901 h 607639"/>
                <a:gd name="connsiteX71" fmla="*/ 237173 w 608838"/>
                <a:gd name="connsiteY71" fmla="*/ 62392 h 607639"/>
                <a:gd name="connsiteX72" fmla="*/ 241022 w 608838"/>
                <a:gd name="connsiteY72" fmla="*/ 28709 h 607639"/>
                <a:gd name="connsiteX73" fmla="*/ 273400 w 608838"/>
                <a:gd name="connsiteY73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838" h="607639">
                  <a:moveTo>
                    <a:pt x="373364" y="414474"/>
                  </a:moveTo>
                  <a:lnTo>
                    <a:pt x="373364" y="461833"/>
                  </a:lnTo>
                  <a:cubicBezTo>
                    <a:pt x="382647" y="457764"/>
                    <a:pt x="391477" y="452904"/>
                    <a:pt x="399854" y="447365"/>
                  </a:cubicBezTo>
                  <a:close/>
                  <a:moveTo>
                    <a:pt x="235475" y="414474"/>
                  </a:moveTo>
                  <a:lnTo>
                    <a:pt x="208984" y="447365"/>
                  </a:lnTo>
                  <a:cubicBezTo>
                    <a:pt x="217362" y="452904"/>
                    <a:pt x="226192" y="457764"/>
                    <a:pt x="235475" y="461833"/>
                  </a:cubicBezTo>
                  <a:close/>
                  <a:moveTo>
                    <a:pt x="304419" y="174508"/>
                  </a:moveTo>
                  <a:cubicBezTo>
                    <a:pt x="341560" y="174508"/>
                    <a:pt x="371668" y="204585"/>
                    <a:pt x="371668" y="241687"/>
                  </a:cubicBezTo>
                  <a:cubicBezTo>
                    <a:pt x="371668" y="278789"/>
                    <a:pt x="341560" y="308866"/>
                    <a:pt x="304419" y="308866"/>
                  </a:cubicBezTo>
                  <a:cubicBezTo>
                    <a:pt x="267278" y="308866"/>
                    <a:pt x="237170" y="278789"/>
                    <a:pt x="237170" y="241687"/>
                  </a:cubicBezTo>
                  <a:cubicBezTo>
                    <a:pt x="237170" y="204585"/>
                    <a:pt x="267278" y="174508"/>
                    <a:pt x="304419" y="174508"/>
                  </a:cubicBezTo>
                  <a:close/>
                  <a:moveTo>
                    <a:pt x="304419" y="131452"/>
                  </a:moveTo>
                  <a:cubicBezTo>
                    <a:pt x="209210" y="131452"/>
                    <a:pt x="131776" y="208763"/>
                    <a:pt x="131776" y="303820"/>
                  </a:cubicBezTo>
                  <a:cubicBezTo>
                    <a:pt x="131776" y="343944"/>
                    <a:pt x="145587" y="380792"/>
                    <a:pt x="168568" y="410179"/>
                  </a:cubicBezTo>
                  <a:lnTo>
                    <a:pt x="231626" y="329251"/>
                  </a:lnTo>
                  <a:cubicBezTo>
                    <a:pt x="236720" y="321678"/>
                    <a:pt x="245437" y="317157"/>
                    <a:pt x="254720" y="317157"/>
                  </a:cubicBezTo>
                  <a:lnTo>
                    <a:pt x="354005" y="317157"/>
                  </a:lnTo>
                  <a:cubicBezTo>
                    <a:pt x="363288" y="317157"/>
                    <a:pt x="372005" y="321678"/>
                    <a:pt x="377326" y="329364"/>
                  </a:cubicBezTo>
                  <a:lnTo>
                    <a:pt x="440157" y="410179"/>
                  </a:lnTo>
                  <a:cubicBezTo>
                    <a:pt x="463251" y="380792"/>
                    <a:pt x="477063" y="343944"/>
                    <a:pt x="477063" y="303820"/>
                  </a:cubicBezTo>
                  <a:cubicBezTo>
                    <a:pt x="477063" y="208763"/>
                    <a:pt x="399628" y="131452"/>
                    <a:pt x="304419" y="131452"/>
                  </a:cubicBezTo>
                  <a:close/>
                  <a:moveTo>
                    <a:pt x="273400" y="0"/>
                  </a:moveTo>
                  <a:lnTo>
                    <a:pt x="338042" y="0"/>
                  </a:lnTo>
                  <a:cubicBezTo>
                    <a:pt x="354571" y="0"/>
                    <a:pt x="368382" y="12320"/>
                    <a:pt x="370420" y="28709"/>
                  </a:cubicBezTo>
                  <a:lnTo>
                    <a:pt x="374269" y="62392"/>
                  </a:lnTo>
                  <a:cubicBezTo>
                    <a:pt x="393288" y="67817"/>
                    <a:pt x="411515" y="75390"/>
                    <a:pt x="428610" y="85110"/>
                  </a:cubicBezTo>
                  <a:lnTo>
                    <a:pt x="454534" y="64539"/>
                  </a:lnTo>
                  <a:cubicBezTo>
                    <a:pt x="460308" y="60018"/>
                    <a:pt x="467553" y="57531"/>
                    <a:pt x="474799" y="57531"/>
                  </a:cubicBezTo>
                  <a:cubicBezTo>
                    <a:pt x="483516" y="57531"/>
                    <a:pt x="491667" y="60809"/>
                    <a:pt x="497780" y="67026"/>
                  </a:cubicBezTo>
                  <a:lnTo>
                    <a:pt x="543403" y="112576"/>
                  </a:lnTo>
                  <a:cubicBezTo>
                    <a:pt x="555064" y="124218"/>
                    <a:pt x="556083" y="142868"/>
                    <a:pt x="545894" y="155753"/>
                  </a:cubicBezTo>
                  <a:lnTo>
                    <a:pt x="524611" y="182540"/>
                  </a:lnTo>
                  <a:cubicBezTo>
                    <a:pt x="533554" y="198929"/>
                    <a:pt x="540573" y="216223"/>
                    <a:pt x="545441" y="233742"/>
                  </a:cubicBezTo>
                  <a:lnTo>
                    <a:pt x="579970" y="237811"/>
                  </a:lnTo>
                  <a:cubicBezTo>
                    <a:pt x="596385" y="239733"/>
                    <a:pt x="608838" y="253635"/>
                    <a:pt x="608838" y="270024"/>
                  </a:cubicBezTo>
                  <a:lnTo>
                    <a:pt x="608838" y="334676"/>
                  </a:lnTo>
                  <a:cubicBezTo>
                    <a:pt x="608838" y="351065"/>
                    <a:pt x="596385" y="364968"/>
                    <a:pt x="579970" y="366889"/>
                  </a:cubicBezTo>
                  <a:lnTo>
                    <a:pt x="544875" y="370958"/>
                  </a:lnTo>
                  <a:cubicBezTo>
                    <a:pt x="539781" y="388817"/>
                    <a:pt x="532422" y="406223"/>
                    <a:pt x="523139" y="422838"/>
                  </a:cubicBezTo>
                  <a:lnTo>
                    <a:pt x="546007" y="451773"/>
                  </a:lnTo>
                  <a:cubicBezTo>
                    <a:pt x="556196" y="464772"/>
                    <a:pt x="555177" y="483308"/>
                    <a:pt x="543517" y="494950"/>
                  </a:cubicBezTo>
                  <a:lnTo>
                    <a:pt x="497780" y="540613"/>
                  </a:lnTo>
                  <a:cubicBezTo>
                    <a:pt x="491554" y="546717"/>
                    <a:pt x="483403" y="550108"/>
                    <a:pt x="474799" y="550108"/>
                  </a:cubicBezTo>
                  <a:cubicBezTo>
                    <a:pt x="467440" y="550108"/>
                    <a:pt x="460308" y="547621"/>
                    <a:pt x="454534" y="543100"/>
                  </a:cubicBezTo>
                  <a:lnTo>
                    <a:pt x="425100" y="519816"/>
                  </a:lnTo>
                  <a:cubicBezTo>
                    <a:pt x="408232" y="528971"/>
                    <a:pt x="390458" y="536092"/>
                    <a:pt x="372118" y="541178"/>
                  </a:cubicBezTo>
                  <a:lnTo>
                    <a:pt x="367816" y="578930"/>
                  </a:lnTo>
                  <a:cubicBezTo>
                    <a:pt x="365892" y="595319"/>
                    <a:pt x="351967" y="607639"/>
                    <a:pt x="335439" y="607639"/>
                  </a:cubicBezTo>
                  <a:lnTo>
                    <a:pt x="270796" y="607639"/>
                  </a:lnTo>
                  <a:cubicBezTo>
                    <a:pt x="254268" y="607639"/>
                    <a:pt x="240343" y="595319"/>
                    <a:pt x="238418" y="578930"/>
                  </a:cubicBezTo>
                  <a:lnTo>
                    <a:pt x="233890" y="539596"/>
                  </a:lnTo>
                  <a:cubicBezTo>
                    <a:pt x="216795" y="534397"/>
                    <a:pt x="200380" y="527502"/>
                    <a:pt x="184871" y="518799"/>
                  </a:cubicBezTo>
                  <a:lnTo>
                    <a:pt x="154304" y="542987"/>
                  </a:lnTo>
                  <a:cubicBezTo>
                    <a:pt x="148530" y="547508"/>
                    <a:pt x="141285" y="549995"/>
                    <a:pt x="134040" y="549995"/>
                  </a:cubicBezTo>
                  <a:cubicBezTo>
                    <a:pt x="125323" y="549995"/>
                    <a:pt x="117172" y="546604"/>
                    <a:pt x="111058" y="540500"/>
                  </a:cubicBezTo>
                  <a:lnTo>
                    <a:pt x="65322" y="494837"/>
                  </a:lnTo>
                  <a:cubicBezTo>
                    <a:pt x="53661" y="483082"/>
                    <a:pt x="52642" y="464545"/>
                    <a:pt x="62831" y="451660"/>
                  </a:cubicBezTo>
                  <a:lnTo>
                    <a:pt x="87284" y="420917"/>
                  </a:lnTo>
                  <a:cubicBezTo>
                    <a:pt x="79133" y="406110"/>
                    <a:pt x="72454" y="390399"/>
                    <a:pt x="67473" y="374123"/>
                  </a:cubicBezTo>
                  <a:lnTo>
                    <a:pt x="28869" y="369602"/>
                  </a:lnTo>
                  <a:cubicBezTo>
                    <a:pt x="12453" y="367680"/>
                    <a:pt x="0" y="353778"/>
                    <a:pt x="0" y="337389"/>
                  </a:cubicBezTo>
                  <a:lnTo>
                    <a:pt x="0" y="272737"/>
                  </a:lnTo>
                  <a:cubicBezTo>
                    <a:pt x="0" y="256348"/>
                    <a:pt x="12453" y="242445"/>
                    <a:pt x="28869" y="240524"/>
                  </a:cubicBezTo>
                  <a:lnTo>
                    <a:pt x="65209" y="236342"/>
                  </a:lnTo>
                  <a:cubicBezTo>
                    <a:pt x="69963" y="218483"/>
                    <a:pt x="76869" y="201077"/>
                    <a:pt x="85699" y="184575"/>
                  </a:cubicBezTo>
                  <a:lnTo>
                    <a:pt x="62831" y="155866"/>
                  </a:lnTo>
                  <a:cubicBezTo>
                    <a:pt x="52642" y="142868"/>
                    <a:pt x="53661" y="124331"/>
                    <a:pt x="65322" y="112576"/>
                  </a:cubicBezTo>
                  <a:lnTo>
                    <a:pt x="111058" y="67026"/>
                  </a:lnTo>
                  <a:cubicBezTo>
                    <a:pt x="117285" y="60922"/>
                    <a:pt x="125436" y="57531"/>
                    <a:pt x="134040" y="57531"/>
                  </a:cubicBezTo>
                  <a:cubicBezTo>
                    <a:pt x="141398" y="57531"/>
                    <a:pt x="148530" y="60018"/>
                    <a:pt x="154304" y="64539"/>
                  </a:cubicBezTo>
                  <a:lnTo>
                    <a:pt x="181361" y="85901"/>
                  </a:lnTo>
                  <a:cubicBezTo>
                    <a:pt x="198908" y="75842"/>
                    <a:pt x="217588" y="67930"/>
                    <a:pt x="237173" y="62392"/>
                  </a:cubicBezTo>
                  <a:lnTo>
                    <a:pt x="241022" y="28709"/>
                  </a:lnTo>
                  <a:cubicBezTo>
                    <a:pt x="242947" y="12320"/>
                    <a:pt x="256871" y="0"/>
                    <a:pt x="27340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Gill Sans"/>
                <a:buNone/>
              </a:pPr>
              <a:endParaRPr sz="1200" b="0" i="0" u="none" strike="noStrike" cap="none">
                <a:solidFill>
                  <a:srgbClr val="FFFFFF"/>
                </a:solidFill>
              </a:endParaRPr>
            </a:p>
          </p:txBody>
        </p:sp>
        <p:sp>
          <p:nvSpPr>
            <p:cNvPr id="12" name="îşļiḍè">
              <a:extLst>
                <a:ext uri="{FF2B5EF4-FFF2-40B4-BE49-F238E27FC236}">
                  <a16:creationId xmlns:a16="http://schemas.microsoft.com/office/drawing/2014/main" id="{945EE784-974A-4E0B-AABC-2A5F0EAF6A53}"/>
                </a:ext>
              </a:extLst>
            </p:cNvPr>
            <p:cNvSpPr/>
            <p:nvPr/>
          </p:nvSpPr>
          <p:spPr>
            <a:xfrm>
              <a:off x="8170741" y="2873595"/>
              <a:ext cx="2040059" cy="1731688"/>
            </a:xfrm>
            <a:custGeom>
              <a:avLst/>
              <a:gdLst/>
              <a:ahLst/>
              <a:cxnLst/>
              <a:rect l="l" t="t" r="r" b="b"/>
              <a:pathLst>
                <a:path w="978" h="830" extrusionOk="0">
                  <a:moveTo>
                    <a:pt x="933" y="297"/>
                  </a:moveTo>
                  <a:cubicBezTo>
                    <a:pt x="902" y="296"/>
                    <a:pt x="872" y="337"/>
                    <a:pt x="856" y="341"/>
                  </a:cubicBezTo>
                  <a:cubicBezTo>
                    <a:pt x="835" y="345"/>
                    <a:pt x="824" y="336"/>
                    <a:pt x="813" y="322"/>
                  </a:cubicBezTo>
                  <a:cubicBezTo>
                    <a:pt x="793" y="296"/>
                    <a:pt x="788" y="268"/>
                    <a:pt x="799" y="200"/>
                  </a:cubicBezTo>
                  <a:cubicBezTo>
                    <a:pt x="799" y="199"/>
                    <a:pt x="799" y="199"/>
                    <a:pt x="799" y="199"/>
                  </a:cubicBezTo>
                  <a:cubicBezTo>
                    <a:pt x="808" y="155"/>
                    <a:pt x="820" y="112"/>
                    <a:pt x="834" y="70"/>
                  </a:cubicBezTo>
                  <a:cubicBezTo>
                    <a:pt x="837" y="58"/>
                    <a:pt x="831" y="46"/>
                    <a:pt x="820" y="41"/>
                  </a:cubicBezTo>
                  <a:cubicBezTo>
                    <a:pt x="788" y="28"/>
                    <a:pt x="765" y="18"/>
                    <a:pt x="727" y="10"/>
                  </a:cubicBezTo>
                  <a:cubicBezTo>
                    <a:pt x="704" y="6"/>
                    <a:pt x="664" y="0"/>
                    <a:pt x="646" y="0"/>
                  </a:cubicBezTo>
                  <a:cubicBezTo>
                    <a:pt x="612" y="0"/>
                    <a:pt x="596" y="13"/>
                    <a:pt x="593" y="26"/>
                  </a:cubicBezTo>
                  <a:cubicBezTo>
                    <a:pt x="586" y="50"/>
                    <a:pt x="643" y="83"/>
                    <a:pt x="640" y="116"/>
                  </a:cubicBezTo>
                  <a:cubicBezTo>
                    <a:pt x="636" y="163"/>
                    <a:pt x="565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89" y="188"/>
                    <a:pt x="489" y="188"/>
                    <a:pt x="489" y="188"/>
                  </a:cubicBezTo>
                  <a:cubicBezTo>
                    <a:pt x="413" y="188"/>
                    <a:pt x="342" y="163"/>
                    <a:pt x="338" y="116"/>
                  </a:cubicBezTo>
                  <a:cubicBezTo>
                    <a:pt x="335" y="83"/>
                    <a:pt x="391" y="50"/>
                    <a:pt x="385" y="26"/>
                  </a:cubicBezTo>
                  <a:cubicBezTo>
                    <a:pt x="381" y="13"/>
                    <a:pt x="366" y="0"/>
                    <a:pt x="331" y="0"/>
                  </a:cubicBezTo>
                  <a:cubicBezTo>
                    <a:pt x="314" y="0"/>
                    <a:pt x="274" y="6"/>
                    <a:pt x="251" y="10"/>
                  </a:cubicBezTo>
                  <a:cubicBezTo>
                    <a:pt x="212" y="18"/>
                    <a:pt x="190" y="28"/>
                    <a:pt x="158" y="41"/>
                  </a:cubicBezTo>
                  <a:cubicBezTo>
                    <a:pt x="147" y="46"/>
                    <a:pt x="141" y="58"/>
                    <a:pt x="143" y="70"/>
                  </a:cubicBezTo>
                  <a:cubicBezTo>
                    <a:pt x="158" y="112"/>
                    <a:pt x="169" y="155"/>
                    <a:pt x="178" y="199"/>
                  </a:cubicBezTo>
                  <a:cubicBezTo>
                    <a:pt x="179" y="199"/>
                    <a:pt x="179" y="199"/>
                    <a:pt x="179" y="200"/>
                  </a:cubicBezTo>
                  <a:cubicBezTo>
                    <a:pt x="190" y="268"/>
                    <a:pt x="185" y="296"/>
                    <a:pt x="165" y="322"/>
                  </a:cubicBezTo>
                  <a:cubicBezTo>
                    <a:pt x="154" y="336"/>
                    <a:pt x="143" y="345"/>
                    <a:pt x="122" y="341"/>
                  </a:cubicBezTo>
                  <a:cubicBezTo>
                    <a:pt x="106" y="337"/>
                    <a:pt x="75" y="296"/>
                    <a:pt x="44" y="297"/>
                  </a:cubicBezTo>
                  <a:cubicBezTo>
                    <a:pt x="17" y="299"/>
                    <a:pt x="0" y="361"/>
                    <a:pt x="0" y="415"/>
                  </a:cubicBezTo>
                  <a:cubicBezTo>
                    <a:pt x="0" y="470"/>
                    <a:pt x="17" y="532"/>
                    <a:pt x="44" y="534"/>
                  </a:cubicBezTo>
                  <a:cubicBezTo>
                    <a:pt x="75" y="535"/>
                    <a:pt x="106" y="494"/>
                    <a:pt x="122" y="490"/>
                  </a:cubicBezTo>
                  <a:cubicBezTo>
                    <a:pt x="143" y="486"/>
                    <a:pt x="154" y="495"/>
                    <a:pt x="165" y="509"/>
                  </a:cubicBezTo>
                  <a:cubicBezTo>
                    <a:pt x="185" y="535"/>
                    <a:pt x="190" y="562"/>
                    <a:pt x="179" y="631"/>
                  </a:cubicBezTo>
                  <a:cubicBezTo>
                    <a:pt x="179" y="632"/>
                    <a:pt x="179" y="632"/>
                    <a:pt x="178" y="632"/>
                  </a:cubicBezTo>
                  <a:cubicBezTo>
                    <a:pt x="169" y="676"/>
                    <a:pt x="158" y="719"/>
                    <a:pt x="143" y="761"/>
                  </a:cubicBezTo>
                  <a:cubicBezTo>
                    <a:pt x="141" y="773"/>
                    <a:pt x="147" y="785"/>
                    <a:pt x="158" y="790"/>
                  </a:cubicBezTo>
                  <a:cubicBezTo>
                    <a:pt x="190" y="803"/>
                    <a:pt x="212" y="813"/>
                    <a:pt x="251" y="821"/>
                  </a:cubicBezTo>
                  <a:cubicBezTo>
                    <a:pt x="274" y="825"/>
                    <a:pt x="314" y="830"/>
                    <a:pt x="331" y="830"/>
                  </a:cubicBezTo>
                  <a:cubicBezTo>
                    <a:pt x="366" y="830"/>
                    <a:pt x="381" y="818"/>
                    <a:pt x="385" y="805"/>
                  </a:cubicBezTo>
                  <a:cubicBezTo>
                    <a:pt x="391" y="781"/>
                    <a:pt x="335" y="748"/>
                    <a:pt x="338" y="715"/>
                  </a:cubicBezTo>
                  <a:cubicBezTo>
                    <a:pt x="342" y="668"/>
                    <a:pt x="413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489" y="643"/>
                    <a:pt x="489" y="643"/>
                    <a:pt x="489" y="643"/>
                  </a:cubicBezTo>
                  <a:cubicBezTo>
                    <a:pt x="565" y="643"/>
                    <a:pt x="636" y="668"/>
                    <a:pt x="640" y="715"/>
                  </a:cubicBezTo>
                  <a:cubicBezTo>
                    <a:pt x="643" y="748"/>
                    <a:pt x="586" y="781"/>
                    <a:pt x="593" y="805"/>
                  </a:cubicBezTo>
                  <a:cubicBezTo>
                    <a:pt x="596" y="818"/>
                    <a:pt x="612" y="830"/>
                    <a:pt x="646" y="830"/>
                  </a:cubicBezTo>
                  <a:cubicBezTo>
                    <a:pt x="664" y="830"/>
                    <a:pt x="704" y="825"/>
                    <a:pt x="727" y="821"/>
                  </a:cubicBezTo>
                  <a:cubicBezTo>
                    <a:pt x="765" y="813"/>
                    <a:pt x="788" y="803"/>
                    <a:pt x="820" y="790"/>
                  </a:cubicBezTo>
                  <a:cubicBezTo>
                    <a:pt x="831" y="785"/>
                    <a:pt x="837" y="773"/>
                    <a:pt x="834" y="761"/>
                  </a:cubicBezTo>
                  <a:cubicBezTo>
                    <a:pt x="820" y="719"/>
                    <a:pt x="808" y="676"/>
                    <a:pt x="799" y="632"/>
                  </a:cubicBezTo>
                  <a:cubicBezTo>
                    <a:pt x="799" y="632"/>
                    <a:pt x="799" y="632"/>
                    <a:pt x="799" y="631"/>
                  </a:cubicBezTo>
                  <a:cubicBezTo>
                    <a:pt x="788" y="562"/>
                    <a:pt x="793" y="535"/>
                    <a:pt x="813" y="509"/>
                  </a:cubicBezTo>
                  <a:cubicBezTo>
                    <a:pt x="824" y="495"/>
                    <a:pt x="835" y="486"/>
                    <a:pt x="856" y="490"/>
                  </a:cubicBezTo>
                  <a:cubicBezTo>
                    <a:pt x="872" y="494"/>
                    <a:pt x="902" y="535"/>
                    <a:pt x="933" y="534"/>
                  </a:cubicBezTo>
                  <a:cubicBezTo>
                    <a:pt x="961" y="532"/>
                    <a:pt x="978" y="470"/>
                    <a:pt x="978" y="415"/>
                  </a:cubicBezTo>
                  <a:cubicBezTo>
                    <a:pt x="978" y="361"/>
                    <a:pt x="961" y="299"/>
                    <a:pt x="933" y="2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3" name="iṡlíďe">
              <a:extLst>
                <a:ext uri="{FF2B5EF4-FFF2-40B4-BE49-F238E27FC236}">
                  <a16:creationId xmlns:a16="http://schemas.microsoft.com/office/drawing/2014/main" id="{19A6DE5A-6C37-4E5B-A1E2-7A9F343F9424}"/>
                </a:ext>
              </a:extLst>
            </p:cNvPr>
            <p:cNvSpPr/>
            <p:nvPr/>
          </p:nvSpPr>
          <p:spPr>
            <a:xfrm>
              <a:off x="8946413" y="3492074"/>
              <a:ext cx="380255" cy="379507"/>
            </a:xfrm>
            <a:custGeom>
              <a:avLst/>
              <a:gdLst>
                <a:gd name="connsiteX0" fmla="*/ 373364 w 608838"/>
                <a:gd name="connsiteY0" fmla="*/ 414474 h 607639"/>
                <a:gd name="connsiteX1" fmla="*/ 373364 w 608838"/>
                <a:gd name="connsiteY1" fmla="*/ 461833 h 607639"/>
                <a:gd name="connsiteX2" fmla="*/ 399854 w 608838"/>
                <a:gd name="connsiteY2" fmla="*/ 447365 h 607639"/>
                <a:gd name="connsiteX3" fmla="*/ 235475 w 608838"/>
                <a:gd name="connsiteY3" fmla="*/ 414474 h 607639"/>
                <a:gd name="connsiteX4" fmla="*/ 208984 w 608838"/>
                <a:gd name="connsiteY4" fmla="*/ 447365 h 607639"/>
                <a:gd name="connsiteX5" fmla="*/ 235475 w 608838"/>
                <a:gd name="connsiteY5" fmla="*/ 461833 h 607639"/>
                <a:gd name="connsiteX6" fmla="*/ 304419 w 608838"/>
                <a:gd name="connsiteY6" fmla="*/ 174508 h 607639"/>
                <a:gd name="connsiteX7" fmla="*/ 371668 w 608838"/>
                <a:gd name="connsiteY7" fmla="*/ 241687 h 607639"/>
                <a:gd name="connsiteX8" fmla="*/ 304419 w 608838"/>
                <a:gd name="connsiteY8" fmla="*/ 308866 h 607639"/>
                <a:gd name="connsiteX9" fmla="*/ 237170 w 608838"/>
                <a:gd name="connsiteY9" fmla="*/ 241687 h 607639"/>
                <a:gd name="connsiteX10" fmla="*/ 304419 w 608838"/>
                <a:gd name="connsiteY10" fmla="*/ 174508 h 607639"/>
                <a:gd name="connsiteX11" fmla="*/ 304419 w 608838"/>
                <a:gd name="connsiteY11" fmla="*/ 131452 h 607639"/>
                <a:gd name="connsiteX12" fmla="*/ 131776 w 608838"/>
                <a:gd name="connsiteY12" fmla="*/ 303820 h 607639"/>
                <a:gd name="connsiteX13" fmla="*/ 168568 w 608838"/>
                <a:gd name="connsiteY13" fmla="*/ 410179 h 607639"/>
                <a:gd name="connsiteX14" fmla="*/ 231626 w 608838"/>
                <a:gd name="connsiteY14" fmla="*/ 329251 h 607639"/>
                <a:gd name="connsiteX15" fmla="*/ 254720 w 608838"/>
                <a:gd name="connsiteY15" fmla="*/ 317157 h 607639"/>
                <a:gd name="connsiteX16" fmla="*/ 354005 w 608838"/>
                <a:gd name="connsiteY16" fmla="*/ 317157 h 607639"/>
                <a:gd name="connsiteX17" fmla="*/ 377326 w 608838"/>
                <a:gd name="connsiteY17" fmla="*/ 329364 h 607639"/>
                <a:gd name="connsiteX18" fmla="*/ 440157 w 608838"/>
                <a:gd name="connsiteY18" fmla="*/ 410179 h 607639"/>
                <a:gd name="connsiteX19" fmla="*/ 477063 w 608838"/>
                <a:gd name="connsiteY19" fmla="*/ 303820 h 607639"/>
                <a:gd name="connsiteX20" fmla="*/ 304419 w 608838"/>
                <a:gd name="connsiteY20" fmla="*/ 131452 h 607639"/>
                <a:gd name="connsiteX21" fmla="*/ 273400 w 608838"/>
                <a:gd name="connsiteY21" fmla="*/ 0 h 607639"/>
                <a:gd name="connsiteX22" fmla="*/ 338042 w 608838"/>
                <a:gd name="connsiteY22" fmla="*/ 0 h 607639"/>
                <a:gd name="connsiteX23" fmla="*/ 370420 w 608838"/>
                <a:gd name="connsiteY23" fmla="*/ 28709 h 607639"/>
                <a:gd name="connsiteX24" fmla="*/ 374269 w 608838"/>
                <a:gd name="connsiteY24" fmla="*/ 62392 h 607639"/>
                <a:gd name="connsiteX25" fmla="*/ 428610 w 608838"/>
                <a:gd name="connsiteY25" fmla="*/ 85110 h 607639"/>
                <a:gd name="connsiteX26" fmla="*/ 454534 w 608838"/>
                <a:gd name="connsiteY26" fmla="*/ 64539 h 607639"/>
                <a:gd name="connsiteX27" fmla="*/ 474799 w 608838"/>
                <a:gd name="connsiteY27" fmla="*/ 57531 h 607639"/>
                <a:gd name="connsiteX28" fmla="*/ 497780 w 608838"/>
                <a:gd name="connsiteY28" fmla="*/ 67026 h 607639"/>
                <a:gd name="connsiteX29" fmla="*/ 543403 w 608838"/>
                <a:gd name="connsiteY29" fmla="*/ 112576 h 607639"/>
                <a:gd name="connsiteX30" fmla="*/ 545894 w 608838"/>
                <a:gd name="connsiteY30" fmla="*/ 155753 h 607639"/>
                <a:gd name="connsiteX31" fmla="*/ 524611 w 608838"/>
                <a:gd name="connsiteY31" fmla="*/ 182540 h 607639"/>
                <a:gd name="connsiteX32" fmla="*/ 545441 w 608838"/>
                <a:gd name="connsiteY32" fmla="*/ 233742 h 607639"/>
                <a:gd name="connsiteX33" fmla="*/ 579970 w 608838"/>
                <a:gd name="connsiteY33" fmla="*/ 237811 h 607639"/>
                <a:gd name="connsiteX34" fmla="*/ 608838 w 608838"/>
                <a:gd name="connsiteY34" fmla="*/ 270024 h 607639"/>
                <a:gd name="connsiteX35" fmla="*/ 608838 w 608838"/>
                <a:gd name="connsiteY35" fmla="*/ 334676 h 607639"/>
                <a:gd name="connsiteX36" fmla="*/ 579970 w 608838"/>
                <a:gd name="connsiteY36" fmla="*/ 366889 h 607639"/>
                <a:gd name="connsiteX37" fmla="*/ 544875 w 608838"/>
                <a:gd name="connsiteY37" fmla="*/ 370958 h 607639"/>
                <a:gd name="connsiteX38" fmla="*/ 523139 w 608838"/>
                <a:gd name="connsiteY38" fmla="*/ 422838 h 607639"/>
                <a:gd name="connsiteX39" fmla="*/ 546007 w 608838"/>
                <a:gd name="connsiteY39" fmla="*/ 451773 h 607639"/>
                <a:gd name="connsiteX40" fmla="*/ 543517 w 608838"/>
                <a:gd name="connsiteY40" fmla="*/ 494950 h 607639"/>
                <a:gd name="connsiteX41" fmla="*/ 497780 w 608838"/>
                <a:gd name="connsiteY41" fmla="*/ 540613 h 607639"/>
                <a:gd name="connsiteX42" fmla="*/ 474799 w 608838"/>
                <a:gd name="connsiteY42" fmla="*/ 550108 h 607639"/>
                <a:gd name="connsiteX43" fmla="*/ 454534 w 608838"/>
                <a:gd name="connsiteY43" fmla="*/ 543100 h 607639"/>
                <a:gd name="connsiteX44" fmla="*/ 425100 w 608838"/>
                <a:gd name="connsiteY44" fmla="*/ 519816 h 607639"/>
                <a:gd name="connsiteX45" fmla="*/ 372118 w 608838"/>
                <a:gd name="connsiteY45" fmla="*/ 541178 h 607639"/>
                <a:gd name="connsiteX46" fmla="*/ 367816 w 608838"/>
                <a:gd name="connsiteY46" fmla="*/ 578930 h 607639"/>
                <a:gd name="connsiteX47" fmla="*/ 335439 w 608838"/>
                <a:gd name="connsiteY47" fmla="*/ 607639 h 607639"/>
                <a:gd name="connsiteX48" fmla="*/ 270796 w 608838"/>
                <a:gd name="connsiteY48" fmla="*/ 607639 h 607639"/>
                <a:gd name="connsiteX49" fmla="*/ 238418 w 608838"/>
                <a:gd name="connsiteY49" fmla="*/ 578930 h 607639"/>
                <a:gd name="connsiteX50" fmla="*/ 233890 w 608838"/>
                <a:gd name="connsiteY50" fmla="*/ 539596 h 607639"/>
                <a:gd name="connsiteX51" fmla="*/ 184871 w 608838"/>
                <a:gd name="connsiteY51" fmla="*/ 518799 h 607639"/>
                <a:gd name="connsiteX52" fmla="*/ 154304 w 608838"/>
                <a:gd name="connsiteY52" fmla="*/ 542987 h 607639"/>
                <a:gd name="connsiteX53" fmla="*/ 134040 w 608838"/>
                <a:gd name="connsiteY53" fmla="*/ 549995 h 607639"/>
                <a:gd name="connsiteX54" fmla="*/ 111058 w 608838"/>
                <a:gd name="connsiteY54" fmla="*/ 540500 h 607639"/>
                <a:gd name="connsiteX55" fmla="*/ 65322 w 608838"/>
                <a:gd name="connsiteY55" fmla="*/ 494837 h 607639"/>
                <a:gd name="connsiteX56" fmla="*/ 62831 w 608838"/>
                <a:gd name="connsiteY56" fmla="*/ 451660 h 607639"/>
                <a:gd name="connsiteX57" fmla="*/ 87284 w 608838"/>
                <a:gd name="connsiteY57" fmla="*/ 420917 h 607639"/>
                <a:gd name="connsiteX58" fmla="*/ 67473 w 608838"/>
                <a:gd name="connsiteY58" fmla="*/ 374123 h 607639"/>
                <a:gd name="connsiteX59" fmla="*/ 28869 w 608838"/>
                <a:gd name="connsiteY59" fmla="*/ 369602 h 607639"/>
                <a:gd name="connsiteX60" fmla="*/ 0 w 608838"/>
                <a:gd name="connsiteY60" fmla="*/ 337389 h 607639"/>
                <a:gd name="connsiteX61" fmla="*/ 0 w 608838"/>
                <a:gd name="connsiteY61" fmla="*/ 272737 h 607639"/>
                <a:gd name="connsiteX62" fmla="*/ 28869 w 608838"/>
                <a:gd name="connsiteY62" fmla="*/ 240524 h 607639"/>
                <a:gd name="connsiteX63" fmla="*/ 65209 w 608838"/>
                <a:gd name="connsiteY63" fmla="*/ 236342 h 607639"/>
                <a:gd name="connsiteX64" fmla="*/ 85699 w 608838"/>
                <a:gd name="connsiteY64" fmla="*/ 184575 h 607639"/>
                <a:gd name="connsiteX65" fmla="*/ 62831 w 608838"/>
                <a:gd name="connsiteY65" fmla="*/ 155866 h 607639"/>
                <a:gd name="connsiteX66" fmla="*/ 65322 w 608838"/>
                <a:gd name="connsiteY66" fmla="*/ 112576 h 607639"/>
                <a:gd name="connsiteX67" fmla="*/ 111058 w 608838"/>
                <a:gd name="connsiteY67" fmla="*/ 67026 h 607639"/>
                <a:gd name="connsiteX68" fmla="*/ 134040 w 608838"/>
                <a:gd name="connsiteY68" fmla="*/ 57531 h 607639"/>
                <a:gd name="connsiteX69" fmla="*/ 154304 w 608838"/>
                <a:gd name="connsiteY69" fmla="*/ 64539 h 607639"/>
                <a:gd name="connsiteX70" fmla="*/ 181361 w 608838"/>
                <a:gd name="connsiteY70" fmla="*/ 85901 h 607639"/>
                <a:gd name="connsiteX71" fmla="*/ 237173 w 608838"/>
                <a:gd name="connsiteY71" fmla="*/ 62392 h 607639"/>
                <a:gd name="connsiteX72" fmla="*/ 241022 w 608838"/>
                <a:gd name="connsiteY72" fmla="*/ 28709 h 607639"/>
                <a:gd name="connsiteX73" fmla="*/ 273400 w 608838"/>
                <a:gd name="connsiteY73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838" h="607639">
                  <a:moveTo>
                    <a:pt x="373364" y="414474"/>
                  </a:moveTo>
                  <a:lnTo>
                    <a:pt x="373364" y="461833"/>
                  </a:lnTo>
                  <a:cubicBezTo>
                    <a:pt x="382647" y="457764"/>
                    <a:pt x="391477" y="452904"/>
                    <a:pt x="399854" y="447365"/>
                  </a:cubicBezTo>
                  <a:close/>
                  <a:moveTo>
                    <a:pt x="235475" y="414474"/>
                  </a:moveTo>
                  <a:lnTo>
                    <a:pt x="208984" y="447365"/>
                  </a:lnTo>
                  <a:cubicBezTo>
                    <a:pt x="217362" y="452904"/>
                    <a:pt x="226192" y="457764"/>
                    <a:pt x="235475" y="461833"/>
                  </a:cubicBezTo>
                  <a:close/>
                  <a:moveTo>
                    <a:pt x="304419" y="174508"/>
                  </a:moveTo>
                  <a:cubicBezTo>
                    <a:pt x="341560" y="174508"/>
                    <a:pt x="371668" y="204585"/>
                    <a:pt x="371668" y="241687"/>
                  </a:cubicBezTo>
                  <a:cubicBezTo>
                    <a:pt x="371668" y="278789"/>
                    <a:pt x="341560" y="308866"/>
                    <a:pt x="304419" y="308866"/>
                  </a:cubicBezTo>
                  <a:cubicBezTo>
                    <a:pt x="267278" y="308866"/>
                    <a:pt x="237170" y="278789"/>
                    <a:pt x="237170" y="241687"/>
                  </a:cubicBezTo>
                  <a:cubicBezTo>
                    <a:pt x="237170" y="204585"/>
                    <a:pt x="267278" y="174508"/>
                    <a:pt x="304419" y="174508"/>
                  </a:cubicBezTo>
                  <a:close/>
                  <a:moveTo>
                    <a:pt x="304419" y="131452"/>
                  </a:moveTo>
                  <a:cubicBezTo>
                    <a:pt x="209210" y="131452"/>
                    <a:pt x="131776" y="208763"/>
                    <a:pt x="131776" y="303820"/>
                  </a:cubicBezTo>
                  <a:cubicBezTo>
                    <a:pt x="131776" y="343944"/>
                    <a:pt x="145587" y="380792"/>
                    <a:pt x="168568" y="410179"/>
                  </a:cubicBezTo>
                  <a:lnTo>
                    <a:pt x="231626" y="329251"/>
                  </a:lnTo>
                  <a:cubicBezTo>
                    <a:pt x="236720" y="321678"/>
                    <a:pt x="245437" y="317157"/>
                    <a:pt x="254720" y="317157"/>
                  </a:cubicBezTo>
                  <a:lnTo>
                    <a:pt x="354005" y="317157"/>
                  </a:lnTo>
                  <a:cubicBezTo>
                    <a:pt x="363288" y="317157"/>
                    <a:pt x="372005" y="321678"/>
                    <a:pt x="377326" y="329364"/>
                  </a:cubicBezTo>
                  <a:lnTo>
                    <a:pt x="440157" y="410179"/>
                  </a:lnTo>
                  <a:cubicBezTo>
                    <a:pt x="463251" y="380792"/>
                    <a:pt x="477063" y="343944"/>
                    <a:pt x="477063" y="303820"/>
                  </a:cubicBezTo>
                  <a:cubicBezTo>
                    <a:pt x="477063" y="208763"/>
                    <a:pt x="399628" y="131452"/>
                    <a:pt x="304419" y="131452"/>
                  </a:cubicBezTo>
                  <a:close/>
                  <a:moveTo>
                    <a:pt x="273400" y="0"/>
                  </a:moveTo>
                  <a:lnTo>
                    <a:pt x="338042" y="0"/>
                  </a:lnTo>
                  <a:cubicBezTo>
                    <a:pt x="354571" y="0"/>
                    <a:pt x="368382" y="12320"/>
                    <a:pt x="370420" y="28709"/>
                  </a:cubicBezTo>
                  <a:lnTo>
                    <a:pt x="374269" y="62392"/>
                  </a:lnTo>
                  <a:cubicBezTo>
                    <a:pt x="393288" y="67817"/>
                    <a:pt x="411515" y="75390"/>
                    <a:pt x="428610" y="85110"/>
                  </a:cubicBezTo>
                  <a:lnTo>
                    <a:pt x="454534" y="64539"/>
                  </a:lnTo>
                  <a:cubicBezTo>
                    <a:pt x="460308" y="60018"/>
                    <a:pt x="467553" y="57531"/>
                    <a:pt x="474799" y="57531"/>
                  </a:cubicBezTo>
                  <a:cubicBezTo>
                    <a:pt x="483516" y="57531"/>
                    <a:pt x="491667" y="60809"/>
                    <a:pt x="497780" y="67026"/>
                  </a:cubicBezTo>
                  <a:lnTo>
                    <a:pt x="543403" y="112576"/>
                  </a:lnTo>
                  <a:cubicBezTo>
                    <a:pt x="555064" y="124218"/>
                    <a:pt x="556083" y="142868"/>
                    <a:pt x="545894" y="155753"/>
                  </a:cubicBezTo>
                  <a:lnTo>
                    <a:pt x="524611" y="182540"/>
                  </a:lnTo>
                  <a:cubicBezTo>
                    <a:pt x="533554" y="198929"/>
                    <a:pt x="540573" y="216223"/>
                    <a:pt x="545441" y="233742"/>
                  </a:cubicBezTo>
                  <a:lnTo>
                    <a:pt x="579970" y="237811"/>
                  </a:lnTo>
                  <a:cubicBezTo>
                    <a:pt x="596385" y="239733"/>
                    <a:pt x="608838" y="253635"/>
                    <a:pt x="608838" y="270024"/>
                  </a:cubicBezTo>
                  <a:lnTo>
                    <a:pt x="608838" y="334676"/>
                  </a:lnTo>
                  <a:cubicBezTo>
                    <a:pt x="608838" y="351065"/>
                    <a:pt x="596385" y="364968"/>
                    <a:pt x="579970" y="366889"/>
                  </a:cubicBezTo>
                  <a:lnTo>
                    <a:pt x="544875" y="370958"/>
                  </a:lnTo>
                  <a:cubicBezTo>
                    <a:pt x="539781" y="388817"/>
                    <a:pt x="532422" y="406223"/>
                    <a:pt x="523139" y="422838"/>
                  </a:cubicBezTo>
                  <a:lnTo>
                    <a:pt x="546007" y="451773"/>
                  </a:lnTo>
                  <a:cubicBezTo>
                    <a:pt x="556196" y="464772"/>
                    <a:pt x="555177" y="483308"/>
                    <a:pt x="543517" y="494950"/>
                  </a:cubicBezTo>
                  <a:lnTo>
                    <a:pt x="497780" y="540613"/>
                  </a:lnTo>
                  <a:cubicBezTo>
                    <a:pt x="491554" y="546717"/>
                    <a:pt x="483403" y="550108"/>
                    <a:pt x="474799" y="550108"/>
                  </a:cubicBezTo>
                  <a:cubicBezTo>
                    <a:pt x="467440" y="550108"/>
                    <a:pt x="460308" y="547621"/>
                    <a:pt x="454534" y="543100"/>
                  </a:cubicBezTo>
                  <a:lnTo>
                    <a:pt x="425100" y="519816"/>
                  </a:lnTo>
                  <a:cubicBezTo>
                    <a:pt x="408232" y="528971"/>
                    <a:pt x="390458" y="536092"/>
                    <a:pt x="372118" y="541178"/>
                  </a:cubicBezTo>
                  <a:lnTo>
                    <a:pt x="367816" y="578930"/>
                  </a:lnTo>
                  <a:cubicBezTo>
                    <a:pt x="365892" y="595319"/>
                    <a:pt x="351967" y="607639"/>
                    <a:pt x="335439" y="607639"/>
                  </a:cubicBezTo>
                  <a:lnTo>
                    <a:pt x="270796" y="607639"/>
                  </a:lnTo>
                  <a:cubicBezTo>
                    <a:pt x="254268" y="607639"/>
                    <a:pt x="240343" y="595319"/>
                    <a:pt x="238418" y="578930"/>
                  </a:cubicBezTo>
                  <a:lnTo>
                    <a:pt x="233890" y="539596"/>
                  </a:lnTo>
                  <a:cubicBezTo>
                    <a:pt x="216795" y="534397"/>
                    <a:pt x="200380" y="527502"/>
                    <a:pt x="184871" y="518799"/>
                  </a:cubicBezTo>
                  <a:lnTo>
                    <a:pt x="154304" y="542987"/>
                  </a:lnTo>
                  <a:cubicBezTo>
                    <a:pt x="148530" y="547508"/>
                    <a:pt x="141285" y="549995"/>
                    <a:pt x="134040" y="549995"/>
                  </a:cubicBezTo>
                  <a:cubicBezTo>
                    <a:pt x="125323" y="549995"/>
                    <a:pt x="117172" y="546604"/>
                    <a:pt x="111058" y="540500"/>
                  </a:cubicBezTo>
                  <a:lnTo>
                    <a:pt x="65322" y="494837"/>
                  </a:lnTo>
                  <a:cubicBezTo>
                    <a:pt x="53661" y="483082"/>
                    <a:pt x="52642" y="464545"/>
                    <a:pt x="62831" y="451660"/>
                  </a:cubicBezTo>
                  <a:lnTo>
                    <a:pt x="87284" y="420917"/>
                  </a:lnTo>
                  <a:cubicBezTo>
                    <a:pt x="79133" y="406110"/>
                    <a:pt x="72454" y="390399"/>
                    <a:pt x="67473" y="374123"/>
                  </a:cubicBezTo>
                  <a:lnTo>
                    <a:pt x="28869" y="369602"/>
                  </a:lnTo>
                  <a:cubicBezTo>
                    <a:pt x="12453" y="367680"/>
                    <a:pt x="0" y="353778"/>
                    <a:pt x="0" y="337389"/>
                  </a:cubicBezTo>
                  <a:lnTo>
                    <a:pt x="0" y="272737"/>
                  </a:lnTo>
                  <a:cubicBezTo>
                    <a:pt x="0" y="256348"/>
                    <a:pt x="12453" y="242445"/>
                    <a:pt x="28869" y="240524"/>
                  </a:cubicBezTo>
                  <a:lnTo>
                    <a:pt x="65209" y="236342"/>
                  </a:lnTo>
                  <a:cubicBezTo>
                    <a:pt x="69963" y="218483"/>
                    <a:pt x="76869" y="201077"/>
                    <a:pt x="85699" y="184575"/>
                  </a:cubicBezTo>
                  <a:lnTo>
                    <a:pt x="62831" y="155866"/>
                  </a:lnTo>
                  <a:cubicBezTo>
                    <a:pt x="52642" y="142868"/>
                    <a:pt x="53661" y="124331"/>
                    <a:pt x="65322" y="112576"/>
                  </a:cubicBezTo>
                  <a:lnTo>
                    <a:pt x="111058" y="67026"/>
                  </a:lnTo>
                  <a:cubicBezTo>
                    <a:pt x="117285" y="60922"/>
                    <a:pt x="125436" y="57531"/>
                    <a:pt x="134040" y="57531"/>
                  </a:cubicBezTo>
                  <a:cubicBezTo>
                    <a:pt x="141398" y="57531"/>
                    <a:pt x="148530" y="60018"/>
                    <a:pt x="154304" y="64539"/>
                  </a:cubicBezTo>
                  <a:lnTo>
                    <a:pt x="181361" y="85901"/>
                  </a:lnTo>
                  <a:cubicBezTo>
                    <a:pt x="198908" y="75842"/>
                    <a:pt x="217588" y="67930"/>
                    <a:pt x="237173" y="62392"/>
                  </a:cubicBezTo>
                  <a:lnTo>
                    <a:pt x="241022" y="28709"/>
                  </a:lnTo>
                  <a:cubicBezTo>
                    <a:pt x="242947" y="12320"/>
                    <a:pt x="256871" y="0"/>
                    <a:pt x="2734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Gill Sans"/>
                <a:buNone/>
              </a:pPr>
              <a:endParaRPr sz="1200" b="0" i="0" u="none" strike="noStrike" cap="none">
                <a:solidFill>
                  <a:srgbClr val="FFFFFF"/>
                </a:solidFill>
              </a:endParaRPr>
            </a:p>
          </p:txBody>
        </p:sp>
        <p:sp>
          <p:nvSpPr>
            <p:cNvPr id="14" name="îSlíďe">
              <a:extLst>
                <a:ext uri="{FF2B5EF4-FFF2-40B4-BE49-F238E27FC236}">
                  <a16:creationId xmlns:a16="http://schemas.microsoft.com/office/drawing/2014/main" id="{C5117176-D31C-4ED9-9154-EF046E650580}"/>
                </a:ext>
              </a:extLst>
            </p:cNvPr>
            <p:cNvSpPr/>
            <p:nvPr/>
          </p:nvSpPr>
          <p:spPr>
            <a:xfrm>
              <a:off x="6790554" y="2718908"/>
              <a:ext cx="1731689" cy="2041062"/>
            </a:xfrm>
            <a:custGeom>
              <a:avLst/>
              <a:gdLst/>
              <a:ahLst/>
              <a:cxnLst/>
              <a:rect l="l" t="t" r="r" b="b"/>
              <a:pathLst>
                <a:path w="830" h="978" extrusionOk="0">
                  <a:moveTo>
                    <a:pt x="297" y="45"/>
                  </a:moveTo>
                  <a:cubicBezTo>
                    <a:pt x="295" y="76"/>
                    <a:pt x="337" y="106"/>
                    <a:pt x="340" y="123"/>
                  </a:cubicBezTo>
                  <a:cubicBezTo>
                    <a:pt x="345" y="143"/>
                    <a:pt x="335" y="155"/>
                    <a:pt x="321" y="165"/>
                  </a:cubicBezTo>
                  <a:cubicBezTo>
                    <a:pt x="295" y="185"/>
                    <a:pt x="268" y="190"/>
                    <a:pt x="199" y="179"/>
                  </a:cubicBezTo>
                  <a:cubicBezTo>
                    <a:pt x="199" y="179"/>
                    <a:pt x="198" y="179"/>
                    <a:pt x="198" y="179"/>
                  </a:cubicBezTo>
                  <a:cubicBezTo>
                    <a:pt x="155" y="170"/>
                    <a:pt x="112" y="158"/>
                    <a:pt x="70" y="144"/>
                  </a:cubicBezTo>
                  <a:cubicBezTo>
                    <a:pt x="58" y="142"/>
                    <a:pt x="45" y="148"/>
                    <a:pt x="40" y="159"/>
                  </a:cubicBezTo>
                  <a:cubicBezTo>
                    <a:pt x="28" y="190"/>
                    <a:pt x="17" y="213"/>
                    <a:pt x="9" y="251"/>
                  </a:cubicBezTo>
                  <a:cubicBezTo>
                    <a:pt x="5" y="275"/>
                    <a:pt x="0" y="314"/>
                    <a:pt x="0" y="332"/>
                  </a:cubicBezTo>
                  <a:cubicBezTo>
                    <a:pt x="0" y="366"/>
                    <a:pt x="12" y="382"/>
                    <a:pt x="26" y="386"/>
                  </a:cubicBezTo>
                  <a:cubicBezTo>
                    <a:pt x="49" y="392"/>
                    <a:pt x="82" y="336"/>
                    <a:pt x="115" y="338"/>
                  </a:cubicBezTo>
                  <a:cubicBezTo>
                    <a:pt x="162" y="342"/>
                    <a:pt x="187" y="414"/>
                    <a:pt x="187" y="489"/>
                  </a:cubicBezTo>
                  <a:cubicBezTo>
                    <a:pt x="187" y="489"/>
                    <a:pt x="187" y="489"/>
                    <a:pt x="187" y="489"/>
                  </a:cubicBezTo>
                  <a:cubicBezTo>
                    <a:pt x="187" y="489"/>
                    <a:pt x="187" y="490"/>
                    <a:pt x="187" y="490"/>
                  </a:cubicBezTo>
                  <a:cubicBezTo>
                    <a:pt x="187" y="565"/>
                    <a:pt x="162" y="636"/>
                    <a:pt x="115" y="640"/>
                  </a:cubicBezTo>
                  <a:cubicBezTo>
                    <a:pt x="82" y="643"/>
                    <a:pt x="49" y="587"/>
                    <a:pt x="26" y="593"/>
                  </a:cubicBezTo>
                  <a:cubicBezTo>
                    <a:pt x="12" y="597"/>
                    <a:pt x="0" y="612"/>
                    <a:pt x="0" y="647"/>
                  </a:cubicBezTo>
                  <a:cubicBezTo>
                    <a:pt x="0" y="664"/>
                    <a:pt x="5" y="704"/>
                    <a:pt x="9" y="727"/>
                  </a:cubicBezTo>
                  <a:cubicBezTo>
                    <a:pt x="17" y="766"/>
                    <a:pt x="28" y="788"/>
                    <a:pt x="40" y="820"/>
                  </a:cubicBezTo>
                  <a:cubicBezTo>
                    <a:pt x="45" y="831"/>
                    <a:pt x="58" y="837"/>
                    <a:pt x="70" y="835"/>
                  </a:cubicBezTo>
                  <a:cubicBezTo>
                    <a:pt x="112" y="820"/>
                    <a:pt x="155" y="809"/>
                    <a:pt x="198" y="800"/>
                  </a:cubicBezTo>
                  <a:cubicBezTo>
                    <a:pt x="198" y="800"/>
                    <a:pt x="199" y="800"/>
                    <a:pt x="199" y="800"/>
                  </a:cubicBezTo>
                  <a:cubicBezTo>
                    <a:pt x="268" y="788"/>
                    <a:pt x="295" y="793"/>
                    <a:pt x="321" y="814"/>
                  </a:cubicBezTo>
                  <a:cubicBezTo>
                    <a:pt x="335" y="824"/>
                    <a:pt x="345" y="835"/>
                    <a:pt x="340" y="856"/>
                  </a:cubicBezTo>
                  <a:cubicBezTo>
                    <a:pt x="337" y="873"/>
                    <a:pt x="295" y="903"/>
                    <a:pt x="297" y="934"/>
                  </a:cubicBezTo>
                  <a:cubicBezTo>
                    <a:pt x="298" y="962"/>
                    <a:pt x="360" y="978"/>
                    <a:pt x="415" y="978"/>
                  </a:cubicBezTo>
                  <a:cubicBezTo>
                    <a:pt x="470" y="978"/>
                    <a:pt x="532" y="962"/>
                    <a:pt x="533" y="934"/>
                  </a:cubicBezTo>
                  <a:cubicBezTo>
                    <a:pt x="535" y="903"/>
                    <a:pt x="493" y="873"/>
                    <a:pt x="490" y="856"/>
                  </a:cubicBezTo>
                  <a:cubicBezTo>
                    <a:pt x="485" y="835"/>
                    <a:pt x="495" y="824"/>
                    <a:pt x="508" y="814"/>
                  </a:cubicBezTo>
                  <a:cubicBezTo>
                    <a:pt x="535" y="793"/>
                    <a:pt x="562" y="788"/>
                    <a:pt x="631" y="800"/>
                  </a:cubicBezTo>
                  <a:cubicBezTo>
                    <a:pt x="631" y="800"/>
                    <a:pt x="631" y="800"/>
                    <a:pt x="632" y="800"/>
                  </a:cubicBezTo>
                  <a:cubicBezTo>
                    <a:pt x="675" y="809"/>
                    <a:pt x="718" y="820"/>
                    <a:pt x="760" y="835"/>
                  </a:cubicBezTo>
                  <a:cubicBezTo>
                    <a:pt x="772" y="837"/>
                    <a:pt x="784" y="831"/>
                    <a:pt x="790" y="820"/>
                  </a:cubicBezTo>
                  <a:cubicBezTo>
                    <a:pt x="802" y="788"/>
                    <a:pt x="813" y="766"/>
                    <a:pt x="821" y="727"/>
                  </a:cubicBezTo>
                  <a:cubicBezTo>
                    <a:pt x="825" y="704"/>
                    <a:pt x="830" y="664"/>
                    <a:pt x="830" y="647"/>
                  </a:cubicBezTo>
                  <a:cubicBezTo>
                    <a:pt x="830" y="612"/>
                    <a:pt x="818" y="597"/>
                    <a:pt x="804" y="593"/>
                  </a:cubicBezTo>
                  <a:cubicBezTo>
                    <a:pt x="781" y="587"/>
                    <a:pt x="748" y="643"/>
                    <a:pt x="715" y="640"/>
                  </a:cubicBezTo>
                  <a:cubicBezTo>
                    <a:pt x="668" y="636"/>
                    <a:pt x="642" y="565"/>
                    <a:pt x="642" y="490"/>
                  </a:cubicBezTo>
                  <a:cubicBezTo>
                    <a:pt x="642" y="490"/>
                    <a:pt x="642" y="489"/>
                    <a:pt x="642" y="489"/>
                  </a:cubicBezTo>
                  <a:cubicBezTo>
                    <a:pt x="642" y="489"/>
                    <a:pt x="642" y="489"/>
                    <a:pt x="642" y="489"/>
                  </a:cubicBezTo>
                  <a:cubicBezTo>
                    <a:pt x="642" y="414"/>
                    <a:pt x="668" y="342"/>
                    <a:pt x="715" y="338"/>
                  </a:cubicBezTo>
                  <a:cubicBezTo>
                    <a:pt x="748" y="336"/>
                    <a:pt x="781" y="392"/>
                    <a:pt x="804" y="386"/>
                  </a:cubicBezTo>
                  <a:cubicBezTo>
                    <a:pt x="818" y="382"/>
                    <a:pt x="830" y="366"/>
                    <a:pt x="830" y="332"/>
                  </a:cubicBezTo>
                  <a:cubicBezTo>
                    <a:pt x="830" y="314"/>
                    <a:pt x="825" y="275"/>
                    <a:pt x="821" y="251"/>
                  </a:cubicBezTo>
                  <a:cubicBezTo>
                    <a:pt x="813" y="213"/>
                    <a:pt x="802" y="190"/>
                    <a:pt x="790" y="159"/>
                  </a:cubicBezTo>
                  <a:cubicBezTo>
                    <a:pt x="784" y="148"/>
                    <a:pt x="772" y="142"/>
                    <a:pt x="760" y="144"/>
                  </a:cubicBezTo>
                  <a:cubicBezTo>
                    <a:pt x="718" y="158"/>
                    <a:pt x="675" y="170"/>
                    <a:pt x="632" y="179"/>
                  </a:cubicBezTo>
                  <a:cubicBezTo>
                    <a:pt x="631" y="179"/>
                    <a:pt x="631" y="179"/>
                    <a:pt x="631" y="179"/>
                  </a:cubicBezTo>
                  <a:cubicBezTo>
                    <a:pt x="562" y="190"/>
                    <a:pt x="535" y="185"/>
                    <a:pt x="508" y="165"/>
                  </a:cubicBezTo>
                  <a:cubicBezTo>
                    <a:pt x="495" y="155"/>
                    <a:pt x="485" y="143"/>
                    <a:pt x="490" y="123"/>
                  </a:cubicBezTo>
                  <a:cubicBezTo>
                    <a:pt x="493" y="106"/>
                    <a:pt x="535" y="76"/>
                    <a:pt x="533" y="45"/>
                  </a:cubicBezTo>
                  <a:cubicBezTo>
                    <a:pt x="532" y="17"/>
                    <a:pt x="470" y="0"/>
                    <a:pt x="415" y="0"/>
                  </a:cubicBezTo>
                  <a:cubicBezTo>
                    <a:pt x="360" y="0"/>
                    <a:pt x="298" y="17"/>
                    <a:pt x="297" y="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5" name="íşļïḍé">
              <a:extLst>
                <a:ext uri="{FF2B5EF4-FFF2-40B4-BE49-F238E27FC236}">
                  <a16:creationId xmlns:a16="http://schemas.microsoft.com/office/drawing/2014/main" id="{2A736FDA-35EF-4CFE-97B7-1C929CE5C0EC}"/>
                </a:ext>
              </a:extLst>
            </p:cNvPr>
            <p:cNvSpPr/>
            <p:nvPr/>
          </p:nvSpPr>
          <p:spPr>
            <a:xfrm>
              <a:off x="7462805" y="3492090"/>
              <a:ext cx="380227" cy="379478"/>
            </a:xfrm>
            <a:custGeom>
              <a:avLst/>
              <a:gdLst>
                <a:gd name="connsiteX0" fmla="*/ 373364 w 608838"/>
                <a:gd name="connsiteY0" fmla="*/ 414474 h 607639"/>
                <a:gd name="connsiteX1" fmla="*/ 373364 w 608838"/>
                <a:gd name="connsiteY1" fmla="*/ 461833 h 607639"/>
                <a:gd name="connsiteX2" fmla="*/ 399854 w 608838"/>
                <a:gd name="connsiteY2" fmla="*/ 447365 h 607639"/>
                <a:gd name="connsiteX3" fmla="*/ 235475 w 608838"/>
                <a:gd name="connsiteY3" fmla="*/ 414474 h 607639"/>
                <a:gd name="connsiteX4" fmla="*/ 208984 w 608838"/>
                <a:gd name="connsiteY4" fmla="*/ 447365 h 607639"/>
                <a:gd name="connsiteX5" fmla="*/ 235475 w 608838"/>
                <a:gd name="connsiteY5" fmla="*/ 461833 h 607639"/>
                <a:gd name="connsiteX6" fmla="*/ 304419 w 608838"/>
                <a:gd name="connsiteY6" fmla="*/ 174508 h 607639"/>
                <a:gd name="connsiteX7" fmla="*/ 371668 w 608838"/>
                <a:gd name="connsiteY7" fmla="*/ 241687 h 607639"/>
                <a:gd name="connsiteX8" fmla="*/ 304419 w 608838"/>
                <a:gd name="connsiteY8" fmla="*/ 308866 h 607639"/>
                <a:gd name="connsiteX9" fmla="*/ 237170 w 608838"/>
                <a:gd name="connsiteY9" fmla="*/ 241687 h 607639"/>
                <a:gd name="connsiteX10" fmla="*/ 304419 w 608838"/>
                <a:gd name="connsiteY10" fmla="*/ 174508 h 607639"/>
                <a:gd name="connsiteX11" fmla="*/ 304419 w 608838"/>
                <a:gd name="connsiteY11" fmla="*/ 131452 h 607639"/>
                <a:gd name="connsiteX12" fmla="*/ 131776 w 608838"/>
                <a:gd name="connsiteY12" fmla="*/ 303820 h 607639"/>
                <a:gd name="connsiteX13" fmla="*/ 168568 w 608838"/>
                <a:gd name="connsiteY13" fmla="*/ 410179 h 607639"/>
                <a:gd name="connsiteX14" fmla="*/ 231626 w 608838"/>
                <a:gd name="connsiteY14" fmla="*/ 329251 h 607639"/>
                <a:gd name="connsiteX15" fmla="*/ 254720 w 608838"/>
                <a:gd name="connsiteY15" fmla="*/ 317157 h 607639"/>
                <a:gd name="connsiteX16" fmla="*/ 354005 w 608838"/>
                <a:gd name="connsiteY16" fmla="*/ 317157 h 607639"/>
                <a:gd name="connsiteX17" fmla="*/ 377326 w 608838"/>
                <a:gd name="connsiteY17" fmla="*/ 329364 h 607639"/>
                <a:gd name="connsiteX18" fmla="*/ 440157 w 608838"/>
                <a:gd name="connsiteY18" fmla="*/ 410179 h 607639"/>
                <a:gd name="connsiteX19" fmla="*/ 477063 w 608838"/>
                <a:gd name="connsiteY19" fmla="*/ 303820 h 607639"/>
                <a:gd name="connsiteX20" fmla="*/ 304419 w 608838"/>
                <a:gd name="connsiteY20" fmla="*/ 131452 h 607639"/>
                <a:gd name="connsiteX21" fmla="*/ 273400 w 608838"/>
                <a:gd name="connsiteY21" fmla="*/ 0 h 607639"/>
                <a:gd name="connsiteX22" fmla="*/ 338042 w 608838"/>
                <a:gd name="connsiteY22" fmla="*/ 0 h 607639"/>
                <a:gd name="connsiteX23" fmla="*/ 370420 w 608838"/>
                <a:gd name="connsiteY23" fmla="*/ 28709 h 607639"/>
                <a:gd name="connsiteX24" fmla="*/ 374269 w 608838"/>
                <a:gd name="connsiteY24" fmla="*/ 62392 h 607639"/>
                <a:gd name="connsiteX25" fmla="*/ 428610 w 608838"/>
                <a:gd name="connsiteY25" fmla="*/ 85110 h 607639"/>
                <a:gd name="connsiteX26" fmla="*/ 454534 w 608838"/>
                <a:gd name="connsiteY26" fmla="*/ 64539 h 607639"/>
                <a:gd name="connsiteX27" fmla="*/ 474799 w 608838"/>
                <a:gd name="connsiteY27" fmla="*/ 57531 h 607639"/>
                <a:gd name="connsiteX28" fmla="*/ 497780 w 608838"/>
                <a:gd name="connsiteY28" fmla="*/ 67026 h 607639"/>
                <a:gd name="connsiteX29" fmla="*/ 543403 w 608838"/>
                <a:gd name="connsiteY29" fmla="*/ 112576 h 607639"/>
                <a:gd name="connsiteX30" fmla="*/ 545894 w 608838"/>
                <a:gd name="connsiteY30" fmla="*/ 155753 h 607639"/>
                <a:gd name="connsiteX31" fmla="*/ 524611 w 608838"/>
                <a:gd name="connsiteY31" fmla="*/ 182540 h 607639"/>
                <a:gd name="connsiteX32" fmla="*/ 545441 w 608838"/>
                <a:gd name="connsiteY32" fmla="*/ 233742 h 607639"/>
                <a:gd name="connsiteX33" fmla="*/ 579970 w 608838"/>
                <a:gd name="connsiteY33" fmla="*/ 237811 h 607639"/>
                <a:gd name="connsiteX34" fmla="*/ 608838 w 608838"/>
                <a:gd name="connsiteY34" fmla="*/ 270024 h 607639"/>
                <a:gd name="connsiteX35" fmla="*/ 608838 w 608838"/>
                <a:gd name="connsiteY35" fmla="*/ 334676 h 607639"/>
                <a:gd name="connsiteX36" fmla="*/ 579970 w 608838"/>
                <a:gd name="connsiteY36" fmla="*/ 366889 h 607639"/>
                <a:gd name="connsiteX37" fmla="*/ 544875 w 608838"/>
                <a:gd name="connsiteY37" fmla="*/ 370958 h 607639"/>
                <a:gd name="connsiteX38" fmla="*/ 523139 w 608838"/>
                <a:gd name="connsiteY38" fmla="*/ 422838 h 607639"/>
                <a:gd name="connsiteX39" fmla="*/ 546007 w 608838"/>
                <a:gd name="connsiteY39" fmla="*/ 451773 h 607639"/>
                <a:gd name="connsiteX40" fmla="*/ 543517 w 608838"/>
                <a:gd name="connsiteY40" fmla="*/ 494950 h 607639"/>
                <a:gd name="connsiteX41" fmla="*/ 497780 w 608838"/>
                <a:gd name="connsiteY41" fmla="*/ 540613 h 607639"/>
                <a:gd name="connsiteX42" fmla="*/ 474799 w 608838"/>
                <a:gd name="connsiteY42" fmla="*/ 550108 h 607639"/>
                <a:gd name="connsiteX43" fmla="*/ 454534 w 608838"/>
                <a:gd name="connsiteY43" fmla="*/ 543100 h 607639"/>
                <a:gd name="connsiteX44" fmla="*/ 425100 w 608838"/>
                <a:gd name="connsiteY44" fmla="*/ 519816 h 607639"/>
                <a:gd name="connsiteX45" fmla="*/ 372118 w 608838"/>
                <a:gd name="connsiteY45" fmla="*/ 541178 h 607639"/>
                <a:gd name="connsiteX46" fmla="*/ 367816 w 608838"/>
                <a:gd name="connsiteY46" fmla="*/ 578930 h 607639"/>
                <a:gd name="connsiteX47" fmla="*/ 335439 w 608838"/>
                <a:gd name="connsiteY47" fmla="*/ 607639 h 607639"/>
                <a:gd name="connsiteX48" fmla="*/ 270796 w 608838"/>
                <a:gd name="connsiteY48" fmla="*/ 607639 h 607639"/>
                <a:gd name="connsiteX49" fmla="*/ 238418 w 608838"/>
                <a:gd name="connsiteY49" fmla="*/ 578930 h 607639"/>
                <a:gd name="connsiteX50" fmla="*/ 233890 w 608838"/>
                <a:gd name="connsiteY50" fmla="*/ 539596 h 607639"/>
                <a:gd name="connsiteX51" fmla="*/ 184871 w 608838"/>
                <a:gd name="connsiteY51" fmla="*/ 518799 h 607639"/>
                <a:gd name="connsiteX52" fmla="*/ 154304 w 608838"/>
                <a:gd name="connsiteY52" fmla="*/ 542987 h 607639"/>
                <a:gd name="connsiteX53" fmla="*/ 134040 w 608838"/>
                <a:gd name="connsiteY53" fmla="*/ 549995 h 607639"/>
                <a:gd name="connsiteX54" fmla="*/ 111058 w 608838"/>
                <a:gd name="connsiteY54" fmla="*/ 540500 h 607639"/>
                <a:gd name="connsiteX55" fmla="*/ 65322 w 608838"/>
                <a:gd name="connsiteY55" fmla="*/ 494837 h 607639"/>
                <a:gd name="connsiteX56" fmla="*/ 62831 w 608838"/>
                <a:gd name="connsiteY56" fmla="*/ 451660 h 607639"/>
                <a:gd name="connsiteX57" fmla="*/ 87284 w 608838"/>
                <a:gd name="connsiteY57" fmla="*/ 420917 h 607639"/>
                <a:gd name="connsiteX58" fmla="*/ 67473 w 608838"/>
                <a:gd name="connsiteY58" fmla="*/ 374123 h 607639"/>
                <a:gd name="connsiteX59" fmla="*/ 28869 w 608838"/>
                <a:gd name="connsiteY59" fmla="*/ 369602 h 607639"/>
                <a:gd name="connsiteX60" fmla="*/ 0 w 608838"/>
                <a:gd name="connsiteY60" fmla="*/ 337389 h 607639"/>
                <a:gd name="connsiteX61" fmla="*/ 0 w 608838"/>
                <a:gd name="connsiteY61" fmla="*/ 272737 h 607639"/>
                <a:gd name="connsiteX62" fmla="*/ 28869 w 608838"/>
                <a:gd name="connsiteY62" fmla="*/ 240524 h 607639"/>
                <a:gd name="connsiteX63" fmla="*/ 65209 w 608838"/>
                <a:gd name="connsiteY63" fmla="*/ 236342 h 607639"/>
                <a:gd name="connsiteX64" fmla="*/ 85699 w 608838"/>
                <a:gd name="connsiteY64" fmla="*/ 184575 h 607639"/>
                <a:gd name="connsiteX65" fmla="*/ 62831 w 608838"/>
                <a:gd name="connsiteY65" fmla="*/ 155866 h 607639"/>
                <a:gd name="connsiteX66" fmla="*/ 65322 w 608838"/>
                <a:gd name="connsiteY66" fmla="*/ 112576 h 607639"/>
                <a:gd name="connsiteX67" fmla="*/ 111058 w 608838"/>
                <a:gd name="connsiteY67" fmla="*/ 67026 h 607639"/>
                <a:gd name="connsiteX68" fmla="*/ 134040 w 608838"/>
                <a:gd name="connsiteY68" fmla="*/ 57531 h 607639"/>
                <a:gd name="connsiteX69" fmla="*/ 154304 w 608838"/>
                <a:gd name="connsiteY69" fmla="*/ 64539 h 607639"/>
                <a:gd name="connsiteX70" fmla="*/ 181361 w 608838"/>
                <a:gd name="connsiteY70" fmla="*/ 85901 h 607639"/>
                <a:gd name="connsiteX71" fmla="*/ 237173 w 608838"/>
                <a:gd name="connsiteY71" fmla="*/ 62392 h 607639"/>
                <a:gd name="connsiteX72" fmla="*/ 241022 w 608838"/>
                <a:gd name="connsiteY72" fmla="*/ 28709 h 607639"/>
                <a:gd name="connsiteX73" fmla="*/ 273400 w 608838"/>
                <a:gd name="connsiteY73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838" h="607639">
                  <a:moveTo>
                    <a:pt x="373364" y="414474"/>
                  </a:moveTo>
                  <a:lnTo>
                    <a:pt x="373364" y="461833"/>
                  </a:lnTo>
                  <a:cubicBezTo>
                    <a:pt x="382647" y="457764"/>
                    <a:pt x="391477" y="452904"/>
                    <a:pt x="399854" y="447365"/>
                  </a:cubicBezTo>
                  <a:close/>
                  <a:moveTo>
                    <a:pt x="235475" y="414474"/>
                  </a:moveTo>
                  <a:lnTo>
                    <a:pt x="208984" y="447365"/>
                  </a:lnTo>
                  <a:cubicBezTo>
                    <a:pt x="217362" y="452904"/>
                    <a:pt x="226192" y="457764"/>
                    <a:pt x="235475" y="461833"/>
                  </a:cubicBezTo>
                  <a:close/>
                  <a:moveTo>
                    <a:pt x="304419" y="174508"/>
                  </a:moveTo>
                  <a:cubicBezTo>
                    <a:pt x="341560" y="174508"/>
                    <a:pt x="371668" y="204585"/>
                    <a:pt x="371668" y="241687"/>
                  </a:cubicBezTo>
                  <a:cubicBezTo>
                    <a:pt x="371668" y="278789"/>
                    <a:pt x="341560" y="308866"/>
                    <a:pt x="304419" y="308866"/>
                  </a:cubicBezTo>
                  <a:cubicBezTo>
                    <a:pt x="267278" y="308866"/>
                    <a:pt x="237170" y="278789"/>
                    <a:pt x="237170" y="241687"/>
                  </a:cubicBezTo>
                  <a:cubicBezTo>
                    <a:pt x="237170" y="204585"/>
                    <a:pt x="267278" y="174508"/>
                    <a:pt x="304419" y="174508"/>
                  </a:cubicBezTo>
                  <a:close/>
                  <a:moveTo>
                    <a:pt x="304419" y="131452"/>
                  </a:moveTo>
                  <a:cubicBezTo>
                    <a:pt x="209210" y="131452"/>
                    <a:pt x="131776" y="208763"/>
                    <a:pt x="131776" y="303820"/>
                  </a:cubicBezTo>
                  <a:cubicBezTo>
                    <a:pt x="131776" y="343944"/>
                    <a:pt x="145587" y="380792"/>
                    <a:pt x="168568" y="410179"/>
                  </a:cubicBezTo>
                  <a:lnTo>
                    <a:pt x="231626" y="329251"/>
                  </a:lnTo>
                  <a:cubicBezTo>
                    <a:pt x="236720" y="321678"/>
                    <a:pt x="245437" y="317157"/>
                    <a:pt x="254720" y="317157"/>
                  </a:cubicBezTo>
                  <a:lnTo>
                    <a:pt x="354005" y="317157"/>
                  </a:lnTo>
                  <a:cubicBezTo>
                    <a:pt x="363288" y="317157"/>
                    <a:pt x="372005" y="321678"/>
                    <a:pt x="377326" y="329364"/>
                  </a:cubicBezTo>
                  <a:lnTo>
                    <a:pt x="440157" y="410179"/>
                  </a:lnTo>
                  <a:cubicBezTo>
                    <a:pt x="463251" y="380792"/>
                    <a:pt x="477063" y="343944"/>
                    <a:pt x="477063" y="303820"/>
                  </a:cubicBezTo>
                  <a:cubicBezTo>
                    <a:pt x="477063" y="208763"/>
                    <a:pt x="399628" y="131452"/>
                    <a:pt x="304419" y="131452"/>
                  </a:cubicBezTo>
                  <a:close/>
                  <a:moveTo>
                    <a:pt x="273400" y="0"/>
                  </a:moveTo>
                  <a:lnTo>
                    <a:pt x="338042" y="0"/>
                  </a:lnTo>
                  <a:cubicBezTo>
                    <a:pt x="354571" y="0"/>
                    <a:pt x="368382" y="12320"/>
                    <a:pt x="370420" y="28709"/>
                  </a:cubicBezTo>
                  <a:lnTo>
                    <a:pt x="374269" y="62392"/>
                  </a:lnTo>
                  <a:cubicBezTo>
                    <a:pt x="393288" y="67817"/>
                    <a:pt x="411515" y="75390"/>
                    <a:pt x="428610" y="85110"/>
                  </a:cubicBezTo>
                  <a:lnTo>
                    <a:pt x="454534" y="64539"/>
                  </a:lnTo>
                  <a:cubicBezTo>
                    <a:pt x="460308" y="60018"/>
                    <a:pt x="467553" y="57531"/>
                    <a:pt x="474799" y="57531"/>
                  </a:cubicBezTo>
                  <a:cubicBezTo>
                    <a:pt x="483516" y="57531"/>
                    <a:pt x="491667" y="60809"/>
                    <a:pt x="497780" y="67026"/>
                  </a:cubicBezTo>
                  <a:lnTo>
                    <a:pt x="543403" y="112576"/>
                  </a:lnTo>
                  <a:cubicBezTo>
                    <a:pt x="555064" y="124218"/>
                    <a:pt x="556083" y="142868"/>
                    <a:pt x="545894" y="155753"/>
                  </a:cubicBezTo>
                  <a:lnTo>
                    <a:pt x="524611" y="182540"/>
                  </a:lnTo>
                  <a:cubicBezTo>
                    <a:pt x="533554" y="198929"/>
                    <a:pt x="540573" y="216223"/>
                    <a:pt x="545441" y="233742"/>
                  </a:cubicBezTo>
                  <a:lnTo>
                    <a:pt x="579970" y="237811"/>
                  </a:lnTo>
                  <a:cubicBezTo>
                    <a:pt x="596385" y="239733"/>
                    <a:pt x="608838" y="253635"/>
                    <a:pt x="608838" y="270024"/>
                  </a:cubicBezTo>
                  <a:lnTo>
                    <a:pt x="608838" y="334676"/>
                  </a:lnTo>
                  <a:cubicBezTo>
                    <a:pt x="608838" y="351065"/>
                    <a:pt x="596385" y="364968"/>
                    <a:pt x="579970" y="366889"/>
                  </a:cubicBezTo>
                  <a:lnTo>
                    <a:pt x="544875" y="370958"/>
                  </a:lnTo>
                  <a:cubicBezTo>
                    <a:pt x="539781" y="388817"/>
                    <a:pt x="532422" y="406223"/>
                    <a:pt x="523139" y="422838"/>
                  </a:cubicBezTo>
                  <a:lnTo>
                    <a:pt x="546007" y="451773"/>
                  </a:lnTo>
                  <a:cubicBezTo>
                    <a:pt x="556196" y="464772"/>
                    <a:pt x="555177" y="483308"/>
                    <a:pt x="543517" y="494950"/>
                  </a:cubicBezTo>
                  <a:lnTo>
                    <a:pt x="497780" y="540613"/>
                  </a:lnTo>
                  <a:cubicBezTo>
                    <a:pt x="491554" y="546717"/>
                    <a:pt x="483403" y="550108"/>
                    <a:pt x="474799" y="550108"/>
                  </a:cubicBezTo>
                  <a:cubicBezTo>
                    <a:pt x="467440" y="550108"/>
                    <a:pt x="460308" y="547621"/>
                    <a:pt x="454534" y="543100"/>
                  </a:cubicBezTo>
                  <a:lnTo>
                    <a:pt x="425100" y="519816"/>
                  </a:lnTo>
                  <a:cubicBezTo>
                    <a:pt x="408232" y="528971"/>
                    <a:pt x="390458" y="536092"/>
                    <a:pt x="372118" y="541178"/>
                  </a:cubicBezTo>
                  <a:lnTo>
                    <a:pt x="367816" y="578930"/>
                  </a:lnTo>
                  <a:cubicBezTo>
                    <a:pt x="365892" y="595319"/>
                    <a:pt x="351967" y="607639"/>
                    <a:pt x="335439" y="607639"/>
                  </a:cubicBezTo>
                  <a:lnTo>
                    <a:pt x="270796" y="607639"/>
                  </a:lnTo>
                  <a:cubicBezTo>
                    <a:pt x="254268" y="607639"/>
                    <a:pt x="240343" y="595319"/>
                    <a:pt x="238418" y="578930"/>
                  </a:cubicBezTo>
                  <a:lnTo>
                    <a:pt x="233890" y="539596"/>
                  </a:lnTo>
                  <a:cubicBezTo>
                    <a:pt x="216795" y="534397"/>
                    <a:pt x="200380" y="527502"/>
                    <a:pt x="184871" y="518799"/>
                  </a:cubicBezTo>
                  <a:lnTo>
                    <a:pt x="154304" y="542987"/>
                  </a:lnTo>
                  <a:cubicBezTo>
                    <a:pt x="148530" y="547508"/>
                    <a:pt x="141285" y="549995"/>
                    <a:pt x="134040" y="549995"/>
                  </a:cubicBezTo>
                  <a:cubicBezTo>
                    <a:pt x="125323" y="549995"/>
                    <a:pt x="117172" y="546604"/>
                    <a:pt x="111058" y="540500"/>
                  </a:cubicBezTo>
                  <a:lnTo>
                    <a:pt x="65322" y="494837"/>
                  </a:lnTo>
                  <a:cubicBezTo>
                    <a:pt x="53661" y="483082"/>
                    <a:pt x="52642" y="464545"/>
                    <a:pt x="62831" y="451660"/>
                  </a:cubicBezTo>
                  <a:lnTo>
                    <a:pt x="87284" y="420917"/>
                  </a:lnTo>
                  <a:cubicBezTo>
                    <a:pt x="79133" y="406110"/>
                    <a:pt x="72454" y="390399"/>
                    <a:pt x="67473" y="374123"/>
                  </a:cubicBezTo>
                  <a:lnTo>
                    <a:pt x="28869" y="369602"/>
                  </a:lnTo>
                  <a:cubicBezTo>
                    <a:pt x="12453" y="367680"/>
                    <a:pt x="0" y="353778"/>
                    <a:pt x="0" y="337389"/>
                  </a:cubicBezTo>
                  <a:lnTo>
                    <a:pt x="0" y="272737"/>
                  </a:lnTo>
                  <a:cubicBezTo>
                    <a:pt x="0" y="256348"/>
                    <a:pt x="12453" y="242445"/>
                    <a:pt x="28869" y="240524"/>
                  </a:cubicBezTo>
                  <a:lnTo>
                    <a:pt x="65209" y="236342"/>
                  </a:lnTo>
                  <a:cubicBezTo>
                    <a:pt x="69963" y="218483"/>
                    <a:pt x="76869" y="201077"/>
                    <a:pt x="85699" y="184575"/>
                  </a:cubicBezTo>
                  <a:lnTo>
                    <a:pt x="62831" y="155866"/>
                  </a:lnTo>
                  <a:cubicBezTo>
                    <a:pt x="52642" y="142868"/>
                    <a:pt x="53661" y="124331"/>
                    <a:pt x="65322" y="112576"/>
                  </a:cubicBezTo>
                  <a:lnTo>
                    <a:pt x="111058" y="67026"/>
                  </a:lnTo>
                  <a:cubicBezTo>
                    <a:pt x="117285" y="60922"/>
                    <a:pt x="125436" y="57531"/>
                    <a:pt x="134040" y="57531"/>
                  </a:cubicBezTo>
                  <a:cubicBezTo>
                    <a:pt x="141398" y="57531"/>
                    <a:pt x="148530" y="60018"/>
                    <a:pt x="154304" y="64539"/>
                  </a:cubicBezTo>
                  <a:lnTo>
                    <a:pt x="181361" y="85901"/>
                  </a:lnTo>
                  <a:cubicBezTo>
                    <a:pt x="198908" y="75842"/>
                    <a:pt x="217588" y="67930"/>
                    <a:pt x="237173" y="62392"/>
                  </a:cubicBezTo>
                  <a:lnTo>
                    <a:pt x="241022" y="28709"/>
                  </a:lnTo>
                  <a:cubicBezTo>
                    <a:pt x="242947" y="12320"/>
                    <a:pt x="256871" y="0"/>
                    <a:pt x="27340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Gill Sans"/>
                <a:buNone/>
              </a:pPr>
              <a:endParaRPr sz="1200" b="0" i="0" u="none" strike="noStrike" cap="none">
                <a:solidFill>
                  <a:srgbClr val="FFFFFF"/>
                </a:solidFill>
              </a:endParaRPr>
            </a:p>
          </p:txBody>
        </p:sp>
        <p:sp>
          <p:nvSpPr>
            <p:cNvPr id="16" name="i$líďe">
              <a:extLst>
                <a:ext uri="{FF2B5EF4-FFF2-40B4-BE49-F238E27FC236}">
                  <a16:creationId xmlns:a16="http://schemas.microsoft.com/office/drawing/2014/main" id="{8BFC0DE5-F7FA-48E8-AC21-840CD66F6F73}"/>
                </a:ext>
              </a:extLst>
            </p:cNvPr>
            <p:cNvSpPr/>
            <p:nvPr/>
          </p:nvSpPr>
          <p:spPr bwMode="auto">
            <a:xfrm>
              <a:off x="1740755" y="5255687"/>
              <a:ext cx="2520950" cy="658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7" name="ïṩľïḓé">
              <a:extLst>
                <a:ext uri="{FF2B5EF4-FFF2-40B4-BE49-F238E27FC236}">
                  <a16:creationId xmlns:a16="http://schemas.microsoft.com/office/drawing/2014/main" id="{563A8C1D-0344-4C91-A52D-9C5B65321BA2}"/>
                </a:ext>
              </a:extLst>
            </p:cNvPr>
            <p:cNvSpPr txBox="1"/>
            <p:nvPr/>
          </p:nvSpPr>
          <p:spPr bwMode="auto">
            <a:xfrm>
              <a:off x="1740755" y="4742279"/>
              <a:ext cx="2520950" cy="513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18" name="iŝḷiḓê">
              <a:extLst>
                <a:ext uri="{FF2B5EF4-FFF2-40B4-BE49-F238E27FC236}">
                  <a16:creationId xmlns:a16="http://schemas.microsoft.com/office/drawing/2014/main" id="{74052CA4-FA3B-4FE0-8CBD-36E05A6BAC8B}"/>
                </a:ext>
              </a:extLst>
            </p:cNvPr>
            <p:cNvSpPr/>
            <p:nvPr/>
          </p:nvSpPr>
          <p:spPr bwMode="auto">
            <a:xfrm>
              <a:off x="4835525" y="5255687"/>
              <a:ext cx="2520950" cy="658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9" name="îŝḻíďé">
              <a:extLst>
                <a:ext uri="{FF2B5EF4-FFF2-40B4-BE49-F238E27FC236}">
                  <a16:creationId xmlns:a16="http://schemas.microsoft.com/office/drawing/2014/main" id="{3E44874C-0A2C-42C2-95E4-173CFC453D8A}"/>
                </a:ext>
              </a:extLst>
            </p:cNvPr>
            <p:cNvSpPr txBox="1"/>
            <p:nvPr/>
          </p:nvSpPr>
          <p:spPr bwMode="auto">
            <a:xfrm>
              <a:off x="4835525" y="4742279"/>
              <a:ext cx="2520950" cy="513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20" name="íṡļïḓé">
              <a:extLst>
                <a:ext uri="{FF2B5EF4-FFF2-40B4-BE49-F238E27FC236}">
                  <a16:creationId xmlns:a16="http://schemas.microsoft.com/office/drawing/2014/main" id="{631ADD49-D7C4-40BA-8ACE-0A954BF212CC}"/>
                </a:ext>
              </a:extLst>
            </p:cNvPr>
            <p:cNvSpPr/>
            <p:nvPr/>
          </p:nvSpPr>
          <p:spPr bwMode="auto">
            <a:xfrm>
              <a:off x="7930295" y="5255687"/>
              <a:ext cx="2520950" cy="658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1" name="îşļïďe">
              <a:extLst>
                <a:ext uri="{FF2B5EF4-FFF2-40B4-BE49-F238E27FC236}">
                  <a16:creationId xmlns:a16="http://schemas.microsoft.com/office/drawing/2014/main" id="{E3E1C6FF-2E92-43B0-B152-9542E0FE3011}"/>
                </a:ext>
              </a:extLst>
            </p:cNvPr>
            <p:cNvSpPr txBox="1"/>
            <p:nvPr/>
          </p:nvSpPr>
          <p:spPr bwMode="auto">
            <a:xfrm>
              <a:off x="7930295" y="4742279"/>
              <a:ext cx="2520950" cy="513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22" name="iŝľiḑé">
              <a:extLst>
                <a:ext uri="{FF2B5EF4-FFF2-40B4-BE49-F238E27FC236}">
                  <a16:creationId xmlns:a16="http://schemas.microsoft.com/office/drawing/2014/main" id="{28495B85-D969-4D80-8C67-025A1ED0E42A}"/>
                </a:ext>
              </a:extLst>
            </p:cNvPr>
            <p:cNvSpPr/>
            <p:nvPr/>
          </p:nvSpPr>
          <p:spPr bwMode="auto">
            <a:xfrm>
              <a:off x="3324760" y="1876181"/>
              <a:ext cx="2520950" cy="658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3" name="îŝlîdè">
              <a:extLst>
                <a:ext uri="{FF2B5EF4-FFF2-40B4-BE49-F238E27FC236}">
                  <a16:creationId xmlns:a16="http://schemas.microsoft.com/office/drawing/2014/main" id="{B66DB064-9D8F-47E4-86BA-B7042FE52159}"/>
                </a:ext>
              </a:extLst>
            </p:cNvPr>
            <p:cNvSpPr txBox="1"/>
            <p:nvPr/>
          </p:nvSpPr>
          <p:spPr bwMode="auto">
            <a:xfrm>
              <a:off x="3324760" y="1362774"/>
              <a:ext cx="2520950" cy="513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24" name="îṡlîdé">
              <a:extLst>
                <a:ext uri="{FF2B5EF4-FFF2-40B4-BE49-F238E27FC236}">
                  <a16:creationId xmlns:a16="http://schemas.microsoft.com/office/drawing/2014/main" id="{85E72433-AD82-49F2-8C97-5F674CA7AB3B}"/>
                </a:ext>
              </a:extLst>
            </p:cNvPr>
            <p:cNvSpPr/>
            <p:nvPr/>
          </p:nvSpPr>
          <p:spPr bwMode="auto">
            <a:xfrm>
              <a:off x="6374642" y="1876181"/>
              <a:ext cx="2520950" cy="658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5" name="ïṣlîḋé">
              <a:extLst>
                <a:ext uri="{FF2B5EF4-FFF2-40B4-BE49-F238E27FC236}">
                  <a16:creationId xmlns:a16="http://schemas.microsoft.com/office/drawing/2014/main" id="{1242A551-9D7B-4700-9965-E9BCB72FBCDA}"/>
                </a:ext>
              </a:extLst>
            </p:cNvPr>
            <p:cNvSpPr txBox="1"/>
            <p:nvPr/>
          </p:nvSpPr>
          <p:spPr bwMode="auto">
            <a:xfrm>
              <a:off x="6374642" y="1362774"/>
              <a:ext cx="2520950" cy="513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3783532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61904" y="1478011"/>
            <a:ext cx="2434096" cy="21163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2997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6B3563-A03A-4617-88A2-1C2819CCC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1D53A6-BF73-4B51-91C2-AC9D96B9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pSp>
        <p:nvGrpSpPr>
          <p:cNvPr id="5" name="20431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4AE9CFC-9504-4EAB-A68B-BA2269347A13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2" y="1130300"/>
            <a:ext cx="10845798" cy="5016500"/>
            <a:chOff x="673102" y="1130300"/>
            <a:chExt cx="10845798" cy="5016500"/>
          </a:xfrm>
        </p:grpSpPr>
        <p:grpSp>
          <p:nvGrpSpPr>
            <p:cNvPr id="6" name="í$líḍé">
              <a:extLst>
                <a:ext uri="{FF2B5EF4-FFF2-40B4-BE49-F238E27FC236}">
                  <a16:creationId xmlns:a16="http://schemas.microsoft.com/office/drawing/2014/main" id="{503E533F-8D39-4B04-B21F-79C61EBAAF76}"/>
                </a:ext>
              </a:extLst>
            </p:cNvPr>
            <p:cNvGrpSpPr/>
            <p:nvPr/>
          </p:nvGrpSpPr>
          <p:grpSpPr>
            <a:xfrm>
              <a:off x="4296000" y="2256912"/>
              <a:ext cx="4812667" cy="2960648"/>
              <a:chOff x="3689667" y="2158226"/>
              <a:chExt cx="4812667" cy="2960648"/>
            </a:xfrm>
          </p:grpSpPr>
          <p:sp>
            <p:nvSpPr>
              <p:cNvPr id="16" name="iṥḻîḑé">
                <a:extLst>
                  <a:ext uri="{FF2B5EF4-FFF2-40B4-BE49-F238E27FC236}">
                    <a16:creationId xmlns:a16="http://schemas.microsoft.com/office/drawing/2014/main" id="{75A6EBDF-4E10-4074-8306-218792AF5F52}"/>
                  </a:ext>
                </a:extLst>
              </p:cNvPr>
              <p:cNvSpPr/>
              <p:nvPr/>
            </p:nvSpPr>
            <p:spPr>
              <a:xfrm>
                <a:off x="3689667" y="2436138"/>
                <a:ext cx="2014538" cy="2014538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/>
              <a:p>
                <a:pPr algn="ctr"/>
                <a:r>
                  <a:rPr lang="en-US" altLang="zh-CN" sz="2000" b="1" dirty="0"/>
                  <a:t>Text</a:t>
                </a:r>
                <a:endParaRPr lang="zh-CN" altLang="en-US" sz="2000" b="1" dirty="0"/>
              </a:p>
            </p:txBody>
          </p:sp>
          <p:sp>
            <p:nvSpPr>
              <p:cNvPr id="17" name="i$ḻîdè">
                <a:extLst>
                  <a:ext uri="{FF2B5EF4-FFF2-40B4-BE49-F238E27FC236}">
                    <a16:creationId xmlns:a16="http://schemas.microsoft.com/office/drawing/2014/main" id="{32EA43B8-FA0B-41B9-9CA8-2EB4B4423D1F}"/>
                  </a:ext>
                </a:extLst>
              </p:cNvPr>
              <p:cNvSpPr/>
              <p:nvPr/>
            </p:nvSpPr>
            <p:spPr>
              <a:xfrm>
                <a:off x="6487796" y="2650208"/>
                <a:ext cx="2014538" cy="2014538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/>
              <a:p>
                <a:pPr algn="ctr"/>
                <a:r>
                  <a:rPr lang="en-US" altLang="zh-CN" sz="2000" b="1" dirty="0"/>
                  <a:t>Text</a:t>
                </a:r>
                <a:endParaRPr lang="zh-CN" altLang="en-US" sz="2000" b="1" dirty="0"/>
              </a:p>
            </p:txBody>
          </p:sp>
          <p:sp>
            <p:nvSpPr>
              <p:cNvPr id="18" name="îṧḻîḓê">
                <a:extLst>
                  <a:ext uri="{FF2B5EF4-FFF2-40B4-BE49-F238E27FC236}">
                    <a16:creationId xmlns:a16="http://schemas.microsoft.com/office/drawing/2014/main" id="{63527953-3944-4476-9D62-691EF90D22A6}"/>
                  </a:ext>
                </a:extLst>
              </p:cNvPr>
              <p:cNvSpPr/>
              <p:nvPr/>
            </p:nvSpPr>
            <p:spPr>
              <a:xfrm>
                <a:off x="5577689" y="3461569"/>
                <a:ext cx="1530467" cy="1530467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  <a:alpha val="9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/>
              <a:p>
                <a:pPr algn="ctr"/>
                <a:r>
                  <a:rPr lang="en-US" altLang="zh-CN" sz="2000" b="1" dirty="0"/>
                  <a:t>Text</a:t>
                </a:r>
                <a:endParaRPr lang="zh-CN" altLang="en-US" sz="2000" b="1" dirty="0"/>
              </a:p>
            </p:txBody>
          </p:sp>
          <p:sp>
            <p:nvSpPr>
              <p:cNvPr id="19" name="îṧľïde">
                <a:extLst>
                  <a:ext uri="{FF2B5EF4-FFF2-40B4-BE49-F238E27FC236}">
                    <a16:creationId xmlns:a16="http://schemas.microsoft.com/office/drawing/2014/main" id="{CAEBE72D-8BCF-4ACA-8D23-6ADEAC76844B}"/>
                  </a:ext>
                </a:extLst>
              </p:cNvPr>
              <p:cNvSpPr/>
              <p:nvPr/>
            </p:nvSpPr>
            <p:spPr>
              <a:xfrm>
                <a:off x="5304538" y="2158226"/>
                <a:ext cx="1681654" cy="168165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9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/>
              <a:p>
                <a:pPr algn="ctr"/>
                <a:r>
                  <a:rPr lang="en-US" altLang="zh-CN" sz="2000" b="1" dirty="0"/>
                  <a:t>Text</a:t>
                </a:r>
                <a:endParaRPr lang="zh-CN" altLang="en-US" sz="2000" b="1" dirty="0"/>
              </a:p>
            </p:txBody>
          </p:sp>
          <p:sp>
            <p:nvSpPr>
              <p:cNvPr id="20" name="í$1ïďé">
                <a:extLst>
                  <a:ext uri="{FF2B5EF4-FFF2-40B4-BE49-F238E27FC236}">
                    <a16:creationId xmlns:a16="http://schemas.microsoft.com/office/drawing/2014/main" id="{A03B4A91-32E7-49E1-9112-5E1B07469721}"/>
                  </a:ext>
                </a:extLst>
              </p:cNvPr>
              <p:cNvSpPr/>
              <p:nvPr/>
            </p:nvSpPr>
            <p:spPr>
              <a:xfrm>
                <a:off x="4718251" y="4028443"/>
                <a:ext cx="1090431" cy="109043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9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/>
              <a:p>
                <a:pPr algn="ctr"/>
                <a:r>
                  <a:rPr lang="en-US" altLang="zh-CN" sz="2000" b="1" dirty="0"/>
                  <a:t>Text</a:t>
                </a:r>
                <a:endParaRPr lang="zh-CN" altLang="en-US" sz="2000" b="1" dirty="0"/>
              </a:p>
            </p:txBody>
          </p:sp>
        </p:grpSp>
        <p:grpSp>
          <p:nvGrpSpPr>
            <p:cNvPr id="7" name="íŝļídé">
              <a:extLst>
                <a:ext uri="{FF2B5EF4-FFF2-40B4-BE49-F238E27FC236}">
                  <a16:creationId xmlns:a16="http://schemas.microsoft.com/office/drawing/2014/main" id="{069758F4-D789-4D9C-87DB-26AA3E905955}"/>
                </a:ext>
              </a:extLst>
            </p:cNvPr>
            <p:cNvGrpSpPr/>
            <p:nvPr/>
          </p:nvGrpSpPr>
          <p:grpSpPr>
            <a:xfrm>
              <a:off x="673102" y="1130300"/>
              <a:ext cx="3843592" cy="1990465"/>
              <a:chOff x="673101" y="2680785"/>
              <a:chExt cx="4072899" cy="1990465"/>
            </a:xfrm>
          </p:grpSpPr>
          <p:sp>
            <p:nvSpPr>
              <p:cNvPr id="13" name="iṥḻiḋé">
                <a:extLst>
                  <a:ext uri="{FF2B5EF4-FFF2-40B4-BE49-F238E27FC236}">
                    <a16:creationId xmlns:a16="http://schemas.microsoft.com/office/drawing/2014/main" id="{28DD1550-CA18-4F89-A86F-42F605122A99}"/>
                  </a:ext>
                </a:extLst>
              </p:cNvPr>
              <p:cNvSpPr txBox="1"/>
              <p:nvPr/>
            </p:nvSpPr>
            <p:spPr>
              <a:xfrm>
                <a:off x="673103" y="2680785"/>
                <a:ext cx="4072897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0000" tIns="46800" rIns="90000" bIns="46800" anchor="b" anchorCtr="0">
                <a:normAutofit/>
              </a:bodyPr>
              <a:lstStyle/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 dirty="0"/>
                  <a:t>reading more fluent.</a:t>
                </a:r>
              </a:p>
            </p:txBody>
          </p: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F5894032-D6B7-4472-ADE7-F1B0726ADD15}"/>
                  </a:ext>
                </a:extLst>
              </p:cNvPr>
              <p:cNvCxnSpPr/>
              <p:nvPr/>
            </p:nvCxnSpPr>
            <p:spPr>
              <a:xfrm>
                <a:off x="673103" y="3659947"/>
                <a:ext cx="4072897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îş1ïḍé">
                <a:extLst>
                  <a:ext uri="{FF2B5EF4-FFF2-40B4-BE49-F238E27FC236}">
                    <a16:creationId xmlns:a16="http://schemas.microsoft.com/office/drawing/2014/main" id="{15648CD6-8FCD-4C52-8573-24FA5B910220}"/>
                  </a:ext>
                </a:extLst>
              </p:cNvPr>
              <p:cNvSpPr txBox="1"/>
              <p:nvPr/>
            </p:nvSpPr>
            <p:spPr>
              <a:xfrm>
                <a:off x="673101" y="3765447"/>
                <a:ext cx="4072897" cy="9058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0000" tIns="46800" rIns="90000" bIns="468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Chinese typesetting, use the reference line in PPT.</a:t>
                </a:r>
              </a:p>
            </p:txBody>
          </p:sp>
        </p:grpSp>
        <p:grpSp>
          <p:nvGrpSpPr>
            <p:cNvPr id="8" name="ïŝľîḋê">
              <a:extLst>
                <a:ext uri="{FF2B5EF4-FFF2-40B4-BE49-F238E27FC236}">
                  <a16:creationId xmlns:a16="http://schemas.microsoft.com/office/drawing/2014/main" id="{9B32FD68-6090-4322-9C91-1D0168C29E18}"/>
                </a:ext>
              </a:extLst>
            </p:cNvPr>
            <p:cNvGrpSpPr/>
            <p:nvPr/>
          </p:nvGrpSpPr>
          <p:grpSpPr>
            <a:xfrm>
              <a:off x="9108667" y="3736710"/>
              <a:ext cx="2404498" cy="1017430"/>
              <a:chOff x="8661000" y="1781570"/>
              <a:chExt cx="2295000" cy="1017430"/>
            </a:xfrm>
          </p:grpSpPr>
          <p:sp>
            <p:nvSpPr>
              <p:cNvPr id="11" name="îśľiḋê">
                <a:extLst>
                  <a:ext uri="{FF2B5EF4-FFF2-40B4-BE49-F238E27FC236}">
                    <a16:creationId xmlns:a16="http://schemas.microsoft.com/office/drawing/2014/main" id="{1BB3FD0B-B174-49D5-A30B-28C5FC18EA58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12" name="iṧḷîḋé">
                <a:extLst>
                  <a:ext uri="{FF2B5EF4-FFF2-40B4-BE49-F238E27FC236}">
                    <a16:creationId xmlns:a16="http://schemas.microsoft.com/office/drawing/2014/main" id="{AF2BBDC6-8EC9-4ADC-B35C-9CB18470C4A6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sp>
          <p:nvSpPr>
            <p:cNvPr id="9" name="í$ľïdè">
              <a:extLst>
                <a:ext uri="{FF2B5EF4-FFF2-40B4-BE49-F238E27FC236}">
                  <a16:creationId xmlns:a16="http://schemas.microsoft.com/office/drawing/2014/main" id="{0BC0451E-E8CD-4318-89D5-1D39CFBBF88B}"/>
                </a:ext>
              </a:extLst>
            </p:cNvPr>
            <p:cNvSpPr txBox="1"/>
            <p:nvPr/>
          </p:nvSpPr>
          <p:spPr>
            <a:xfrm>
              <a:off x="9108667" y="5521882"/>
              <a:ext cx="240449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</a:t>
              </a:r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6D0E5D2A-A8E4-4EA6-9E27-FE17EF472ABA}"/>
                </a:ext>
              </a:extLst>
            </p:cNvPr>
            <p:cNvCxnSpPr>
              <a:cxnSpLocks/>
            </p:cNvCxnSpPr>
            <p:nvPr/>
          </p:nvCxnSpPr>
          <p:spPr>
            <a:xfrm>
              <a:off x="9207396" y="5192646"/>
              <a:ext cx="2311504" cy="0"/>
            </a:xfrm>
            <a:prstGeom prst="line">
              <a:avLst/>
            </a:prstGeom>
            <a:ln w="3175" cap="rnd">
              <a:solidFill>
                <a:schemeClr val="tx2">
                  <a:lumMod val="40000"/>
                  <a:lumOff val="6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6906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13BAE3-7261-4F2B-8119-92C732A2E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01EDB08-8B6A-4139-ABA9-548879C65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grpSp>
        <p:nvGrpSpPr>
          <p:cNvPr id="5" name="41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0361D6-4E88-40E0-B11B-E7304D231DB9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30300"/>
            <a:ext cx="10848974" cy="4251341"/>
            <a:chOff x="669925" y="1130300"/>
            <a:chExt cx="10848974" cy="4251341"/>
          </a:xfrm>
        </p:grpSpPr>
        <p:sp>
          <p:nvSpPr>
            <p:cNvPr id="6" name="iš1ïďê">
              <a:extLst>
                <a:ext uri="{FF2B5EF4-FFF2-40B4-BE49-F238E27FC236}">
                  <a16:creationId xmlns:a16="http://schemas.microsoft.com/office/drawing/2014/main" id="{5F9B2187-3C50-4AB0-A962-F4A3A76D70B8}"/>
                </a:ext>
              </a:extLst>
            </p:cNvPr>
            <p:cNvSpPr/>
            <p:nvPr/>
          </p:nvSpPr>
          <p:spPr>
            <a:xfrm>
              <a:off x="669925" y="3593981"/>
              <a:ext cx="10802937" cy="934194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íşļïḓé">
              <a:extLst>
                <a:ext uri="{FF2B5EF4-FFF2-40B4-BE49-F238E27FC236}">
                  <a16:creationId xmlns:a16="http://schemas.microsoft.com/office/drawing/2014/main" id="{5280C1B0-99D8-4ED2-8D9C-E1888D8CE705}"/>
                </a:ext>
              </a:extLst>
            </p:cNvPr>
            <p:cNvSpPr txBox="1"/>
            <p:nvPr/>
          </p:nvSpPr>
          <p:spPr>
            <a:xfrm>
              <a:off x="1183544" y="3119105"/>
              <a:ext cx="1451696" cy="44959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i="1" dirty="0"/>
                <a:t>Text here</a:t>
              </a:r>
            </a:p>
          </p:txBody>
        </p:sp>
        <p:sp>
          <p:nvSpPr>
            <p:cNvPr id="8" name="ïṩļídé">
              <a:extLst>
                <a:ext uri="{FF2B5EF4-FFF2-40B4-BE49-F238E27FC236}">
                  <a16:creationId xmlns:a16="http://schemas.microsoft.com/office/drawing/2014/main" id="{90D07288-D3FD-4221-ACBF-94E5F52E9767}"/>
                </a:ext>
              </a:extLst>
            </p:cNvPr>
            <p:cNvSpPr/>
            <p:nvPr/>
          </p:nvSpPr>
          <p:spPr bwMode="auto">
            <a:xfrm>
              <a:off x="1594865" y="2389039"/>
              <a:ext cx="629054" cy="573435"/>
            </a:xfrm>
            <a:custGeom>
              <a:avLst/>
              <a:gdLst>
                <a:gd name="T0" fmla="*/ 3495 w 7671"/>
                <a:gd name="T1" fmla="*/ 13 h 7004"/>
                <a:gd name="T2" fmla="*/ 1231 w 7671"/>
                <a:gd name="T3" fmla="*/ 2655 h 7004"/>
                <a:gd name="T4" fmla="*/ 72 w 7671"/>
                <a:gd name="T5" fmla="*/ 2932 h 7004"/>
                <a:gd name="T6" fmla="*/ 847 w 7671"/>
                <a:gd name="T7" fmla="*/ 5568 h 7004"/>
                <a:gd name="T8" fmla="*/ 3486 w 7671"/>
                <a:gd name="T9" fmla="*/ 6995 h 7004"/>
                <a:gd name="T10" fmla="*/ 7670 w 7671"/>
                <a:gd name="T11" fmla="*/ 2832 h 7004"/>
                <a:gd name="T12" fmla="*/ 151 w 7671"/>
                <a:gd name="T13" fmla="*/ 4560 h 7004"/>
                <a:gd name="T14" fmla="*/ 336 w 7671"/>
                <a:gd name="T15" fmla="*/ 4160 h 7004"/>
                <a:gd name="T16" fmla="*/ 162 w 7671"/>
                <a:gd name="T17" fmla="*/ 3813 h 7004"/>
                <a:gd name="T18" fmla="*/ 321 w 7671"/>
                <a:gd name="T19" fmla="*/ 3331 h 7004"/>
                <a:gd name="T20" fmla="*/ 689 w 7671"/>
                <a:gd name="T21" fmla="*/ 4708 h 7004"/>
                <a:gd name="T22" fmla="*/ 509 w 7671"/>
                <a:gd name="T23" fmla="*/ 4140 h 7004"/>
                <a:gd name="T24" fmla="*/ 692 w 7671"/>
                <a:gd name="T25" fmla="*/ 3769 h 7004"/>
                <a:gd name="T26" fmla="*/ 495 w 7671"/>
                <a:gd name="T27" fmla="*/ 3269 h 7004"/>
                <a:gd name="T28" fmla="*/ 1721 w 7671"/>
                <a:gd name="T29" fmla="*/ 4980 h 7004"/>
                <a:gd name="T30" fmla="*/ 1432 w 7671"/>
                <a:gd name="T31" fmla="*/ 4244 h 7004"/>
                <a:gd name="T32" fmla="*/ 1700 w 7671"/>
                <a:gd name="T33" fmla="*/ 3686 h 7004"/>
                <a:gd name="T34" fmla="*/ 1449 w 7671"/>
                <a:gd name="T35" fmla="*/ 3018 h 7004"/>
                <a:gd name="T36" fmla="*/ 1713 w 7671"/>
                <a:gd name="T37" fmla="*/ 2381 h 7004"/>
                <a:gd name="T38" fmla="*/ 1438 w 7671"/>
                <a:gd name="T39" fmla="*/ 1807 h 7004"/>
                <a:gd name="T40" fmla="*/ 2329 w 7671"/>
                <a:gd name="T41" fmla="*/ 5112 h 7004"/>
                <a:gd name="T42" fmla="*/ 1930 w 7671"/>
                <a:gd name="T43" fmla="*/ 4323 h 7004"/>
                <a:gd name="T44" fmla="*/ 2329 w 7671"/>
                <a:gd name="T45" fmla="*/ 3597 h 7004"/>
                <a:gd name="T46" fmla="*/ 1930 w 7671"/>
                <a:gd name="T47" fmla="*/ 2923 h 7004"/>
                <a:gd name="T48" fmla="*/ 2329 w 7671"/>
                <a:gd name="T49" fmla="*/ 3597 h 7004"/>
                <a:gd name="T50" fmla="*/ 1930 w 7671"/>
                <a:gd name="T51" fmla="*/ 2223 h 7004"/>
                <a:gd name="T52" fmla="*/ 2329 w 7671"/>
                <a:gd name="T53" fmla="*/ 2082 h 7004"/>
                <a:gd name="T54" fmla="*/ 2650 w 7671"/>
                <a:gd name="T55" fmla="*/ 5254 h 7004"/>
                <a:gd name="T56" fmla="*/ 3152 w 7671"/>
                <a:gd name="T57" fmla="*/ 4435 h 7004"/>
                <a:gd name="T58" fmla="*/ 2636 w 7671"/>
                <a:gd name="T59" fmla="*/ 3595 h 7004"/>
                <a:gd name="T60" fmla="*/ 3152 w 7671"/>
                <a:gd name="T61" fmla="*/ 2623 h 7004"/>
                <a:gd name="T62" fmla="*/ 2663 w 7671"/>
                <a:gd name="T63" fmla="*/ 1956 h 7004"/>
                <a:gd name="T64" fmla="*/ 3131 w 7671"/>
                <a:gd name="T65" fmla="*/ 776 h 7004"/>
                <a:gd name="T66" fmla="*/ 4990 w 7671"/>
                <a:gd name="T67" fmla="*/ 1229 h 7004"/>
                <a:gd name="T68" fmla="*/ 5441 w 7671"/>
                <a:gd name="T69" fmla="*/ 2226 h 7004"/>
                <a:gd name="T70" fmla="*/ 4948 w 7671"/>
                <a:gd name="T71" fmla="*/ 2784 h 7004"/>
                <a:gd name="T72" fmla="*/ 5453 w 7671"/>
                <a:gd name="T73" fmla="*/ 3664 h 7004"/>
                <a:gd name="T74" fmla="*/ 3706 w 7671"/>
                <a:gd name="T75" fmla="*/ 694 h 7004"/>
                <a:gd name="T76" fmla="*/ 4408 w 7671"/>
                <a:gd name="T77" fmla="*/ 1907 h 7004"/>
                <a:gd name="T78" fmla="*/ 3688 w 7671"/>
                <a:gd name="T79" fmla="*/ 3518 h 7004"/>
                <a:gd name="T80" fmla="*/ 4448 w 7671"/>
                <a:gd name="T81" fmla="*/ 3557 h 7004"/>
                <a:gd name="T82" fmla="*/ 5014 w 7671"/>
                <a:gd name="T83" fmla="*/ 6300 h 7004"/>
                <a:gd name="T84" fmla="*/ 4045 w 7671"/>
                <a:gd name="T85" fmla="*/ 4424 h 7004"/>
                <a:gd name="T86" fmla="*/ 5014 w 7671"/>
                <a:gd name="T87" fmla="*/ 6300 h 7004"/>
                <a:gd name="T88" fmla="*/ 5413 w 7671"/>
                <a:gd name="T89" fmla="*/ 6118 h 7004"/>
                <a:gd name="T90" fmla="*/ 6087 w 7671"/>
                <a:gd name="T91" fmla="*/ 5892 h 7004"/>
                <a:gd name="T92" fmla="*/ 5822 w 7671"/>
                <a:gd name="T93" fmla="*/ 3640 h 7004"/>
                <a:gd name="T94" fmla="*/ 6258 w 7671"/>
                <a:gd name="T95" fmla="*/ 3660 h 7004"/>
                <a:gd name="T96" fmla="*/ 5851 w 7671"/>
                <a:gd name="T97" fmla="*/ 2352 h 7004"/>
                <a:gd name="T98" fmla="*/ 6258 w 7671"/>
                <a:gd name="T99" fmla="*/ 1803 h 7004"/>
                <a:gd name="T100" fmla="*/ 6669 w 7671"/>
                <a:gd name="T101" fmla="*/ 4852 h 7004"/>
                <a:gd name="T102" fmla="*/ 6955 w 7671"/>
                <a:gd name="T103" fmla="*/ 4202 h 7004"/>
                <a:gd name="T104" fmla="*/ 6927 w 7671"/>
                <a:gd name="T105" fmla="*/ 3741 h 7004"/>
                <a:gd name="T106" fmla="*/ 6677 w 7671"/>
                <a:gd name="T107" fmla="*/ 3084 h 7004"/>
                <a:gd name="T108" fmla="*/ 7371 w 7671"/>
                <a:gd name="T109" fmla="*/ 4717 h 7004"/>
                <a:gd name="T110" fmla="*/ 7155 w 7671"/>
                <a:gd name="T111" fmla="*/ 4176 h 7004"/>
                <a:gd name="T112" fmla="*/ 7404 w 7671"/>
                <a:gd name="T113" fmla="*/ 3726 h 7004"/>
                <a:gd name="T114" fmla="*/ 7117 w 7671"/>
                <a:gd name="T115" fmla="*/ 3219 h 7004"/>
                <a:gd name="T116" fmla="*/ 7404 w 7671"/>
                <a:gd name="T117" fmla="*/ 3726 h 7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71" h="7004">
                  <a:moveTo>
                    <a:pt x="7585" y="2716"/>
                  </a:moveTo>
                  <a:lnTo>
                    <a:pt x="6499" y="2383"/>
                  </a:lnTo>
                  <a:lnTo>
                    <a:pt x="6499" y="1573"/>
                  </a:lnTo>
                  <a:cubicBezTo>
                    <a:pt x="6499" y="1527"/>
                    <a:pt x="6473" y="1485"/>
                    <a:pt x="6432" y="1465"/>
                  </a:cubicBezTo>
                  <a:lnTo>
                    <a:pt x="3498" y="13"/>
                  </a:lnTo>
                  <a:cubicBezTo>
                    <a:pt x="3497" y="13"/>
                    <a:pt x="3497" y="13"/>
                    <a:pt x="3495" y="13"/>
                  </a:cubicBezTo>
                  <a:cubicBezTo>
                    <a:pt x="3490" y="10"/>
                    <a:pt x="3468" y="0"/>
                    <a:pt x="3436" y="2"/>
                  </a:cubicBezTo>
                  <a:cubicBezTo>
                    <a:pt x="3403" y="4"/>
                    <a:pt x="3379" y="20"/>
                    <a:pt x="3374" y="23"/>
                  </a:cubicBezTo>
                  <a:lnTo>
                    <a:pt x="3374" y="23"/>
                  </a:lnTo>
                  <a:lnTo>
                    <a:pt x="1282" y="1515"/>
                  </a:lnTo>
                  <a:cubicBezTo>
                    <a:pt x="1250" y="1538"/>
                    <a:pt x="1231" y="1574"/>
                    <a:pt x="1231" y="1613"/>
                  </a:cubicBezTo>
                  <a:lnTo>
                    <a:pt x="1231" y="2655"/>
                  </a:lnTo>
                  <a:lnTo>
                    <a:pt x="842" y="2609"/>
                  </a:lnTo>
                  <a:cubicBezTo>
                    <a:pt x="842" y="2609"/>
                    <a:pt x="841" y="2609"/>
                    <a:pt x="839" y="2609"/>
                  </a:cubicBezTo>
                  <a:cubicBezTo>
                    <a:pt x="834" y="2609"/>
                    <a:pt x="822" y="2608"/>
                    <a:pt x="811" y="2610"/>
                  </a:cubicBezTo>
                  <a:cubicBezTo>
                    <a:pt x="797" y="2612"/>
                    <a:pt x="785" y="2616"/>
                    <a:pt x="780" y="2618"/>
                  </a:cubicBezTo>
                  <a:cubicBezTo>
                    <a:pt x="780" y="2618"/>
                    <a:pt x="779" y="2618"/>
                    <a:pt x="779" y="2618"/>
                  </a:cubicBezTo>
                  <a:lnTo>
                    <a:pt x="72" y="2932"/>
                  </a:lnTo>
                  <a:cubicBezTo>
                    <a:pt x="28" y="2951"/>
                    <a:pt x="0" y="2994"/>
                    <a:pt x="0" y="3042"/>
                  </a:cubicBezTo>
                  <a:lnTo>
                    <a:pt x="0" y="5060"/>
                  </a:lnTo>
                  <a:cubicBezTo>
                    <a:pt x="0" y="5105"/>
                    <a:pt x="24" y="5145"/>
                    <a:pt x="63" y="5166"/>
                  </a:cubicBezTo>
                  <a:lnTo>
                    <a:pt x="772" y="5555"/>
                  </a:lnTo>
                  <a:cubicBezTo>
                    <a:pt x="772" y="5555"/>
                    <a:pt x="790" y="5566"/>
                    <a:pt x="813" y="5568"/>
                  </a:cubicBezTo>
                  <a:cubicBezTo>
                    <a:pt x="833" y="5571"/>
                    <a:pt x="847" y="5568"/>
                    <a:pt x="847" y="5568"/>
                  </a:cubicBezTo>
                  <a:lnTo>
                    <a:pt x="1231" y="5513"/>
                  </a:lnTo>
                  <a:lnTo>
                    <a:pt x="1231" y="5735"/>
                  </a:lnTo>
                  <a:cubicBezTo>
                    <a:pt x="1231" y="5779"/>
                    <a:pt x="1255" y="5820"/>
                    <a:pt x="1294" y="5841"/>
                  </a:cubicBezTo>
                  <a:lnTo>
                    <a:pt x="3386" y="6987"/>
                  </a:lnTo>
                  <a:cubicBezTo>
                    <a:pt x="3386" y="6987"/>
                    <a:pt x="3409" y="7001"/>
                    <a:pt x="3440" y="7002"/>
                  </a:cubicBezTo>
                  <a:cubicBezTo>
                    <a:pt x="3463" y="7004"/>
                    <a:pt x="3486" y="6995"/>
                    <a:pt x="3486" y="6995"/>
                  </a:cubicBezTo>
                  <a:lnTo>
                    <a:pt x="3486" y="6994"/>
                  </a:lnTo>
                  <a:lnTo>
                    <a:pt x="3486" y="6994"/>
                  </a:lnTo>
                  <a:lnTo>
                    <a:pt x="6420" y="5879"/>
                  </a:lnTo>
                  <a:lnTo>
                    <a:pt x="7592" y="5433"/>
                  </a:lnTo>
                  <a:cubicBezTo>
                    <a:pt x="7639" y="5416"/>
                    <a:pt x="7670" y="5371"/>
                    <a:pt x="7670" y="5321"/>
                  </a:cubicBezTo>
                  <a:lnTo>
                    <a:pt x="7670" y="2832"/>
                  </a:lnTo>
                  <a:cubicBezTo>
                    <a:pt x="7671" y="2779"/>
                    <a:pt x="7636" y="2732"/>
                    <a:pt x="7585" y="2716"/>
                  </a:cubicBezTo>
                  <a:close/>
                  <a:moveTo>
                    <a:pt x="337" y="4559"/>
                  </a:moveTo>
                  <a:cubicBezTo>
                    <a:pt x="337" y="4571"/>
                    <a:pt x="331" y="4583"/>
                    <a:pt x="321" y="4591"/>
                  </a:cubicBezTo>
                  <a:cubicBezTo>
                    <a:pt x="313" y="4596"/>
                    <a:pt x="305" y="4599"/>
                    <a:pt x="296" y="4599"/>
                  </a:cubicBezTo>
                  <a:cubicBezTo>
                    <a:pt x="293" y="4599"/>
                    <a:pt x="289" y="4598"/>
                    <a:pt x="286" y="4597"/>
                  </a:cubicBezTo>
                  <a:lnTo>
                    <a:pt x="151" y="4560"/>
                  </a:lnTo>
                  <a:cubicBezTo>
                    <a:pt x="134" y="4555"/>
                    <a:pt x="122" y="4539"/>
                    <a:pt x="122" y="4521"/>
                  </a:cubicBezTo>
                  <a:lnTo>
                    <a:pt x="122" y="4147"/>
                  </a:lnTo>
                  <a:cubicBezTo>
                    <a:pt x="122" y="4136"/>
                    <a:pt x="126" y="4125"/>
                    <a:pt x="135" y="4117"/>
                  </a:cubicBezTo>
                  <a:cubicBezTo>
                    <a:pt x="143" y="4109"/>
                    <a:pt x="155" y="4106"/>
                    <a:pt x="166" y="4107"/>
                  </a:cubicBezTo>
                  <a:lnTo>
                    <a:pt x="300" y="4120"/>
                  </a:lnTo>
                  <a:cubicBezTo>
                    <a:pt x="321" y="4122"/>
                    <a:pt x="336" y="4139"/>
                    <a:pt x="336" y="4160"/>
                  </a:cubicBezTo>
                  <a:lnTo>
                    <a:pt x="336" y="4559"/>
                  </a:lnTo>
                  <a:lnTo>
                    <a:pt x="337" y="4559"/>
                  </a:lnTo>
                  <a:close/>
                  <a:moveTo>
                    <a:pt x="337" y="3761"/>
                  </a:moveTo>
                  <a:cubicBezTo>
                    <a:pt x="337" y="3782"/>
                    <a:pt x="321" y="3800"/>
                    <a:pt x="300" y="3802"/>
                  </a:cubicBezTo>
                  <a:lnTo>
                    <a:pt x="165" y="3813"/>
                  </a:lnTo>
                  <a:lnTo>
                    <a:pt x="162" y="3813"/>
                  </a:lnTo>
                  <a:cubicBezTo>
                    <a:pt x="152" y="3813"/>
                    <a:pt x="142" y="3809"/>
                    <a:pt x="135" y="3802"/>
                  </a:cubicBezTo>
                  <a:cubicBezTo>
                    <a:pt x="126" y="3795"/>
                    <a:pt x="122" y="3784"/>
                    <a:pt x="122" y="3773"/>
                  </a:cubicBezTo>
                  <a:lnTo>
                    <a:pt x="122" y="3398"/>
                  </a:lnTo>
                  <a:cubicBezTo>
                    <a:pt x="122" y="3380"/>
                    <a:pt x="134" y="3364"/>
                    <a:pt x="152" y="3359"/>
                  </a:cubicBezTo>
                  <a:lnTo>
                    <a:pt x="286" y="3324"/>
                  </a:lnTo>
                  <a:cubicBezTo>
                    <a:pt x="298" y="3321"/>
                    <a:pt x="311" y="3323"/>
                    <a:pt x="321" y="3331"/>
                  </a:cubicBezTo>
                  <a:cubicBezTo>
                    <a:pt x="331" y="3339"/>
                    <a:pt x="337" y="3350"/>
                    <a:pt x="337" y="3363"/>
                  </a:cubicBezTo>
                  <a:lnTo>
                    <a:pt x="337" y="3761"/>
                  </a:lnTo>
                  <a:lnTo>
                    <a:pt x="337" y="3761"/>
                  </a:lnTo>
                  <a:close/>
                  <a:moveTo>
                    <a:pt x="729" y="4668"/>
                  </a:moveTo>
                  <a:cubicBezTo>
                    <a:pt x="729" y="4680"/>
                    <a:pt x="723" y="4692"/>
                    <a:pt x="714" y="4700"/>
                  </a:cubicBezTo>
                  <a:cubicBezTo>
                    <a:pt x="706" y="4705"/>
                    <a:pt x="698" y="4708"/>
                    <a:pt x="689" y="4708"/>
                  </a:cubicBezTo>
                  <a:cubicBezTo>
                    <a:pt x="686" y="4708"/>
                    <a:pt x="682" y="4707"/>
                    <a:pt x="678" y="4706"/>
                  </a:cubicBezTo>
                  <a:lnTo>
                    <a:pt x="494" y="4655"/>
                  </a:lnTo>
                  <a:cubicBezTo>
                    <a:pt x="477" y="4651"/>
                    <a:pt x="465" y="4635"/>
                    <a:pt x="465" y="4617"/>
                  </a:cubicBezTo>
                  <a:lnTo>
                    <a:pt x="465" y="4180"/>
                  </a:lnTo>
                  <a:cubicBezTo>
                    <a:pt x="465" y="4169"/>
                    <a:pt x="470" y="4158"/>
                    <a:pt x="478" y="4150"/>
                  </a:cubicBezTo>
                  <a:cubicBezTo>
                    <a:pt x="486" y="4143"/>
                    <a:pt x="498" y="4139"/>
                    <a:pt x="509" y="4140"/>
                  </a:cubicBezTo>
                  <a:lnTo>
                    <a:pt x="693" y="4158"/>
                  </a:lnTo>
                  <a:cubicBezTo>
                    <a:pt x="714" y="4160"/>
                    <a:pt x="729" y="4178"/>
                    <a:pt x="729" y="4198"/>
                  </a:cubicBezTo>
                  <a:lnTo>
                    <a:pt x="729" y="4668"/>
                  </a:lnTo>
                  <a:lnTo>
                    <a:pt x="729" y="4668"/>
                  </a:lnTo>
                  <a:close/>
                  <a:moveTo>
                    <a:pt x="729" y="3729"/>
                  </a:moveTo>
                  <a:cubicBezTo>
                    <a:pt x="729" y="3750"/>
                    <a:pt x="713" y="3767"/>
                    <a:pt x="692" y="3769"/>
                  </a:cubicBezTo>
                  <a:lnTo>
                    <a:pt x="508" y="3784"/>
                  </a:lnTo>
                  <a:lnTo>
                    <a:pt x="505" y="3784"/>
                  </a:lnTo>
                  <a:cubicBezTo>
                    <a:pt x="495" y="3784"/>
                    <a:pt x="485" y="3781"/>
                    <a:pt x="478" y="3774"/>
                  </a:cubicBezTo>
                  <a:cubicBezTo>
                    <a:pt x="469" y="3766"/>
                    <a:pt x="465" y="3756"/>
                    <a:pt x="465" y="3744"/>
                  </a:cubicBezTo>
                  <a:lnTo>
                    <a:pt x="465" y="3308"/>
                  </a:lnTo>
                  <a:cubicBezTo>
                    <a:pt x="465" y="3290"/>
                    <a:pt x="477" y="3274"/>
                    <a:pt x="495" y="3269"/>
                  </a:cubicBezTo>
                  <a:lnTo>
                    <a:pt x="679" y="3221"/>
                  </a:lnTo>
                  <a:cubicBezTo>
                    <a:pt x="691" y="3217"/>
                    <a:pt x="704" y="3220"/>
                    <a:pt x="714" y="3228"/>
                  </a:cubicBezTo>
                  <a:cubicBezTo>
                    <a:pt x="723" y="3235"/>
                    <a:pt x="729" y="3247"/>
                    <a:pt x="729" y="3260"/>
                  </a:cubicBezTo>
                  <a:lnTo>
                    <a:pt x="729" y="3729"/>
                  </a:lnTo>
                  <a:close/>
                  <a:moveTo>
                    <a:pt x="1737" y="4948"/>
                  </a:moveTo>
                  <a:cubicBezTo>
                    <a:pt x="1737" y="4960"/>
                    <a:pt x="1731" y="4972"/>
                    <a:pt x="1721" y="4980"/>
                  </a:cubicBezTo>
                  <a:cubicBezTo>
                    <a:pt x="1714" y="4985"/>
                    <a:pt x="1706" y="4988"/>
                    <a:pt x="1697" y="4988"/>
                  </a:cubicBezTo>
                  <a:cubicBezTo>
                    <a:pt x="1693" y="4988"/>
                    <a:pt x="1690" y="4987"/>
                    <a:pt x="1686" y="4986"/>
                  </a:cubicBezTo>
                  <a:lnTo>
                    <a:pt x="1449" y="4920"/>
                  </a:lnTo>
                  <a:cubicBezTo>
                    <a:pt x="1431" y="4916"/>
                    <a:pt x="1419" y="4900"/>
                    <a:pt x="1419" y="4882"/>
                  </a:cubicBezTo>
                  <a:lnTo>
                    <a:pt x="1419" y="4274"/>
                  </a:lnTo>
                  <a:cubicBezTo>
                    <a:pt x="1419" y="4262"/>
                    <a:pt x="1424" y="4251"/>
                    <a:pt x="1432" y="4244"/>
                  </a:cubicBezTo>
                  <a:cubicBezTo>
                    <a:pt x="1441" y="4236"/>
                    <a:pt x="1452" y="4232"/>
                    <a:pt x="1463" y="4233"/>
                  </a:cubicBezTo>
                  <a:lnTo>
                    <a:pt x="1701" y="4257"/>
                  </a:lnTo>
                  <a:cubicBezTo>
                    <a:pt x="1721" y="4259"/>
                    <a:pt x="1737" y="4276"/>
                    <a:pt x="1737" y="4297"/>
                  </a:cubicBezTo>
                  <a:lnTo>
                    <a:pt x="1737" y="4948"/>
                  </a:lnTo>
                  <a:close/>
                  <a:moveTo>
                    <a:pt x="1737" y="3646"/>
                  </a:moveTo>
                  <a:cubicBezTo>
                    <a:pt x="1737" y="3667"/>
                    <a:pt x="1721" y="3684"/>
                    <a:pt x="1700" y="3686"/>
                  </a:cubicBezTo>
                  <a:lnTo>
                    <a:pt x="1463" y="3705"/>
                  </a:lnTo>
                  <a:cubicBezTo>
                    <a:pt x="1462" y="3706"/>
                    <a:pt x="1461" y="3706"/>
                    <a:pt x="1459" y="3706"/>
                  </a:cubicBezTo>
                  <a:cubicBezTo>
                    <a:pt x="1449" y="3706"/>
                    <a:pt x="1440" y="3702"/>
                    <a:pt x="1432" y="3695"/>
                  </a:cubicBezTo>
                  <a:cubicBezTo>
                    <a:pt x="1424" y="3687"/>
                    <a:pt x="1419" y="3677"/>
                    <a:pt x="1419" y="3665"/>
                  </a:cubicBezTo>
                  <a:lnTo>
                    <a:pt x="1419" y="3057"/>
                  </a:lnTo>
                  <a:cubicBezTo>
                    <a:pt x="1419" y="3039"/>
                    <a:pt x="1432" y="3023"/>
                    <a:pt x="1449" y="3018"/>
                  </a:cubicBezTo>
                  <a:lnTo>
                    <a:pt x="1687" y="2956"/>
                  </a:lnTo>
                  <a:cubicBezTo>
                    <a:pt x="1699" y="2953"/>
                    <a:pt x="1712" y="2955"/>
                    <a:pt x="1721" y="2963"/>
                  </a:cubicBezTo>
                  <a:cubicBezTo>
                    <a:pt x="1731" y="2970"/>
                    <a:pt x="1737" y="2982"/>
                    <a:pt x="1737" y="2995"/>
                  </a:cubicBezTo>
                  <a:lnTo>
                    <a:pt x="1737" y="3646"/>
                  </a:lnTo>
                  <a:close/>
                  <a:moveTo>
                    <a:pt x="1737" y="2344"/>
                  </a:moveTo>
                  <a:cubicBezTo>
                    <a:pt x="1737" y="2360"/>
                    <a:pt x="1728" y="2374"/>
                    <a:pt x="1713" y="2381"/>
                  </a:cubicBezTo>
                  <a:lnTo>
                    <a:pt x="1476" y="2486"/>
                  </a:lnTo>
                  <a:cubicBezTo>
                    <a:pt x="1471" y="2488"/>
                    <a:pt x="1465" y="2489"/>
                    <a:pt x="1460" y="2489"/>
                  </a:cubicBezTo>
                  <a:cubicBezTo>
                    <a:pt x="1452" y="2489"/>
                    <a:pt x="1444" y="2487"/>
                    <a:pt x="1437" y="2483"/>
                  </a:cubicBezTo>
                  <a:cubicBezTo>
                    <a:pt x="1426" y="2475"/>
                    <a:pt x="1419" y="2463"/>
                    <a:pt x="1419" y="2449"/>
                  </a:cubicBezTo>
                  <a:lnTo>
                    <a:pt x="1419" y="1841"/>
                  </a:lnTo>
                  <a:cubicBezTo>
                    <a:pt x="1419" y="1827"/>
                    <a:pt x="1426" y="1814"/>
                    <a:pt x="1438" y="1807"/>
                  </a:cubicBezTo>
                  <a:lnTo>
                    <a:pt x="1676" y="1659"/>
                  </a:lnTo>
                  <a:cubicBezTo>
                    <a:pt x="1688" y="1651"/>
                    <a:pt x="1704" y="1651"/>
                    <a:pt x="1716" y="1658"/>
                  </a:cubicBezTo>
                  <a:cubicBezTo>
                    <a:pt x="1729" y="1665"/>
                    <a:pt x="1737" y="1678"/>
                    <a:pt x="1737" y="1693"/>
                  </a:cubicBezTo>
                  <a:lnTo>
                    <a:pt x="1737" y="2344"/>
                  </a:lnTo>
                  <a:lnTo>
                    <a:pt x="1737" y="2344"/>
                  </a:lnTo>
                  <a:close/>
                  <a:moveTo>
                    <a:pt x="2329" y="5112"/>
                  </a:moveTo>
                  <a:cubicBezTo>
                    <a:pt x="2329" y="5124"/>
                    <a:pt x="2323" y="5136"/>
                    <a:pt x="2313" y="5144"/>
                  </a:cubicBezTo>
                  <a:cubicBezTo>
                    <a:pt x="2306" y="5149"/>
                    <a:pt x="2297" y="5152"/>
                    <a:pt x="2289" y="5152"/>
                  </a:cubicBezTo>
                  <a:cubicBezTo>
                    <a:pt x="2285" y="5152"/>
                    <a:pt x="2281" y="5152"/>
                    <a:pt x="2278" y="5151"/>
                  </a:cubicBezTo>
                  <a:lnTo>
                    <a:pt x="1960" y="5062"/>
                  </a:lnTo>
                  <a:cubicBezTo>
                    <a:pt x="1942" y="5058"/>
                    <a:pt x="1930" y="5042"/>
                    <a:pt x="1930" y="5024"/>
                  </a:cubicBezTo>
                  <a:lnTo>
                    <a:pt x="1930" y="4323"/>
                  </a:lnTo>
                  <a:cubicBezTo>
                    <a:pt x="1930" y="4312"/>
                    <a:pt x="1935" y="4301"/>
                    <a:pt x="1943" y="4293"/>
                  </a:cubicBezTo>
                  <a:cubicBezTo>
                    <a:pt x="1952" y="4286"/>
                    <a:pt x="1963" y="4282"/>
                    <a:pt x="1974" y="4283"/>
                  </a:cubicBezTo>
                  <a:lnTo>
                    <a:pt x="2292" y="4314"/>
                  </a:lnTo>
                  <a:cubicBezTo>
                    <a:pt x="2313" y="4316"/>
                    <a:pt x="2329" y="4334"/>
                    <a:pt x="2329" y="4354"/>
                  </a:cubicBezTo>
                  <a:lnTo>
                    <a:pt x="2329" y="5112"/>
                  </a:lnTo>
                  <a:close/>
                  <a:moveTo>
                    <a:pt x="2329" y="3597"/>
                  </a:moveTo>
                  <a:cubicBezTo>
                    <a:pt x="2329" y="3618"/>
                    <a:pt x="2313" y="3635"/>
                    <a:pt x="2292" y="3637"/>
                  </a:cubicBezTo>
                  <a:lnTo>
                    <a:pt x="1974" y="3663"/>
                  </a:lnTo>
                  <a:cubicBezTo>
                    <a:pt x="1973" y="3663"/>
                    <a:pt x="1971" y="3664"/>
                    <a:pt x="1970" y="3664"/>
                  </a:cubicBezTo>
                  <a:cubicBezTo>
                    <a:pt x="1960" y="3664"/>
                    <a:pt x="1951" y="3660"/>
                    <a:pt x="1943" y="3653"/>
                  </a:cubicBezTo>
                  <a:cubicBezTo>
                    <a:pt x="1935" y="3645"/>
                    <a:pt x="1930" y="3634"/>
                    <a:pt x="1930" y="3623"/>
                  </a:cubicBezTo>
                  <a:lnTo>
                    <a:pt x="1930" y="2923"/>
                  </a:lnTo>
                  <a:cubicBezTo>
                    <a:pt x="1930" y="2905"/>
                    <a:pt x="1942" y="2889"/>
                    <a:pt x="1960" y="2884"/>
                  </a:cubicBezTo>
                  <a:lnTo>
                    <a:pt x="2278" y="2800"/>
                  </a:lnTo>
                  <a:cubicBezTo>
                    <a:pt x="2290" y="2797"/>
                    <a:pt x="2303" y="2800"/>
                    <a:pt x="2313" y="2807"/>
                  </a:cubicBezTo>
                  <a:cubicBezTo>
                    <a:pt x="2323" y="2815"/>
                    <a:pt x="2329" y="2827"/>
                    <a:pt x="2329" y="2839"/>
                  </a:cubicBezTo>
                  <a:lnTo>
                    <a:pt x="2329" y="3597"/>
                  </a:lnTo>
                  <a:lnTo>
                    <a:pt x="2329" y="3597"/>
                  </a:lnTo>
                  <a:close/>
                  <a:moveTo>
                    <a:pt x="2329" y="2082"/>
                  </a:moveTo>
                  <a:cubicBezTo>
                    <a:pt x="2329" y="2098"/>
                    <a:pt x="2319" y="2112"/>
                    <a:pt x="2305" y="2119"/>
                  </a:cubicBezTo>
                  <a:lnTo>
                    <a:pt x="1987" y="2260"/>
                  </a:lnTo>
                  <a:cubicBezTo>
                    <a:pt x="1982" y="2262"/>
                    <a:pt x="1976" y="2263"/>
                    <a:pt x="1970" y="2263"/>
                  </a:cubicBezTo>
                  <a:cubicBezTo>
                    <a:pt x="1963" y="2263"/>
                    <a:pt x="1955" y="2261"/>
                    <a:pt x="1949" y="2257"/>
                  </a:cubicBezTo>
                  <a:cubicBezTo>
                    <a:pt x="1937" y="2249"/>
                    <a:pt x="1930" y="2236"/>
                    <a:pt x="1930" y="2223"/>
                  </a:cubicBezTo>
                  <a:lnTo>
                    <a:pt x="1930" y="1523"/>
                  </a:lnTo>
                  <a:cubicBezTo>
                    <a:pt x="1930" y="1509"/>
                    <a:pt x="1938" y="1496"/>
                    <a:pt x="1949" y="1489"/>
                  </a:cubicBezTo>
                  <a:lnTo>
                    <a:pt x="2267" y="1290"/>
                  </a:lnTo>
                  <a:cubicBezTo>
                    <a:pt x="2280" y="1282"/>
                    <a:pt x="2295" y="1282"/>
                    <a:pt x="2308" y="1289"/>
                  </a:cubicBezTo>
                  <a:cubicBezTo>
                    <a:pt x="2321" y="1296"/>
                    <a:pt x="2329" y="1310"/>
                    <a:pt x="2329" y="1324"/>
                  </a:cubicBezTo>
                  <a:lnTo>
                    <a:pt x="2329" y="2082"/>
                  </a:lnTo>
                  <a:lnTo>
                    <a:pt x="2329" y="2082"/>
                  </a:lnTo>
                  <a:close/>
                  <a:moveTo>
                    <a:pt x="3152" y="5341"/>
                  </a:moveTo>
                  <a:cubicBezTo>
                    <a:pt x="3152" y="5352"/>
                    <a:pt x="3147" y="5364"/>
                    <a:pt x="3139" y="5372"/>
                  </a:cubicBezTo>
                  <a:cubicBezTo>
                    <a:pt x="3124" y="5387"/>
                    <a:pt x="3104" y="5387"/>
                    <a:pt x="3098" y="5387"/>
                  </a:cubicBezTo>
                  <a:lnTo>
                    <a:pt x="3097" y="5387"/>
                  </a:lnTo>
                  <a:cubicBezTo>
                    <a:pt x="3018" y="5387"/>
                    <a:pt x="2710" y="5276"/>
                    <a:pt x="2650" y="5254"/>
                  </a:cubicBezTo>
                  <a:cubicBezTo>
                    <a:pt x="2634" y="5248"/>
                    <a:pt x="2623" y="5233"/>
                    <a:pt x="2623" y="5216"/>
                  </a:cubicBezTo>
                  <a:lnTo>
                    <a:pt x="2623" y="4391"/>
                  </a:lnTo>
                  <a:cubicBezTo>
                    <a:pt x="2623" y="4380"/>
                    <a:pt x="2628" y="4369"/>
                    <a:pt x="2636" y="4361"/>
                  </a:cubicBezTo>
                  <a:cubicBezTo>
                    <a:pt x="2645" y="4354"/>
                    <a:pt x="2656" y="4350"/>
                    <a:pt x="2667" y="4351"/>
                  </a:cubicBezTo>
                  <a:lnTo>
                    <a:pt x="3115" y="4395"/>
                  </a:lnTo>
                  <a:cubicBezTo>
                    <a:pt x="3136" y="4397"/>
                    <a:pt x="3152" y="4414"/>
                    <a:pt x="3152" y="4435"/>
                  </a:cubicBezTo>
                  <a:cubicBezTo>
                    <a:pt x="3152" y="4444"/>
                    <a:pt x="3152" y="5302"/>
                    <a:pt x="3152" y="5341"/>
                  </a:cubicBezTo>
                  <a:close/>
                  <a:moveTo>
                    <a:pt x="3152" y="3529"/>
                  </a:moveTo>
                  <a:cubicBezTo>
                    <a:pt x="3152" y="3550"/>
                    <a:pt x="3136" y="3567"/>
                    <a:pt x="3115" y="3569"/>
                  </a:cubicBezTo>
                  <a:lnTo>
                    <a:pt x="2667" y="3606"/>
                  </a:lnTo>
                  <a:cubicBezTo>
                    <a:pt x="2665" y="3606"/>
                    <a:pt x="2664" y="3606"/>
                    <a:pt x="2663" y="3606"/>
                  </a:cubicBezTo>
                  <a:cubicBezTo>
                    <a:pt x="2653" y="3606"/>
                    <a:pt x="2643" y="3602"/>
                    <a:pt x="2636" y="3595"/>
                  </a:cubicBezTo>
                  <a:cubicBezTo>
                    <a:pt x="2628" y="3588"/>
                    <a:pt x="2623" y="3577"/>
                    <a:pt x="2623" y="3566"/>
                  </a:cubicBezTo>
                  <a:lnTo>
                    <a:pt x="2623" y="2741"/>
                  </a:lnTo>
                  <a:cubicBezTo>
                    <a:pt x="2623" y="2722"/>
                    <a:pt x="2635" y="2706"/>
                    <a:pt x="2653" y="2702"/>
                  </a:cubicBezTo>
                  <a:lnTo>
                    <a:pt x="3101" y="2584"/>
                  </a:lnTo>
                  <a:cubicBezTo>
                    <a:pt x="3113" y="2581"/>
                    <a:pt x="3126" y="2583"/>
                    <a:pt x="3136" y="2591"/>
                  </a:cubicBezTo>
                  <a:cubicBezTo>
                    <a:pt x="3146" y="2599"/>
                    <a:pt x="3152" y="2610"/>
                    <a:pt x="3152" y="2623"/>
                  </a:cubicBezTo>
                  <a:lnTo>
                    <a:pt x="3152" y="3529"/>
                  </a:lnTo>
                  <a:lnTo>
                    <a:pt x="3152" y="3529"/>
                  </a:lnTo>
                  <a:close/>
                  <a:moveTo>
                    <a:pt x="3152" y="1717"/>
                  </a:moveTo>
                  <a:cubicBezTo>
                    <a:pt x="3152" y="1733"/>
                    <a:pt x="3142" y="1748"/>
                    <a:pt x="3128" y="1754"/>
                  </a:cubicBezTo>
                  <a:lnTo>
                    <a:pt x="2680" y="1953"/>
                  </a:lnTo>
                  <a:cubicBezTo>
                    <a:pt x="2674" y="1955"/>
                    <a:pt x="2669" y="1956"/>
                    <a:pt x="2663" y="1956"/>
                  </a:cubicBezTo>
                  <a:cubicBezTo>
                    <a:pt x="2656" y="1956"/>
                    <a:pt x="2648" y="1954"/>
                    <a:pt x="2641" y="1950"/>
                  </a:cubicBezTo>
                  <a:cubicBezTo>
                    <a:pt x="2630" y="1942"/>
                    <a:pt x="2623" y="1930"/>
                    <a:pt x="2623" y="1916"/>
                  </a:cubicBezTo>
                  <a:lnTo>
                    <a:pt x="2623" y="1091"/>
                  </a:lnTo>
                  <a:cubicBezTo>
                    <a:pt x="2623" y="1077"/>
                    <a:pt x="2630" y="1064"/>
                    <a:pt x="2642" y="1057"/>
                  </a:cubicBezTo>
                  <a:lnTo>
                    <a:pt x="3090" y="777"/>
                  </a:lnTo>
                  <a:cubicBezTo>
                    <a:pt x="3103" y="769"/>
                    <a:pt x="3118" y="769"/>
                    <a:pt x="3131" y="776"/>
                  </a:cubicBezTo>
                  <a:cubicBezTo>
                    <a:pt x="3144" y="783"/>
                    <a:pt x="3152" y="797"/>
                    <a:pt x="3152" y="811"/>
                  </a:cubicBezTo>
                  <a:lnTo>
                    <a:pt x="3152" y="1717"/>
                  </a:lnTo>
                  <a:lnTo>
                    <a:pt x="3152" y="1717"/>
                  </a:lnTo>
                  <a:close/>
                  <a:moveTo>
                    <a:pt x="4934" y="1266"/>
                  </a:moveTo>
                  <a:cubicBezTo>
                    <a:pt x="4934" y="1252"/>
                    <a:pt x="4941" y="1240"/>
                    <a:pt x="4952" y="1232"/>
                  </a:cubicBezTo>
                  <a:cubicBezTo>
                    <a:pt x="4963" y="1225"/>
                    <a:pt x="4978" y="1224"/>
                    <a:pt x="4990" y="1229"/>
                  </a:cubicBezTo>
                  <a:lnTo>
                    <a:pt x="5469" y="1436"/>
                  </a:lnTo>
                  <a:cubicBezTo>
                    <a:pt x="5483" y="1442"/>
                    <a:pt x="5493" y="1457"/>
                    <a:pt x="5493" y="1473"/>
                  </a:cubicBezTo>
                  <a:lnTo>
                    <a:pt x="5493" y="2187"/>
                  </a:lnTo>
                  <a:cubicBezTo>
                    <a:pt x="5493" y="2200"/>
                    <a:pt x="5487" y="2212"/>
                    <a:pt x="5477" y="2220"/>
                  </a:cubicBezTo>
                  <a:cubicBezTo>
                    <a:pt x="5470" y="2225"/>
                    <a:pt x="5461" y="2228"/>
                    <a:pt x="5453" y="2228"/>
                  </a:cubicBezTo>
                  <a:cubicBezTo>
                    <a:pt x="5449" y="2228"/>
                    <a:pt x="5445" y="2227"/>
                    <a:pt x="5441" y="2226"/>
                  </a:cubicBezTo>
                  <a:lnTo>
                    <a:pt x="4963" y="2079"/>
                  </a:lnTo>
                  <a:cubicBezTo>
                    <a:pt x="4946" y="2074"/>
                    <a:pt x="4934" y="2058"/>
                    <a:pt x="4934" y="2040"/>
                  </a:cubicBezTo>
                  <a:lnTo>
                    <a:pt x="4934" y="1266"/>
                  </a:lnTo>
                  <a:lnTo>
                    <a:pt x="4934" y="1266"/>
                  </a:lnTo>
                  <a:close/>
                  <a:moveTo>
                    <a:pt x="4934" y="2815"/>
                  </a:moveTo>
                  <a:cubicBezTo>
                    <a:pt x="4934" y="2803"/>
                    <a:pt x="4939" y="2791"/>
                    <a:pt x="4948" y="2784"/>
                  </a:cubicBezTo>
                  <a:cubicBezTo>
                    <a:pt x="4958" y="2776"/>
                    <a:pt x="4970" y="2773"/>
                    <a:pt x="4981" y="2775"/>
                  </a:cubicBezTo>
                  <a:lnTo>
                    <a:pt x="5460" y="2862"/>
                  </a:lnTo>
                  <a:cubicBezTo>
                    <a:pt x="5479" y="2866"/>
                    <a:pt x="5493" y="2882"/>
                    <a:pt x="5493" y="2902"/>
                  </a:cubicBezTo>
                  <a:lnTo>
                    <a:pt x="5493" y="3623"/>
                  </a:lnTo>
                  <a:cubicBezTo>
                    <a:pt x="5493" y="3634"/>
                    <a:pt x="5488" y="3645"/>
                    <a:pt x="5480" y="3653"/>
                  </a:cubicBezTo>
                  <a:cubicBezTo>
                    <a:pt x="5473" y="3660"/>
                    <a:pt x="5463" y="3664"/>
                    <a:pt x="5453" y="3664"/>
                  </a:cubicBezTo>
                  <a:cubicBezTo>
                    <a:pt x="5452" y="3664"/>
                    <a:pt x="5451" y="3663"/>
                    <a:pt x="5450" y="3663"/>
                  </a:cubicBezTo>
                  <a:lnTo>
                    <a:pt x="4971" y="3629"/>
                  </a:lnTo>
                  <a:cubicBezTo>
                    <a:pt x="4950" y="3628"/>
                    <a:pt x="4934" y="3610"/>
                    <a:pt x="4934" y="3589"/>
                  </a:cubicBezTo>
                  <a:lnTo>
                    <a:pt x="4934" y="2815"/>
                  </a:lnTo>
                  <a:close/>
                  <a:moveTo>
                    <a:pt x="3688" y="727"/>
                  </a:moveTo>
                  <a:cubicBezTo>
                    <a:pt x="3688" y="714"/>
                    <a:pt x="3695" y="701"/>
                    <a:pt x="3706" y="694"/>
                  </a:cubicBezTo>
                  <a:cubicBezTo>
                    <a:pt x="3718" y="686"/>
                    <a:pt x="3732" y="685"/>
                    <a:pt x="3744" y="690"/>
                  </a:cubicBezTo>
                  <a:lnTo>
                    <a:pt x="4424" y="984"/>
                  </a:lnTo>
                  <a:cubicBezTo>
                    <a:pt x="4439" y="991"/>
                    <a:pt x="4449" y="1005"/>
                    <a:pt x="4449" y="1021"/>
                  </a:cubicBezTo>
                  <a:lnTo>
                    <a:pt x="4449" y="1867"/>
                  </a:lnTo>
                  <a:cubicBezTo>
                    <a:pt x="4449" y="1879"/>
                    <a:pt x="4442" y="1891"/>
                    <a:pt x="4432" y="1899"/>
                  </a:cubicBezTo>
                  <a:cubicBezTo>
                    <a:pt x="4425" y="1904"/>
                    <a:pt x="4417" y="1907"/>
                    <a:pt x="4408" y="1907"/>
                  </a:cubicBezTo>
                  <a:cubicBezTo>
                    <a:pt x="4404" y="1907"/>
                    <a:pt x="4400" y="1906"/>
                    <a:pt x="4396" y="1905"/>
                  </a:cubicBezTo>
                  <a:lnTo>
                    <a:pt x="3717" y="1696"/>
                  </a:lnTo>
                  <a:cubicBezTo>
                    <a:pt x="3700" y="1691"/>
                    <a:pt x="3688" y="1675"/>
                    <a:pt x="3688" y="1658"/>
                  </a:cubicBezTo>
                  <a:lnTo>
                    <a:pt x="3688" y="727"/>
                  </a:lnTo>
                  <a:lnTo>
                    <a:pt x="3688" y="727"/>
                  </a:lnTo>
                  <a:close/>
                  <a:moveTo>
                    <a:pt x="3688" y="3518"/>
                  </a:moveTo>
                  <a:lnTo>
                    <a:pt x="3688" y="2588"/>
                  </a:lnTo>
                  <a:cubicBezTo>
                    <a:pt x="3688" y="2576"/>
                    <a:pt x="3694" y="2564"/>
                    <a:pt x="3703" y="2557"/>
                  </a:cubicBezTo>
                  <a:cubicBezTo>
                    <a:pt x="3712" y="2549"/>
                    <a:pt x="3724" y="2546"/>
                    <a:pt x="3736" y="2548"/>
                  </a:cubicBezTo>
                  <a:lnTo>
                    <a:pt x="4415" y="2672"/>
                  </a:lnTo>
                  <a:cubicBezTo>
                    <a:pt x="4434" y="2676"/>
                    <a:pt x="4448" y="2692"/>
                    <a:pt x="4448" y="2712"/>
                  </a:cubicBezTo>
                  <a:lnTo>
                    <a:pt x="4448" y="3557"/>
                  </a:lnTo>
                  <a:cubicBezTo>
                    <a:pt x="4448" y="3568"/>
                    <a:pt x="4444" y="3579"/>
                    <a:pt x="4436" y="3586"/>
                  </a:cubicBezTo>
                  <a:cubicBezTo>
                    <a:pt x="4428" y="3593"/>
                    <a:pt x="4418" y="3597"/>
                    <a:pt x="4408" y="3597"/>
                  </a:cubicBezTo>
                  <a:cubicBezTo>
                    <a:pt x="4407" y="3597"/>
                    <a:pt x="4407" y="3597"/>
                    <a:pt x="4406" y="3597"/>
                  </a:cubicBezTo>
                  <a:lnTo>
                    <a:pt x="3726" y="3558"/>
                  </a:lnTo>
                  <a:cubicBezTo>
                    <a:pt x="3705" y="3557"/>
                    <a:pt x="3688" y="3539"/>
                    <a:pt x="3688" y="3518"/>
                  </a:cubicBezTo>
                  <a:close/>
                  <a:moveTo>
                    <a:pt x="5014" y="6300"/>
                  </a:moveTo>
                  <a:cubicBezTo>
                    <a:pt x="5014" y="6317"/>
                    <a:pt x="5004" y="6331"/>
                    <a:pt x="4989" y="6338"/>
                  </a:cubicBezTo>
                  <a:lnTo>
                    <a:pt x="4099" y="6676"/>
                  </a:lnTo>
                  <a:cubicBezTo>
                    <a:pt x="4094" y="6677"/>
                    <a:pt x="4089" y="6678"/>
                    <a:pt x="4085" y="6678"/>
                  </a:cubicBezTo>
                  <a:cubicBezTo>
                    <a:pt x="4077" y="6678"/>
                    <a:pt x="4069" y="6676"/>
                    <a:pt x="4062" y="6671"/>
                  </a:cubicBezTo>
                  <a:cubicBezTo>
                    <a:pt x="4051" y="6664"/>
                    <a:pt x="4045" y="6651"/>
                    <a:pt x="4045" y="6638"/>
                  </a:cubicBezTo>
                  <a:lnTo>
                    <a:pt x="4045" y="4424"/>
                  </a:lnTo>
                  <a:cubicBezTo>
                    <a:pt x="4045" y="4403"/>
                    <a:pt x="4061" y="4385"/>
                    <a:pt x="4082" y="4384"/>
                  </a:cubicBezTo>
                  <a:lnTo>
                    <a:pt x="4972" y="4323"/>
                  </a:lnTo>
                  <a:cubicBezTo>
                    <a:pt x="4983" y="4323"/>
                    <a:pt x="4994" y="4327"/>
                    <a:pt x="5002" y="4334"/>
                  </a:cubicBezTo>
                  <a:cubicBezTo>
                    <a:pt x="5010" y="4342"/>
                    <a:pt x="5015" y="4352"/>
                    <a:pt x="5015" y="4364"/>
                  </a:cubicBezTo>
                  <a:lnTo>
                    <a:pt x="5015" y="6300"/>
                  </a:lnTo>
                  <a:lnTo>
                    <a:pt x="5014" y="6300"/>
                  </a:lnTo>
                  <a:close/>
                  <a:moveTo>
                    <a:pt x="6087" y="5892"/>
                  </a:moveTo>
                  <a:cubicBezTo>
                    <a:pt x="6087" y="5909"/>
                    <a:pt x="6076" y="5924"/>
                    <a:pt x="6061" y="5930"/>
                  </a:cubicBezTo>
                  <a:lnTo>
                    <a:pt x="5467" y="6156"/>
                  </a:lnTo>
                  <a:cubicBezTo>
                    <a:pt x="5462" y="6157"/>
                    <a:pt x="5458" y="6158"/>
                    <a:pt x="5453" y="6158"/>
                  </a:cubicBezTo>
                  <a:cubicBezTo>
                    <a:pt x="5445" y="6158"/>
                    <a:pt x="5437" y="6156"/>
                    <a:pt x="5430" y="6151"/>
                  </a:cubicBezTo>
                  <a:cubicBezTo>
                    <a:pt x="5419" y="6144"/>
                    <a:pt x="5413" y="6131"/>
                    <a:pt x="5413" y="6118"/>
                  </a:cubicBezTo>
                  <a:lnTo>
                    <a:pt x="5413" y="4331"/>
                  </a:lnTo>
                  <a:cubicBezTo>
                    <a:pt x="5413" y="4310"/>
                    <a:pt x="5429" y="4293"/>
                    <a:pt x="5450" y="4291"/>
                  </a:cubicBezTo>
                  <a:lnTo>
                    <a:pt x="6044" y="4251"/>
                  </a:lnTo>
                  <a:cubicBezTo>
                    <a:pt x="6055" y="4250"/>
                    <a:pt x="6066" y="4254"/>
                    <a:pt x="6074" y="4262"/>
                  </a:cubicBezTo>
                  <a:cubicBezTo>
                    <a:pt x="6082" y="4269"/>
                    <a:pt x="6087" y="4280"/>
                    <a:pt x="6087" y="4291"/>
                  </a:cubicBezTo>
                  <a:lnTo>
                    <a:pt x="6087" y="5892"/>
                  </a:lnTo>
                  <a:close/>
                  <a:moveTo>
                    <a:pt x="6258" y="3660"/>
                  </a:moveTo>
                  <a:cubicBezTo>
                    <a:pt x="6258" y="3671"/>
                    <a:pt x="6253" y="3682"/>
                    <a:pt x="6245" y="3690"/>
                  </a:cubicBezTo>
                  <a:cubicBezTo>
                    <a:pt x="6238" y="3697"/>
                    <a:pt x="6228" y="3701"/>
                    <a:pt x="6218" y="3701"/>
                  </a:cubicBezTo>
                  <a:lnTo>
                    <a:pt x="6215" y="3701"/>
                  </a:lnTo>
                  <a:lnTo>
                    <a:pt x="5860" y="3680"/>
                  </a:lnTo>
                  <a:cubicBezTo>
                    <a:pt x="5839" y="3679"/>
                    <a:pt x="5822" y="3662"/>
                    <a:pt x="5822" y="3640"/>
                  </a:cubicBezTo>
                  <a:lnTo>
                    <a:pt x="5822" y="2977"/>
                  </a:lnTo>
                  <a:cubicBezTo>
                    <a:pt x="5822" y="2965"/>
                    <a:pt x="5828" y="2953"/>
                    <a:pt x="5837" y="2946"/>
                  </a:cubicBezTo>
                  <a:cubicBezTo>
                    <a:pt x="5846" y="2938"/>
                    <a:pt x="5858" y="2935"/>
                    <a:pt x="5870" y="2937"/>
                  </a:cubicBezTo>
                  <a:lnTo>
                    <a:pt x="6225" y="3002"/>
                  </a:lnTo>
                  <a:cubicBezTo>
                    <a:pt x="6244" y="3005"/>
                    <a:pt x="6258" y="3022"/>
                    <a:pt x="6258" y="3041"/>
                  </a:cubicBezTo>
                  <a:lnTo>
                    <a:pt x="6258" y="3660"/>
                  </a:lnTo>
                  <a:lnTo>
                    <a:pt x="6258" y="3660"/>
                  </a:lnTo>
                  <a:close/>
                  <a:moveTo>
                    <a:pt x="6258" y="2422"/>
                  </a:moveTo>
                  <a:cubicBezTo>
                    <a:pt x="6258" y="2435"/>
                    <a:pt x="6252" y="2447"/>
                    <a:pt x="6242" y="2455"/>
                  </a:cubicBezTo>
                  <a:cubicBezTo>
                    <a:pt x="6235" y="2460"/>
                    <a:pt x="6226" y="2463"/>
                    <a:pt x="6218" y="2463"/>
                  </a:cubicBezTo>
                  <a:cubicBezTo>
                    <a:pt x="6214" y="2463"/>
                    <a:pt x="6210" y="2462"/>
                    <a:pt x="6206" y="2461"/>
                  </a:cubicBezTo>
                  <a:lnTo>
                    <a:pt x="5851" y="2352"/>
                  </a:lnTo>
                  <a:cubicBezTo>
                    <a:pt x="5834" y="2346"/>
                    <a:pt x="5823" y="2331"/>
                    <a:pt x="5823" y="2313"/>
                  </a:cubicBezTo>
                  <a:lnTo>
                    <a:pt x="5823" y="1650"/>
                  </a:lnTo>
                  <a:cubicBezTo>
                    <a:pt x="5823" y="1636"/>
                    <a:pt x="5829" y="1624"/>
                    <a:pt x="5841" y="1616"/>
                  </a:cubicBezTo>
                  <a:cubicBezTo>
                    <a:pt x="5852" y="1609"/>
                    <a:pt x="5866" y="1608"/>
                    <a:pt x="5879" y="1613"/>
                  </a:cubicBezTo>
                  <a:lnTo>
                    <a:pt x="6234" y="1766"/>
                  </a:lnTo>
                  <a:cubicBezTo>
                    <a:pt x="6249" y="1773"/>
                    <a:pt x="6258" y="1787"/>
                    <a:pt x="6258" y="1803"/>
                  </a:cubicBezTo>
                  <a:lnTo>
                    <a:pt x="6258" y="2422"/>
                  </a:lnTo>
                  <a:lnTo>
                    <a:pt x="6258" y="2422"/>
                  </a:lnTo>
                  <a:close/>
                  <a:moveTo>
                    <a:pt x="6968" y="4762"/>
                  </a:moveTo>
                  <a:cubicBezTo>
                    <a:pt x="6968" y="4781"/>
                    <a:pt x="6954" y="4798"/>
                    <a:pt x="6935" y="4801"/>
                  </a:cubicBezTo>
                  <a:lnTo>
                    <a:pt x="6677" y="4851"/>
                  </a:lnTo>
                  <a:cubicBezTo>
                    <a:pt x="6674" y="4852"/>
                    <a:pt x="6672" y="4852"/>
                    <a:pt x="6669" y="4852"/>
                  </a:cubicBezTo>
                  <a:cubicBezTo>
                    <a:pt x="6660" y="4852"/>
                    <a:pt x="6651" y="4848"/>
                    <a:pt x="6644" y="4842"/>
                  </a:cubicBezTo>
                  <a:cubicBezTo>
                    <a:pt x="6635" y="4835"/>
                    <a:pt x="6629" y="4824"/>
                    <a:pt x="6629" y="4812"/>
                  </a:cubicBezTo>
                  <a:lnTo>
                    <a:pt x="6629" y="4249"/>
                  </a:lnTo>
                  <a:cubicBezTo>
                    <a:pt x="6629" y="4228"/>
                    <a:pt x="6646" y="4210"/>
                    <a:pt x="6667" y="4209"/>
                  </a:cubicBezTo>
                  <a:lnTo>
                    <a:pt x="6925" y="4191"/>
                  </a:lnTo>
                  <a:cubicBezTo>
                    <a:pt x="6936" y="4191"/>
                    <a:pt x="6947" y="4195"/>
                    <a:pt x="6955" y="4202"/>
                  </a:cubicBezTo>
                  <a:cubicBezTo>
                    <a:pt x="6963" y="4210"/>
                    <a:pt x="6968" y="4220"/>
                    <a:pt x="6968" y="4232"/>
                  </a:cubicBezTo>
                  <a:lnTo>
                    <a:pt x="6968" y="4762"/>
                  </a:lnTo>
                  <a:lnTo>
                    <a:pt x="6968" y="4762"/>
                  </a:lnTo>
                  <a:close/>
                  <a:moveTo>
                    <a:pt x="6968" y="3701"/>
                  </a:moveTo>
                  <a:cubicBezTo>
                    <a:pt x="6968" y="3712"/>
                    <a:pt x="6963" y="3723"/>
                    <a:pt x="6955" y="3730"/>
                  </a:cubicBezTo>
                  <a:cubicBezTo>
                    <a:pt x="6947" y="3737"/>
                    <a:pt x="6938" y="3741"/>
                    <a:pt x="6927" y="3741"/>
                  </a:cubicBezTo>
                  <a:lnTo>
                    <a:pt x="6925" y="3741"/>
                  </a:lnTo>
                  <a:lnTo>
                    <a:pt x="6667" y="3726"/>
                  </a:lnTo>
                  <a:cubicBezTo>
                    <a:pt x="6646" y="3725"/>
                    <a:pt x="6629" y="3708"/>
                    <a:pt x="6629" y="3686"/>
                  </a:cubicBezTo>
                  <a:lnTo>
                    <a:pt x="6629" y="3124"/>
                  </a:lnTo>
                  <a:cubicBezTo>
                    <a:pt x="6629" y="3112"/>
                    <a:pt x="6634" y="3101"/>
                    <a:pt x="6644" y="3093"/>
                  </a:cubicBezTo>
                  <a:cubicBezTo>
                    <a:pt x="6653" y="3085"/>
                    <a:pt x="6665" y="3082"/>
                    <a:pt x="6677" y="3084"/>
                  </a:cubicBezTo>
                  <a:lnTo>
                    <a:pt x="6934" y="3131"/>
                  </a:lnTo>
                  <a:cubicBezTo>
                    <a:pt x="6953" y="3135"/>
                    <a:pt x="6967" y="3151"/>
                    <a:pt x="6967" y="3171"/>
                  </a:cubicBezTo>
                  <a:lnTo>
                    <a:pt x="6967" y="3701"/>
                  </a:lnTo>
                  <a:lnTo>
                    <a:pt x="6968" y="3701"/>
                  </a:lnTo>
                  <a:close/>
                  <a:moveTo>
                    <a:pt x="7404" y="4678"/>
                  </a:moveTo>
                  <a:cubicBezTo>
                    <a:pt x="7404" y="4697"/>
                    <a:pt x="7390" y="4714"/>
                    <a:pt x="7371" y="4717"/>
                  </a:cubicBezTo>
                  <a:lnTo>
                    <a:pt x="7165" y="4757"/>
                  </a:lnTo>
                  <a:cubicBezTo>
                    <a:pt x="7162" y="4757"/>
                    <a:pt x="7160" y="4758"/>
                    <a:pt x="7157" y="4758"/>
                  </a:cubicBezTo>
                  <a:cubicBezTo>
                    <a:pt x="7148" y="4758"/>
                    <a:pt x="7139" y="4754"/>
                    <a:pt x="7132" y="4748"/>
                  </a:cubicBezTo>
                  <a:cubicBezTo>
                    <a:pt x="7122" y="4741"/>
                    <a:pt x="7117" y="4729"/>
                    <a:pt x="7117" y="4717"/>
                  </a:cubicBezTo>
                  <a:lnTo>
                    <a:pt x="7117" y="4216"/>
                  </a:lnTo>
                  <a:cubicBezTo>
                    <a:pt x="7117" y="4195"/>
                    <a:pt x="7134" y="4177"/>
                    <a:pt x="7155" y="4176"/>
                  </a:cubicBezTo>
                  <a:lnTo>
                    <a:pt x="7361" y="4162"/>
                  </a:lnTo>
                  <a:cubicBezTo>
                    <a:pt x="7372" y="4161"/>
                    <a:pt x="7383" y="4165"/>
                    <a:pt x="7391" y="4172"/>
                  </a:cubicBezTo>
                  <a:cubicBezTo>
                    <a:pt x="7399" y="4180"/>
                    <a:pt x="7404" y="4191"/>
                    <a:pt x="7404" y="4202"/>
                  </a:cubicBezTo>
                  <a:lnTo>
                    <a:pt x="7404" y="4678"/>
                  </a:lnTo>
                  <a:lnTo>
                    <a:pt x="7404" y="4678"/>
                  </a:lnTo>
                  <a:close/>
                  <a:moveTo>
                    <a:pt x="7404" y="3726"/>
                  </a:moveTo>
                  <a:cubicBezTo>
                    <a:pt x="7404" y="3737"/>
                    <a:pt x="7399" y="3748"/>
                    <a:pt x="7391" y="3755"/>
                  </a:cubicBezTo>
                  <a:cubicBezTo>
                    <a:pt x="7384" y="3762"/>
                    <a:pt x="7374" y="3766"/>
                    <a:pt x="7364" y="3766"/>
                  </a:cubicBezTo>
                  <a:cubicBezTo>
                    <a:pt x="7363" y="3766"/>
                    <a:pt x="7362" y="3766"/>
                    <a:pt x="7361" y="3766"/>
                  </a:cubicBezTo>
                  <a:lnTo>
                    <a:pt x="7155" y="3754"/>
                  </a:lnTo>
                  <a:cubicBezTo>
                    <a:pt x="7134" y="3753"/>
                    <a:pt x="7117" y="3736"/>
                    <a:pt x="7117" y="3714"/>
                  </a:cubicBezTo>
                  <a:lnTo>
                    <a:pt x="7117" y="3219"/>
                  </a:lnTo>
                  <a:cubicBezTo>
                    <a:pt x="7117" y="3207"/>
                    <a:pt x="7122" y="3196"/>
                    <a:pt x="7131" y="3188"/>
                  </a:cubicBezTo>
                  <a:cubicBezTo>
                    <a:pt x="7140" y="3181"/>
                    <a:pt x="7152" y="3177"/>
                    <a:pt x="7164" y="3179"/>
                  </a:cubicBezTo>
                  <a:lnTo>
                    <a:pt x="7370" y="3210"/>
                  </a:lnTo>
                  <a:cubicBezTo>
                    <a:pt x="7390" y="3213"/>
                    <a:pt x="7404" y="3230"/>
                    <a:pt x="7404" y="3250"/>
                  </a:cubicBezTo>
                  <a:lnTo>
                    <a:pt x="7404" y="3726"/>
                  </a:lnTo>
                  <a:lnTo>
                    <a:pt x="7404" y="372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" name="iśľîḑê">
              <a:extLst>
                <a:ext uri="{FF2B5EF4-FFF2-40B4-BE49-F238E27FC236}">
                  <a16:creationId xmlns:a16="http://schemas.microsoft.com/office/drawing/2014/main" id="{9E471B99-3BAF-4CFD-B8DF-E8A19C3FFD56}"/>
                </a:ext>
              </a:extLst>
            </p:cNvPr>
            <p:cNvSpPr txBox="1"/>
            <p:nvPr/>
          </p:nvSpPr>
          <p:spPr>
            <a:xfrm>
              <a:off x="3974615" y="3119105"/>
              <a:ext cx="1451696" cy="44959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i="1" dirty="0"/>
                <a:t>Text here</a:t>
              </a:r>
            </a:p>
          </p:txBody>
        </p:sp>
        <p:sp>
          <p:nvSpPr>
            <p:cNvPr id="10" name="íšľiḓé">
              <a:extLst>
                <a:ext uri="{FF2B5EF4-FFF2-40B4-BE49-F238E27FC236}">
                  <a16:creationId xmlns:a16="http://schemas.microsoft.com/office/drawing/2014/main" id="{2EC052D5-51BC-488F-9723-74B9DC8A82FC}"/>
                </a:ext>
              </a:extLst>
            </p:cNvPr>
            <p:cNvSpPr/>
            <p:nvPr/>
          </p:nvSpPr>
          <p:spPr bwMode="auto">
            <a:xfrm>
              <a:off x="4368195" y="2356333"/>
              <a:ext cx="696798" cy="635189"/>
            </a:xfrm>
            <a:custGeom>
              <a:avLst/>
              <a:gdLst>
                <a:gd name="T0" fmla="*/ 3495 w 7671"/>
                <a:gd name="T1" fmla="*/ 13 h 7004"/>
                <a:gd name="T2" fmla="*/ 1231 w 7671"/>
                <a:gd name="T3" fmla="*/ 2655 h 7004"/>
                <a:gd name="T4" fmla="*/ 72 w 7671"/>
                <a:gd name="T5" fmla="*/ 2932 h 7004"/>
                <a:gd name="T6" fmla="*/ 847 w 7671"/>
                <a:gd name="T7" fmla="*/ 5568 h 7004"/>
                <a:gd name="T8" fmla="*/ 3486 w 7671"/>
                <a:gd name="T9" fmla="*/ 6995 h 7004"/>
                <a:gd name="T10" fmla="*/ 7670 w 7671"/>
                <a:gd name="T11" fmla="*/ 2832 h 7004"/>
                <a:gd name="T12" fmla="*/ 151 w 7671"/>
                <a:gd name="T13" fmla="*/ 4560 h 7004"/>
                <a:gd name="T14" fmla="*/ 336 w 7671"/>
                <a:gd name="T15" fmla="*/ 4160 h 7004"/>
                <a:gd name="T16" fmla="*/ 162 w 7671"/>
                <a:gd name="T17" fmla="*/ 3813 h 7004"/>
                <a:gd name="T18" fmla="*/ 321 w 7671"/>
                <a:gd name="T19" fmla="*/ 3331 h 7004"/>
                <a:gd name="T20" fmla="*/ 689 w 7671"/>
                <a:gd name="T21" fmla="*/ 4708 h 7004"/>
                <a:gd name="T22" fmla="*/ 509 w 7671"/>
                <a:gd name="T23" fmla="*/ 4140 h 7004"/>
                <a:gd name="T24" fmla="*/ 692 w 7671"/>
                <a:gd name="T25" fmla="*/ 3769 h 7004"/>
                <a:gd name="T26" fmla="*/ 495 w 7671"/>
                <a:gd name="T27" fmla="*/ 3269 h 7004"/>
                <a:gd name="T28" fmla="*/ 1721 w 7671"/>
                <a:gd name="T29" fmla="*/ 4980 h 7004"/>
                <a:gd name="T30" fmla="*/ 1432 w 7671"/>
                <a:gd name="T31" fmla="*/ 4244 h 7004"/>
                <a:gd name="T32" fmla="*/ 1700 w 7671"/>
                <a:gd name="T33" fmla="*/ 3686 h 7004"/>
                <a:gd name="T34" fmla="*/ 1449 w 7671"/>
                <a:gd name="T35" fmla="*/ 3018 h 7004"/>
                <a:gd name="T36" fmla="*/ 1713 w 7671"/>
                <a:gd name="T37" fmla="*/ 2381 h 7004"/>
                <a:gd name="T38" fmla="*/ 1438 w 7671"/>
                <a:gd name="T39" fmla="*/ 1807 h 7004"/>
                <a:gd name="T40" fmla="*/ 2329 w 7671"/>
                <a:gd name="T41" fmla="*/ 5112 h 7004"/>
                <a:gd name="T42" fmla="*/ 1930 w 7671"/>
                <a:gd name="T43" fmla="*/ 4323 h 7004"/>
                <a:gd name="T44" fmla="*/ 2329 w 7671"/>
                <a:gd name="T45" fmla="*/ 3597 h 7004"/>
                <a:gd name="T46" fmla="*/ 1930 w 7671"/>
                <a:gd name="T47" fmla="*/ 2923 h 7004"/>
                <a:gd name="T48" fmla="*/ 2329 w 7671"/>
                <a:gd name="T49" fmla="*/ 3597 h 7004"/>
                <a:gd name="T50" fmla="*/ 1930 w 7671"/>
                <a:gd name="T51" fmla="*/ 2223 h 7004"/>
                <a:gd name="T52" fmla="*/ 2329 w 7671"/>
                <a:gd name="T53" fmla="*/ 2082 h 7004"/>
                <a:gd name="T54" fmla="*/ 2650 w 7671"/>
                <a:gd name="T55" fmla="*/ 5254 h 7004"/>
                <a:gd name="T56" fmla="*/ 3152 w 7671"/>
                <a:gd name="T57" fmla="*/ 4435 h 7004"/>
                <a:gd name="T58" fmla="*/ 2636 w 7671"/>
                <a:gd name="T59" fmla="*/ 3595 h 7004"/>
                <a:gd name="T60" fmla="*/ 3152 w 7671"/>
                <a:gd name="T61" fmla="*/ 2623 h 7004"/>
                <a:gd name="T62" fmla="*/ 2663 w 7671"/>
                <a:gd name="T63" fmla="*/ 1956 h 7004"/>
                <a:gd name="T64" fmla="*/ 3131 w 7671"/>
                <a:gd name="T65" fmla="*/ 776 h 7004"/>
                <a:gd name="T66" fmla="*/ 4990 w 7671"/>
                <a:gd name="T67" fmla="*/ 1229 h 7004"/>
                <a:gd name="T68" fmla="*/ 5441 w 7671"/>
                <a:gd name="T69" fmla="*/ 2226 h 7004"/>
                <a:gd name="T70" fmla="*/ 4948 w 7671"/>
                <a:gd name="T71" fmla="*/ 2784 h 7004"/>
                <a:gd name="T72" fmla="*/ 5453 w 7671"/>
                <a:gd name="T73" fmla="*/ 3664 h 7004"/>
                <a:gd name="T74" fmla="*/ 3706 w 7671"/>
                <a:gd name="T75" fmla="*/ 694 h 7004"/>
                <a:gd name="T76" fmla="*/ 4408 w 7671"/>
                <a:gd name="T77" fmla="*/ 1907 h 7004"/>
                <a:gd name="T78" fmla="*/ 3688 w 7671"/>
                <a:gd name="T79" fmla="*/ 3518 h 7004"/>
                <a:gd name="T80" fmla="*/ 4448 w 7671"/>
                <a:gd name="T81" fmla="*/ 3557 h 7004"/>
                <a:gd name="T82" fmla="*/ 5014 w 7671"/>
                <a:gd name="T83" fmla="*/ 6300 h 7004"/>
                <a:gd name="T84" fmla="*/ 4045 w 7671"/>
                <a:gd name="T85" fmla="*/ 4424 h 7004"/>
                <a:gd name="T86" fmla="*/ 5014 w 7671"/>
                <a:gd name="T87" fmla="*/ 6300 h 7004"/>
                <a:gd name="T88" fmla="*/ 5413 w 7671"/>
                <a:gd name="T89" fmla="*/ 6118 h 7004"/>
                <a:gd name="T90" fmla="*/ 6087 w 7671"/>
                <a:gd name="T91" fmla="*/ 5892 h 7004"/>
                <a:gd name="T92" fmla="*/ 5822 w 7671"/>
                <a:gd name="T93" fmla="*/ 3640 h 7004"/>
                <a:gd name="T94" fmla="*/ 6258 w 7671"/>
                <a:gd name="T95" fmla="*/ 3660 h 7004"/>
                <a:gd name="T96" fmla="*/ 5851 w 7671"/>
                <a:gd name="T97" fmla="*/ 2352 h 7004"/>
                <a:gd name="T98" fmla="*/ 6258 w 7671"/>
                <a:gd name="T99" fmla="*/ 1803 h 7004"/>
                <a:gd name="T100" fmla="*/ 6669 w 7671"/>
                <a:gd name="T101" fmla="*/ 4852 h 7004"/>
                <a:gd name="T102" fmla="*/ 6955 w 7671"/>
                <a:gd name="T103" fmla="*/ 4202 h 7004"/>
                <a:gd name="T104" fmla="*/ 6927 w 7671"/>
                <a:gd name="T105" fmla="*/ 3741 h 7004"/>
                <a:gd name="T106" fmla="*/ 6677 w 7671"/>
                <a:gd name="T107" fmla="*/ 3084 h 7004"/>
                <a:gd name="T108" fmla="*/ 7371 w 7671"/>
                <a:gd name="T109" fmla="*/ 4717 h 7004"/>
                <a:gd name="T110" fmla="*/ 7155 w 7671"/>
                <a:gd name="T111" fmla="*/ 4176 h 7004"/>
                <a:gd name="T112" fmla="*/ 7404 w 7671"/>
                <a:gd name="T113" fmla="*/ 3726 h 7004"/>
                <a:gd name="T114" fmla="*/ 7117 w 7671"/>
                <a:gd name="T115" fmla="*/ 3219 h 7004"/>
                <a:gd name="T116" fmla="*/ 7404 w 7671"/>
                <a:gd name="T117" fmla="*/ 3726 h 7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71" h="7004">
                  <a:moveTo>
                    <a:pt x="7585" y="2716"/>
                  </a:moveTo>
                  <a:lnTo>
                    <a:pt x="6499" y="2383"/>
                  </a:lnTo>
                  <a:lnTo>
                    <a:pt x="6499" y="1573"/>
                  </a:lnTo>
                  <a:cubicBezTo>
                    <a:pt x="6499" y="1527"/>
                    <a:pt x="6473" y="1485"/>
                    <a:pt x="6432" y="1465"/>
                  </a:cubicBezTo>
                  <a:lnTo>
                    <a:pt x="3498" y="13"/>
                  </a:lnTo>
                  <a:cubicBezTo>
                    <a:pt x="3497" y="13"/>
                    <a:pt x="3497" y="13"/>
                    <a:pt x="3495" y="13"/>
                  </a:cubicBezTo>
                  <a:cubicBezTo>
                    <a:pt x="3490" y="10"/>
                    <a:pt x="3468" y="0"/>
                    <a:pt x="3436" y="2"/>
                  </a:cubicBezTo>
                  <a:cubicBezTo>
                    <a:pt x="3403" y="4"/>
                    <a:pt x="3379" y="20"/>
                    <a:pt x="3374" y="23"/>
                  </a:cubicBezTo>
                  <a:lnTo>
                    <a:pt x="3374" y="23"/>
                  </a:lnTo>
                  <a:lnTo>
                    <a:pt x="1282" y="1515"/>
                  </a:lnTo>
                  <a:cubicBezTo>
                    <a:pt x="1250" y="1538"/>
                    <a:pt x="1231" y="1574"/>
                    <a:pt x="1231" y="1613"/>
                  </a:cubicBezTo>
                  <a:lnTo>
                    <a:pt x="1231" y="2655"/>
                  </a:lnTo>
                  <a:lnTo>
                    <a:pt x="842" y="2609"/>
                  </a:lnTo>
                  <a:cubicBezTo>
                    <a:pt x="842" y="2609"/>
                    <a:pt x="841" y="2609"/>
                    <a:pt x="839" y="2609"/>
                  </a:cubicBezTo>
                  <a:cubicBezTo>
                    <a:pt x="834" y="2609"/>
                    <a:pt x="822" y="2608"/>
                    <a:pt x="811" y="2610"/>
                  </a:cubicBezTo>
                  <a:cubicBezTo>
                    <a:pt x="797" y="2612"/>
                    <a:pt x="785" y="2616"/>
                    <a:pt x="780" y="2618"/>
                  </a:cubicBezTo>
                  <a:cubicBezTo>
                    <a:pt x="780" y="2618"/>
                    <a:pt x="779" y="2618"/>
                    <a:pt x="779" y="2618"/>
                  </a:cubicBezTo>
                  <a:lnTo>
                    <a:pt x="72" y="2932"/>
                  </a:lnTo>
                  <a:cubicBezTo>
                    <a:pt x="28" y="2951"/>
                    <a:pt x="0" y="2994"/>
                    <a:pt x="0" y="3042"/>
                  </a:cubicBezTo>
                  <a:lnTo>
                    <a:pt x="0" y="5060"/>
                  </a:lnTo>
                  <a:cubicBezTo>
                    <a:pt x="0" y="5105"/>
                    <a:pt x="24" y="5145"/>
                    <a:pt x="63" y="5166"/>
                  </a:cubicBezTo>
                  <a:lnTo>
                    <a:pt x="772" y="5555"/>
                  </a:lnTo>
                  <a:cubicBezTo>
                    <a:pt x="772" y="5555"/>
                    <a:pt x="790" y="5566"/>
                    <a:pt x="813" y="5568"/>
                  </a:cubicBezTo>
                  <a:cubicBezTo>
                    <a:pt x="833" y="5571"/>
                    <a:pt x="847" y="5568"/>
                    <a:pt x="847" y="5568"/>
                  </a:cubicBezTo>
                  <a:lnTo>
                    <a:pt x="1231" y="5513"/>
                  </a:lnTo>
                  <a:lnTo>
                    <a:pt x="1231" y="5735"/>
                  </a:lnTo>
                  <a:cubicBezTo>
                    <a:pt x="1231" y="5779"/>
                    <a:pt x="1255" y="5820"/>
                    <a:pt x="1294" y="5841"/>
                  </a:cubicBezTo>
                  <a:lnTo>
                    <a:pt x="3386" y="6987"/>
                  </a:lnTo>
                  <a:cubicBezTo>
                    <a:pt x="3386" y="6987"/>
                    <a:pt x="3409" y="7001"/>
                    <a:pt x="3440" y="7002"/>
                  </a:cubicBezTo>
                  <a:cubicBezTo>
                    <a:pt x="3463" y="7004"/>
                    <a:pt x="3486" y="6995"/>
                    <a:pt x="3486" y="6995"/>
                  </a:cubicBezTo>
                  <a:lnTo>
                    <a:pt x="3486" y="6994"/>
                  </a:lnTo>
                  <a:lnTo>
                    <a:pt x="3486" y="6994"/>
                  </a:lnTo>
                  <a:lnTo>
                    <a:pt x="6420" y="5879"/>
                  </a:lnTo>
                  <a:lnTo>
                    <a:pt x="7592" y="5433"/>
                  </a:lnTo>
                  <a:cubicBezTo>
                    <a:pt x="7639" y="5416"/>
                    <a:pt x="7670" y="5371"/>
                    <a:pt x="7670" y="5321"/>
                  </a:cubicBezTo>
                  <a:lnTo>
                    <a:pt x="7670" y="2832"/>
                  </a:lnTo>
                  <a:cubicBezTo>
                    <a:pt x="7671" y="2779"/>
                    <a:pt x="7636" y="2732"/>
                    <a:pt x="7585" y="2716"/>
                  </a:cubicBezTo>
                  <a:close/>
                  <a:moveTo>
                    <a:pt x="337" y="4559"/>
                  </a:moveTo>
                  <a:cubicBezTo>
                    <a:pt x="337" y="4571"/>
                    <a:pt x="331" y="4583"/>
                    <a:pt x="321" y="4591"/>
                  </a:cubicBezTo>
                  <a:cubicBezTo>
                    <a:pt x="313" y="4596"/>
                    <a:pt x="305" y="4599"/>
                    <a:pt x="296" y="4599"/>
                  </a:cubicBezTo>
                  <a:cubicBezTo>
                    <a:pt x="293" y="4599"/>
                    <a:pt x="289" y="4598"/>
                    <a:pt x="286" y="4597"/>
                  </a:cubicBezTo>
                  <a:lnTo>
                    <a:pt x="151" y="4560"/>
                  </a:lnTo>
                  <a:cubicBezTo>
                    <a:pt x="134" y="4555"/>
                    <a:pt x="122" y="4539"/>
                    <a:pt x="122" y="4521"/>
                  </a:cubicBezTo>
                  <a:lnTo>
                    <a:pt x="122" y="4147"/>
                  </a:lnTo>
                  <a:cubicBezTo>
                    <a:pt x="122" y="4136"/>
                    <a:pt x="126" y="4125"/>
                    <a:pt x="135" y="4117"/>
                  </a:cubicBezTo>
                  <a:cubicBezTo>
                    <a:pt x="143" y="4109"/>
                    <a:pt x="155" y="4106"/>
                    <a:pt x="166" y="4107"/>
                  </a:cubicBezTo>
                  <a:lnTo>
                    <a:pt x="300" y="4120"/>
                  </a:lnTo>
                  <a:cubicBezTo>
                    <a:pt x="321" y="4122"/>
                    <a:pt x="336" y="4139"/>
                    <a:pt x="336" y="4160"/>
                  </a:cubicBezTo>
                  <a:lnTo>
                    <a:pt x="336" y="4559"/>
                  </a:lnTo>
                  <a:lnTo>
                    <a:pt x="337" y="4559"/>
                  </a:lnTo>
                  <a:close/>
                  <a:moveTo>
                    <a:pt x="337" y="3761"/>
                  </a:moveTo>
                  <a:cubicBezTo>
                    <a:pt x="337" y="3782"/>
                    <a:pt x="321" y="3800"/>
                    <a:pt x="300" y="3802"/>
                  </a:cubicBezTo>
                  <a:lnTo>
                    <a:pt x="165" y="3813"/>
                  </a:lnTo>
                  <a:lnTo>
                    <a:pt x="162" y="3813"/>
                  </a:lnTo>
                  <a:cubicBezTo>
                    <a:pt x="152" y="3813"/>
                    <a:pt x="142" y="3809"/>
                    <a:pt x="135" y="3802"/>
                  </a:cubicBezTo>
                  <a:cubicBezTo>
                    <a:pt x="126" y="3795"/>
                    <a:pt x="122" y="3784"/>
                    <a:pt x="122" y="3773"/>
                  </a:cubicBezTo>
                  <a:lnTo>
                    <a:pt x="122" y="3398"/>
                  </a:lnTo>
                  <a:cubicBezTo>
                    <a:pt x="122" y="3380"/>
                    <a:pt x="134" y="3364"/>
                    <a:pt x="152" y="3359"/>
                  </a:cubicBezTo>
                  <a:lnTo>
                    <a:pt x="286" y="3324"/>
                  </a:lnTo>
                  <a:cubicBezTo>
                    <a:pt x="298" y="3321"/>
                    <a:pt x="311" y="3323"/>
                    <a:pt x="321" y="3331"/>
                  </a:cubicBezTo>
                  <a:cubicBezTo>
                    <a:pt x="331" y="3339"/>
                    <a:pt x="337" y="3350"/>
                    <a:pt x="337" y="3363"/>
                  </a:cubicBezTo>
                  <a:lnTo>
                    <a:pt x="337" y="3761"/>
                  </a:lnTo>
                  <a:lnTo>
                    <a:pt x="337" y="3761"/>
                  </a:lnTo>
                  <a:close/>
                  <a:moveTo>
                    <a:pt x="729" y="4668"/>
                  </a:moveTo>
                  <a:cubicBezTo>
                    <a:pt x="729" y="4680"/>
                    <a:pt x="723" y="4692"/>
                    <a:pt x="714" y="4700"/>
                  </a:cubicBezTo>
                  <a:cubicBezTo>
                    <a:pt x="706" y="4705"/>
                    <a:pt x="698" y="4708"/>
                    <a:pt x="689" y="4708"/>
                  </a:cubicBezTo>
                  <a:cubicBezTo>
                    <a:pt x="686" y="4708"/>
                    <a:pt x="682" y="4707"/>
                    <a:pt x="678" y="4706"/>
                  </a:cubicBezTo>
                  <a:lnTo>
                    <a:pt x="494" y="4655"/>
                  </a:lnTo>
                  <a:cubicBezTo>
                    <a:pt x="477" y="4651"/>
                    <a:pt x="465" y="4635"/>
                    <a:pt x="465" y="4617"/>
                  </a:cubicBezTo>
                  <a:lnTo>
                    <a:pt x="465" y="4180"/>
                  </a:lnTo>
                  <a:cubicBezTo>
                    <a:pt x="465" y="4169"/>
                    <a:pt x="470" y="4158"/>
                    <a:pt x="478" y="4150"/>
                  </a:cubicBezTo>
                  <a:cubicBezTo>
                    <a:pt x="486" y="4143"/>
                    <a:pt x="498" y="4139"/>
                    <a:pt x="509" y="4140"/>
                  </a:cubicBezTo>
                  <a:lnTo>
                    <a:pt x="693" y="4158"/>
                  </a:lnTo>
                  <a:cubicBezTo>
                    <a:pt x="714" y="4160"/>
                    <a:pt x="729" y="4178"/>
                    <a:pt x="729" y="4198"/>
                  </a:cubicBezTo>
                  <a:lnTo>
                    <a:pt x="729" y="4668"/>
                  </a:lnTo>
                  <a:lnTo>
                    <a:pt x="729" y="4668"/>
                  </a:lnTo>
                  <a:close/>
                  <a:moveTo>
                    <a:pt x="729" y="3729"/>
                  </a:moveTo>
                  <a:cubicBezTo>
                    <a:pt x="729" y="3750"/>
                    <a:pt x="713" y="3767"/>
                    <a:pt x="692" y="3769"/>
                  </a:cubicBezTo>
                  <a:lnTo>
                    <a:pt x="508" y="3784"/>
                  </a:lnTo>
                  <a:lnTo>
                    <a:pt x="505" y="3784"/>
                  </a:lnTo>
                  <a:cubicBezTo>
                    <a:pt x="495" y="3784"/>
                    <a:pt x="485" y="3781"/>
                    <a:pt x="478" y="3774"/>
                  </a:cubicBezTo>
                  <a:cubicBezTo>
                    <a:pt x="469" y="3766"/>
                    <a:pt x="465" y="3756"/>
                    <a:pt x="465" y="3744"/>
                  </a:cubicBezTo>
                  <a:lnTo>
                    <a:pt x="465" y="3308"/>
                  </a:lnTo>
                  <a:cubicBezTo>
                    <a:pt x="465" y="3290"/>
                    <a:pt x="477" y="3274"/>
                    <a:pt x="495" y="3269"/>
                  </a:cubicBezTo>
                  <a:lnTo>
                    <a:pt x="679" y="3221"/>
                  </a:lnTo>
                  <a:cubicBezTo>
                    <a:pt x="691" y="3217"/>
                    <a:pt x="704" y="3220"/>
                    <a:pt x="714" y="3228"/>
                  </a:cubicBezTo>
                  <a:cubicBezTo>
                    <a:pt x="723" y="3235"/>
                    <a:pt x="729" y="3247"/>
                    <a:pt x="729" y="3260"/>
                  </a:cubicBezTo>
                  <a:lnTo>
                    <a:pt x="729" y="3729"/>
                  </a:lnTo>
                  <a:close/>
                  <a:moveTo>
                    <a:pt x="1737" y="4948"/>
                  </a:moveTo>
                  <a:cubicBezTo>
                    <a:pt x="1737" y="4960"/>
                    <a:pt x="1731" y="4972"/>
                    <a:pt x="1721" y="4980"/>
                  </a:cubicBezTo>
                  <a:cubicBezTo>
                    <a:pt x="1714" y="4985"/>
                    <a:pt x="1706" y="4988"/>
                    <a:pt x="1697" y="4988"/>
                  </a:cubicBezTo>
                  <a:cubicBezTo>
                    <a:pt x="1693" y="4988"/>
                    <a:pt x="1690" y="4987"/>
                    <a:pt x="1686" y="4986"/>
                  </a:cubicBezTo>
                  <a:lnTo>
                    <a:pt x="1449" y="4920"/>
                  </a:lnTo>
                  <a:cubicBezTo>
                    <a:pt x="1431" y="4916"/>
                    <a:pt x="1419" y="4900"/>
                    <a:pt x="1419" y="4882"/>
                  </a:cubicBezTo>
                  <a:lnTo>
                    <a:pt x="1419" y="4274"/>
                  </a:lnTo>
                  <a:cubicBezTo>
                    <a:pt x="1419" y="4262"/>
                    <a:pt x="1424" y="4251"/>
                    <a:pt x="1432" y="4244"/>
                  </a:cubicBezTo>
                  <a:cubicBezTo>
                    <a:pt x="1441" y="4236"/>
                    <a:pt x="1452" y="4232"/>
                    <a:pt x="1463" y="4233"/>
                  </a:cubicBezTo>
                  <a:lnTo>
                    <a:pt x="1701" y="4257"/>
                  </a:lnTo>
                  <a:cubicBezTo>
                    <a:pt x="1721" y="4259"/>
                    <a:pt x="1737" y="4276"/>
                    <a:pt x="1737" y="4297"/>
                  </a:cubicBezTo>
                  <a:lnTo>
                    <a:pt x="1737" y="4948"/>
                  </a:lnTo>
                  <a:close/>
                  <a:moveTo>
                    <a:pt x="1737" y="3646"/>
                  </a:moveTo>
                  <a:cubicBezTo>
                    <a:pt x="1737" y="3667"/>
                    <a:pt x="1721" y="3684"/>
                    <a:pt x="1700" y="3686"/>
                  </a:cubicBezTo>
                  <a:lnTo>
                    <a:pt x="1463" y="3705"/>
                  </a:lnTo>
                  <a:cubicBezTo>
                    <a:pt x="1462" y="3706"/>
                    <a:pt x="1461" y="3706"/>
                    <a:pt x="1459" y="3706"/>
                  </a:cubicBezTo>
                  <a:cubicBezTo>
                    <a:pt x="1449" y="3706"/>
                    <a:pt x="1440" y="3702"/>
                    <a:pt x="1432" y="3695"/>
                  </a:cubicBezTo>
                  <a:cubicBezTo>
                    <a:pt x="1424" y="3687"/>
                    <a:pt x="1419" y="3677"/>
                    <a:pt x="1419" y="3665"/>
                  </a:cubicBezTo>
                  <a:lnTo>
                    <a:pt x="1419" y="3057"/>
                  </a:lnTo>
                  <a:cubicBezTo>
                    <a:pt x="1419" y="3039"/>
                    <a:pt x="1432" y="3023"/>
                    <a:pt x="1449" y="3018"/>
                  </a:cubicBezTo>
                  <a:lnTo>
                    <a:pt x="1687" y="2956"/>
                  </a:lnTo>
                  <a:cubicBezTo>
                    <a:pt x="1699" y="2953"/>
                    <a:pt x="1712" y="2955"/>
                    <a:pt x="1721" y="2963"/>
                  </a:cubicBezTo>
                  <a:cubicBezTo>
                    <a:pt x="1731" y="2970"/>
                    <a:pt x="1737" y="2982"/>
                    <a:pt x="1737" y="2995"/>
                  </a:cubicBezTo>
                  <a:lnTo>
                    <a:pt x="1737" y="3646"/>
                  </a:lnTo>
                  <a:close/>
                  <a:moveTo>
                    <a:pt x="1737" y="2344"/>
                  </a:moveTo>
                  <a:cubicBezTo>
                    <a:pt x="1737" y="2360"/>
                    <a:pt x="1728" y="2374"/>
                    <a:pt x="1713" y="2381"/>
                  </a:cubicBezTo>
                  <a:lnTo>
                    <a:pt x="1476" y="2486"/>
                  </a:lnTo>
                  <a:cubicBezTo>
                    <a:pt x="1471" y="2488"/>
                    <a:pt x="1465" y="2489"/>
                    <a:pt x="1460" y="2489"/>
                  </a:cubicBezTo>
                  <a:cubicBezTo>
                    <a:pt x="1452" y="2489"/>
                    <a:pt x="1444" y="2487"/>
                    <a:pt x="1437" y="2483"/>
                  </a:cubicBezTo>
                  <a:cubicBezTo>
                    <a:pt x="1426" y="2475"/>
                    <a:pt x="1419" y="2463"/>
                    <a:pt x="1419" y="2449"/>
                  </a:cubicBezTo>
                  <a:lnTo>
                    <a:pt x="1419" y="1841"/>
                  </a:lnTo>
                  <a:cubicBezTo>
                    <a:pt x="1419" y="1827"/>
                    <a:pt x="1426" y="1814"/>
                    <a:pt x="1438" y="1807"/>
                  </a:cubicBezTo>
                  <a:lnTo>
                    <a:pt x="1676" y="1659"/>
                  </a:lnTo>
                  <a:cubicBezTo>
                    <a:pt x="1688" y="1651"/>
                    <a:pt x="1704" y="1651"/>
                    <a:pt x="1716" y="1658"/>
                  </a:cubicBezTo>
                  <a:cubicBezTo>
                    <a:pt x="1729" y="1665"/>
                    <a:pt x="1737" y="1678"/>
                    <a:pt x="1737" y="1693"/>
                  </a:cubicBezTo>
                  <a:lnTo>
                    <a:pt x="1737" y="2344"/>
                  </a:lnTo>
                  <a:lnTo>
                    <a:pt x="1737" y="2344"/>
                  </a:lnTo>
                  <a:close/>
                  <a:moveTo>
                    <a:pt x="2329" y="5112"/>
                  </a:moveTo>
                  <a:cubicBezTo>
                    <a:pt x="2329" y="5124"/>
                    <a:pt x="2323" y="5136"/>
                    <a:pt x="2313" y="5144"/>
                  </a:cubicBezTo>
                  <a:cubicBezTo>
                    <a:pt x="2306" y="5149"/>
                    <a:pt x="2297" y="5152"/>
                    <a:pt x="2289" y="5152"/>
                  </a:cubicBezTo>
                  <a:cubicBezTo>
                    <a:pt x="2285" y="5152"/>
                    <a:pt x="2281" y="5152"/>
                    <a:pt x="2278" y="5151"/>
                  </a:cubicBezTo>
                  <a:lnTo>
                    <a:pt x="1960" y="5062"/>
                  </a:lnTo>
                  <a:cubicBezTo>
                    <a:pt x="1942" y="5058"/>
                    <a:pt x="1930" y="5042"/>
                    <a:pt x="1930" y="5024"/>
                  </a:cubicBezTo>
                  <a:lnTo>
                    <a:pt x="1930" y="4323"/>
                  </a:lnTo>
                  <a:cubicBezTo>
                    <a:pt x="1930" y="4312"/>
                    <a:pt x="1935" y="4301"/>
                    <a:pt x="1943" y="4293"/>
                  </a:cubicBezTo>
                  <a:cubicBezTo>
                    <a:pt x="1952" y="4286"/>
                    <a:pt x="1963" y="4282"/>
                    <a:pt x="1974" y="4283"/>
                  </a:cubicBezTo>
                  <a:lnTo>
                    <a:pt x="2292" y="4314"/>
                  </a:lnTo>
                  <a:cubicBezTo>
                    <a:pt x="2313" y="4316"/>
                    <a:pt x="2329" y="4334"/>
                    <a:pt x="2329" y="4354"/>
                  </a:cubicBezTo>
                  <a:lnTo>
                    <a:pt x="2329" y="5112"/>
                  </a:lnTo>
                  <a:close/>
                  <a:moveTo>
                    <a:pt x="2329" y="3597"/>
                  </a:moveTo>
                  <a:cubicBezTo>
                    <a:pt x="2329" y="3618"/>
                    <a:pt x="2313" y="3635"/>
                    <a:pt x="2292" y="3637"/>
                  </a:cubicBezTo>
                  <a:lnTo>
                    <a:pt x="1974" y="3663"/>
                  </a:lnTo>
                  <a:cubicBezTo>
                    <a:pt x="1973" y="3663"/>
                    <a:pt x="1971" y="3664"/>
                    <a:pt x="1970" y="3664"/>
                  </a:cubicBezTo>
                  <a:cubicBezTo>
                    <a:pt x="1960" y="3664"/>
                    <a:pt x="1951" y="3660"/>
                    <a:pt x="1943" y="3653"/>
                  </a:cubicBezTo>
                  <a:cubicBezTo>
                    <a:pt x="1935" y="3645"/>
                    <a:pt x="1930" y="3634"/>
                    <a:pt x="1930" y="3623"/>
                  </a:cubicBezTo>
                  <a:lnTo>
                    <a:pt x="1930" y="2923"/>
                  </a:lnTo>
                  <a:cubicBezTo>
                    <a:pt x="1930" y="2905"/>
                    <a:pt x="1942" y="2889"/>
                    <a:pt x="1960" y="2884"/>
                  </a:cubicBezTo>
                  <a:lnTo>
                    <a:pt x="2278" y="2800"/>
                  </a:lnTo>
                  <a:cubicBezTo>
                    <a:pt x="2290" y="2797"/>
                    <a:pt x="2303" y="2800"/>
                    <a:pt x="2313" y="2807"/>
                  </a:cubicBezTo>
                  <a:cubicBezTo>
                    <a:pt x="2323" y="2815"/>
                    <a:pt x="2329" y="2827"/>
                    <a:pt x="2329" y="2839"/>
                  </a:cubicBezTo>
                  <a:lnTo>
                    <a:pt x="2329" y="3597"/>
                  </a:lnTo>
                  <a:lnTo>
                    <a:pt x="2329" y="3597"/>
                  </a:lnTo>
                  <a:close/>
                  <a:moveTo>
                    <a:pt x="2329" y="2082"/>
                  </a:moveTo>
                  <a:cubicBezTo>
                    <a:pt x="2329" y="2098"/>
                    <a:pt x="2319" y="2112"/>
                    <a:pt x="2305" y="2119"/>
                  </a:cubicBezTo>
                  <a:lnTo>
                    <a:pt x="1987" y="2260"/>
                  </a:lnTo>
                  <a:cubicBezTo>
                    <a:pt x="1982" y="2262"/>
                    <a:pt x="1976" y="2263"/>
                    <a:pt x="1970" y="2263"/>
                  </a:cubicBezTo>
                  <a:cubicBezTo>
                    <a:pt x="1963" y="2263"/>
                    <a:pt x="1955" y="2261"/>
                    <a:pt x="1949" y="2257"/>
                  </a:cubicBezTo>
                  <a:cubicBezTo>
                    <a:pt x="1937" y="2249"/>
                    <a:pt x="1930" y="2236"/>
                    <a:pt x="1930" y="2223"/>
                  </a:cubicBezTo>
                  <a:lnTo>
                    <a:pt x="1930" y="1523"/>
                  </a:lnTo>
                  <a:cubicBezTo>
                    <a:pt x="1930" y="1509"/>
                    <a:pt x="1938" y="1496"/>
                    <a:pt x="1949" y="1489"/>
                  </a:cubicBezTo>
                  <a:lnTo>
                    <a:pt x="2267" y="1290"/>
                  </a:lnTo>
                  <a:cubicBezTo>
                    <a:pt x="2280" y="1282"/>
                    <a:pt x="2295" y="1282"/>
                    <a:pt x="2308" y="1289"/>
                  </a:cubicBezTo>
                  <a:cubicBezTo>
                    <a:pt x="2321" y="1296"/>
                    <a:pt x="2329" y="1310"/>
                    <a:pt x="2329" y="1324"/>
                  </a:cubicBezTo>
                  <a:lnTo>
                    <a:pt x="2329" y="2082"/>
                  </a:lnTo>
                  <a:lnTo>
                    <a:pt x="2329" y="2082"/>
                  </a:lnTo>
                  <a:close/>
                  <a:moveTo>
                    <a:pt x="3152" y="5341"/>
                  </a:moveTo>
                  <a:cubicBezTo>
                    <a:pt x="3152" y="5352"/>
                    <a:pt x="3147" y="5364"/>
                    <a:pt x="3139" y="5372"/>
                  </a:cubicBezTo>
                  <a:cubicBezTo>
                    <a:pt x="3124" y="5387"/>
                    <a:pt x="3104" y="5387"/>
                    <a:pt x="3098" y="5387"/>
                  </a:cubicBezTo>
                  <a:lnTo>
                    <a:pt x="3097" y="5387"/>
                  </a:lnTo>
                  <a:cubicBezTo>
                    <a:pt x="3018" y="5387"/>
                    <a:pt x="2710" y="5276"/>
                    <a:pt x="2650" y="5254"/>
                  </a:cubicBezTo>
                  <a:cubicBezTo>
                    <a:pt x="2634" y="5248"/>
                    <a:pt x="2623" y="5233"/>
                    <a:pt x="2623" y="5216"/>
                  </a:cubicBezTo>
                  <a:lnTo>
                    <a:pt x="2623" y="4391"/>
                  </a:lnTo>
                  <a:cubicBezTo>
                    <a:pt x="2623" y="4380"/>
                    <a:pt x="2628" y="4369"/>
                    <a:pt x="2636" y="4361"/>
                  </a:cubicBezTo>
                  <a:cubicBezTo>
                    <a:pt x="2645" y="4354"/>
                    <a:pt x="2656" y="4350"/>
                    <a:pt x="2667" y="4351"/>
                  </a:cubicBezTo>
                  <a:lnTo>
                    <a:pt x="3115" y="4395"/>
                  </a:lnTo>
                  <a:cubicBezTo>
                    <a:pt x="3136" y="4397"/>
                    <a:pt x="3152" y="4414"/>
                    <a:pt x="3152" y="4435"/>
                  </a:cubicBezTo>
                  <a:cubicBezTo>
                    <a:pt x="3152" y="4444"/>
                    <a:pt x="3152" y="5302"/>
                    <a:pt x="3152" y="5341"/>
                  </a:cubicBezTo>
                  <a:close/>
                  <a:moveTo>
                    <a:pt x="3152" y="3529"/>
                  </a:moveTo>
                  <a:cubicBezTo>
                    <a:pt x="3152" y="3550"/>
                    <a:pt x="3136" y="3567"/>
                    <a:pt x="3115" y="3569"/>
                  </a:cubicBezTo>
                  <a:lnTo>
                    <a:pt x="2667" y="3606"/>
                  </a:lnTo>
                  <a:cubicBezTo>
                    <a:pt x="2665" y="3606"/>
                    <a:pt x="2664" y="3606"/>
                    <a:pt x="2663" y="3606"/>
                  </a:cubicBezTo>
                  <a:cubicBezTo>
                    <a:pt x="2653" y="3606"/>
                    <a:pt x="2643" y="3602"/>
                    <a:pt x="2636" y="3595"/>
                  </a:cubicBezTo>
                  <a:cubicBezTo>
                    <a:pt x="2628" y="3588"/>
                    <a:pt x="2623" y="3577"/>
                    <a:pt x="2623" y="3566"/>
                  </a:cubicBezTo>
                  <a:lnTo>
                    <a:pt x="2623" y="2741"/>
                  </a:lnTo>
                  <a:cubicBezTo>
                    <a:pt x="2623" y="2722"/>
                    <a:pt x="2635" y="2706"/>
                    <a:pt x="2653" y="2702"/>
                  </a:cubicBezTo>
                  <a:lnTo>
                    <a:pt x="3101" y="2584"/>
                  </a:lnTo>
                  <a:cubicBezTo>
                    <a:pt x="3113" y="2581"/>
                    <a:pt x="3126" y="2583"/>
                    <a:pt x="3136" y="2591"/>
                  </a:cubicBezTo>
                  <a:cubicBezTo>
                    <a:pt x="3146" y="2599"/>
                    <a:pt x="3152" y="2610"/>
                    <a:pt x="3152" y="2623"/>
                  </a:cubicBezTo>
                  <a:lnTo>
                    <a:pt x="3152" y="3529"/>
                  </a:lnTo>
                  <a:lnTo>
                    <a:pt x="3152" y="3529"/>
                  </a:lnTo>
                  <a:close/>
                  <a:moveTo>
                    <a:pt x="3152" y="1717"/>
                  </a:moveTo>
                  <a:cubicBezTo>
                    <a:pt x="3152" y="1733"/>
                    <a:pt x="3142" y="1748"/>
                    <a:pt x="3128" y="1754"/>
                  </a:cubicBezTo>
                  <a:lnTo>
                    <a:pt x="2680" y="1953"/>
                  </a:lnTo>
                  <a:cubicBezTo>
                    <a:pt x="2674" y="1955"/>
                    <a:pt x="2669" y="1956"/>
                    <a:pt x="2663" y="1956"/>
                  </a:cubicBezTo>
                  <a:cubicBezTo>
                    <a:pt x="2656" y="1956"/>
                    <a:pt x="2648" y="1954"/>
                    <a:pt x="2641" y="1950"/>
                  </a:cubicBezTo>
                  <a:cubicBezTo>
                    <a:pt x="2630" y="1942"/>
                    <a:pt x="2623" y="1930"/>
                    <a:pt x="2623" y="1916"/>
                  </a:cubicBezTo>
                  <a:lnTo>
                    <a:pt x="2623" y="1091"/>
                  </a:lnTo>
                  <a:cubicBezTo>
                    <a:pt x="2623" y="1077"/>
                    <a:pt x="2630" y="1064"/>
                    <a:pt x="2642" y="1057"/>
                  </a:cubicBezTo>
                  <a:lnTo>
                    <a:pt x="3090" y="777"/>
                  </a:lnTo>
                  <a:cubicBezTo>
                    <a:pt x="3103" y="769"/>
                    <a:pt x="3118" y="769"/>
                    <a:pt x="3131" y="776"/>
                  </a:cubicBezTo>
                  <a:cubicBezTo>
                    <a:pt x="3144" y="783"/>
                    <a:pt x="3152" y="797"/>
                    <a:pt x="3152" y="811"/>
                  </a:cubicBezTo>
                  <a:lnTo>
                    <a:pt x="3152" y="1717"/>
                  </a:lnTo>
                  <a:lnTo>
                    <a:pt x="3152" y="1717"/>
                  </a:lnTo>
                  <a:close/>
                  <a:moveTo>
                    <a:pt x="4934" y="1266"/>
                  </a:moveTo>
                  <a:cubicBezTo>
                    <a:pt x="4934" y="1252"/>
                    <a:pt x="4941" y="1240"/>
                    <a:pt x="4952" y="1232"/>
                  </a:cubicBezTo>
                  <a:cubicBezTo>
                    <a:pt x="4963" y="1225"/>
                    <a:pt x="4978" y="1224"/>
                    <a:pt x="4990" y="1229"/>
                  </a:cubicBezTo>
                  <a:lnTo>
                    <a:pt x="5469" y="1436"/>
                  </a:lnTo>
                  <a:cubicBezTo>
                    <a:pt x="5483" y="1442"/>
                    <a:pt x="5493" y="1457"/>
                    <a:pt x="5493" y="1473"/>
                  </a:cubicBezTo>
                  <a:lnTo>
                    <a:pt x="5493" y="2187"/>
                  </a:lnTo>
                  <a:cubicBezTo>
                    <a:pt x="5493" y="2200"/>
                    <a:pt x="5487" y="2212"/>
                    <a:pt x="5477" y="2220"/>
                  </a:cubicBezTo>
                  <a:cubicBezTo>
                    <a:pt x="5470" y="2225"/>
                    <a:pt x="5461" y="2228"/>
                    <a:pt x="5453" y="2228"/>
                  </a:cubicBezTo>
                  <a:cubicBezTo>
                    <a:pt x="5449" y="2228"/>
                    <a:pt x="5445" y="2227"/>
                    <a:pt x="5441" y="2226"/>
                  </a:cubicBezTo>
                  <a:lnTo>
                    <a:pt x="4963" y="2079"/>
                  </a:lnTo>
                  <a:cubicBezTo>
                    <a:pt x="4946" y="2074"/>
                    <a:pt x="4934" y="2058"/>
                    <a:pt x="4934" y="2040"/>
                  </a:cubicBezTo>
                  <a:lnTo>
                    <a:pt x="4934" y="1266"/>
                  </a:lnTo>
                  <a:lnTo>
                    <a:pt x="4934" y="1266"/>
                  </a:lnTo>
                  <a:close/>
                  <a:moveTo>
                    <a:pt x="4934" y="2815"/>
                  </a:moveTo>
                  <a:cubicBezTo>
                    <a:pt x="4934" y="2803"/>
                    <a:pt x="4939" y="2791"/>
                    <a:pt x="4948" y="2784"/>
                  </a:cubicBezTo>
                  <a:cubicBezTo>
                    <a:pt x="4958" y="2776"/>
                    <a:pt x="4970" y="2773"/>
                    <a:pt x="4981" y="2775"/>
                  </a:cubicBezTo>
                  <a:lnTo>
                    <a:pt x="5460" y="2862"/>
                  </a:lnTo>
                  <a:cubicBezTo>
                    <a:pt x="5479" y="2866"/>
                    <a:pt x="5493" y="2882"/>
                    <a:pt x="5493" y="2902"/>
                  </a:cubicBezTo>
                  <a:lnTo>
                    <a:pt x="5493" y="3623"/>
                  </a:lnTo>
                  <a:cubicBezTo>
                    <a:pt x="5493" y="3634"/>
                    <a:pt x="5488" y="3645"/>
                    <a:pt x="5480" y="3653"/>
                  </a:cubicBezTo>
                  <a:cubicBezTo>
                    <a:pt x="5473" y="3660"/>
                    <a:pt x="5463" y="3664"/>
                    <a:pt x="5453" y="3664"/>
                  </a:cubicBezTo>
                  <a:cubicBezTo>
                    <a:pt x="5452" y="3664"/>
                    <a:pt x="5451" y="3663"/>
                    <a:pt x="5450" y="3663"/>
                  </a:cubicBezTo>
                  <a:lnTo>
                    <a:pt x="4971" y="3629"/>
                  </a:lnTo>
                  <a:cubicBezTo>
                    <a:pt x="4950" y="3628"/>
                    <a:pt x="4934" y="3610"/>
                    <a:pt x="4934" y="3589"/>
                  </a:cubicBezTo>
                  <a:lnTo>
                    <a:pt x="4934" y="2815"/>
                  </a:lnTo>
                  <a:close/>
                  <a:moveTo>
                    <a:pt x="3688" y="727"/>
                  </a:moveTo>
                  <a:cubicBezTo>
                    <a:pt x="3688" y="714"/>
                    <a:pt x="3695" y="701"/>
                    <a:pt x="3706" y="694"/>
                  </a:cubicBezTo>
                  <a:cubicBezTo>
                    <a:pt x="3718" y="686"/>
                    <a:pt x="3732" y="685"/>
                    <a:pt x="3744" y="690"/>
                  </a:cubicBezTo>
                  <a:lnTo>
                    <a:pt x="4424" y="984"/>
                  </a:lnTo>
                  <a:cubicBezTo>
                    <a:pt x="4439" y="991"/>
                    <a:pt x="4449" y="1005"/>
                    <a:pt x="4449" y="1021"/>
                  </a:cubicBezTo>
                  <a:lnTo>
                    <a:pt x="4449" y="1867"/>
                  </a:lnTo>
                  <a:cubicBezTo>
                    <a:pt x="4449" y="1879"/>
                    <a:pt x="4442" y="1891"/>
                    <a:pt x="4432" y="1899"/>
                  </a:cubicBezTo>
                  <a:cubicBezTo>
                    <a:pt x="4425" y="1904"/>
                    <a:pt x="4417" y="1907"/>
                    <a:pt x="4408" y="1907"/>
                  </a:cubicBezTo>
                  <a:cubicBezTo>
                    <a:pt x="4404" y="1907"/>
                    <a:pt x="4400" y="1906"/>
                    <a:pt x="4396" y="1905"/>
                  </a:cubicBezTo>
                  <a:lnTo>
                    <a:pt x="3717" y="1696"/>
                  </a:lnTo>
                  <a:cubicBezTo>
                    <a:pt x="3700" y="1691"/>
                    <a:pt x="3688" y="1675"/>
                    <a:pt x="3688" y="1658"/>
                  </a:cubicBezTo>
                  <a:lnTo>
                    <a:pt x="3688" y="727"/>
                  </a:lnTo>
                  <a:lnTo>
                    <a:pt x="3688" y="727"/>
                  </a:lnTo>
                  <a:close/>
                  <a:moveTo>
                    <a:pt x="3688" y="3518"/>
                  </a:moveTo>
                  <a:lnTo>
                    <a:pt x="3688" y="2588"/>
                  </a:lnTo>
                  <a:cubicBezTo>
                    <a:pt x="3688" y="2576"/>
                    <a:pt x="3694" y="2564"/>
                    <a:pt x="3703" y="2557"/>
                  </a:cubicBezTo>
                  <a:cubicBezTo>
                    <a:pt x="3712" y="2549"/>
                    <a:pt x="3724" y="2546"/>
                    <a:pt x="3736" y="2548"/>
                  </a:cubicBezTo>
                  <a:lnTo>
                    <a:pt x="4415" y="2672"/>
                  </a:lnTo>
                  <a:cubicBezTo>
                    <a:pt x="4434" y="2676"/>
                    <a:pt x="4448" y="2692"/>
                    <a:pt x="4448" y="2712"/>
                  </a:cubicBezTo>
                  <a:lnTo>
                    <a:pt x="4448" y="3557"/>
                  </a:lnTo>
                  <a:cubicBezTo>
                    <a:pt x="4448" y="3568"/>
                    <a:pt x="4444" y="3579"/>
                    <a:pt x="4436" y="3586"/>
                  </a:cubicBezTo>
                  <a:cubicBezTo>
                    <a:pt x="4428" y="3593"/>
                    <a:pt x="4418" y="3597"/>
                    <a:pt x="4408" y="3597"/>
                  </a:cubicBezTo>
                  <a:cubicBezTo>
                    <a:pt x="4407" y="3597"/>
                    <a:pt x="4407" y="3597"/>
                    <a:pt x="4406" y="3597"/>
                  </a:cubicBezTo>
                  <a:lnTo>
                    <a:pt x="3726" y="3558"/>
                  </a:lnTo>
                  <a:cubicBezTo>
                    <a:pt x="3705" y="3557"/>
                    <a:pt x="3688" y="3539"/>
                    <a:pt x="3688" y="3518"/>
                  </a:cubicBezTo>
                  <a:close/>
                  <a:moveTo>
                    <a:pt x="5014" y="6300"/>
                  </a:moveTo>
                  <a:cubicBezTo>
                    <a:pt x="5014" y="6317"/>
                    <a:pt x="5004" y="6331"/>
                    <a:pt x="4989" y="6338"/>
                  </a:cubicBezTo>
                  <a:lnTo>
                    <a:pt x="4099" y="6676"/>
                  </a:lnTo>
                  <a:cubicBezTo>
                    <a:pt x="4094" y="6677"/>
                    <a:pt x="4089" y="6678"/>
                    <a:pt x="4085" y="6678"/>
                  </a:cubicBezTo>
                  <a:cubicBezTo>
                    <a:pt x="4077" y="6678"/>
                    <a:pt x="4069" y="6676"/>
                    <a:pt x="4062" y="6671"/>
                  </a:cubicBezTo>
                  <a:cubicBezTo>
                    <a:pt x="4051" y="6664"/>
                    <a:pt x="4045" y="6651"/>
                    <a:pt x="4045" y="6638"/>
                  </a:cubicBezTo>
                  <a:lnTo>
                    <a:pt x="4045" y="4424"/>
                  </a:lnTo>
                  <a:cubicBezTo>
                    <a:pt x="4045" y="4403"/>
                    <a:pt x="4061" y="4385"/>
                    <a:pt x="4082" y="4384"/>
                  </a:cubicBezTo>
                  <a:lnTo>
                    <a:pt x="4972" y="4323"/>
                  </a:lnTo>
                  <a:cubicBezTo>
                    <a:pt x="4983" y="4323"/>
                    <a:pt x="4994" y="4327"/>
                    <a:pt x="5002" y="4334"/>
                  </a:cubicBezTo>
                  <a:cubicBezTo>
                    <a:pt x="5010" y="4342"/>
                    <a:pt x="5015" y="4352"/>
                    <a:pt x="5015" y="4364"/>
                  </a:cubicBezTo>
                  <a:lnTo>
                    <a:pt x="5015" y="6300"/>
                  </a:lnTo>
                  <a:lnTo>
                    <a:pt x="5014" y="6300"/>
                  </a:lnTo>
                  <a:close/>
                  <a:moveTo>
                    <a:pt x="6087" y="5892"/>
                  </a:moveTo>
                  <a:cubicBezTo>
                    <a:pt x="6087" y="5909"/>
                    <a:pt x="6076" y="5924"/>
                    <a:pt x="6061" y="5930"/>
                  </a:cubicBezTo>
                  <a:lnTo>
                    <a:pt x="5467" y="6156"/>
                  </a:lnTo>
                  <a:cubicBezTo>
                    <a:pt x="5462" y="6157"/>
                    <a:pt x="5458" y="6158"/>
                    <a:pt x="5453" y="6158"/>
                  </a:cubicBezTo>
                  <a:cubicBezTo>
                    <a:pt x="5445" y="6158"/>
                    <a:pt x="5437" y="6156"/>
                    <a:pt x="5430" y="6151"/>
                  </a:cubicBezTo>
                  <a:cubicBezTo>
                    <a:pt x="5419" y="6144"/>
                    <a:pt x="5413" y="6131"/>
                    <a:pt x="5413" y="6118"/>
                  </a:cubicBezTo>
                  <a:lnTo>
                    <a:pt x="5413" y="4331"/>
                  </a:lnTo>
                  <a:cubicBezTo>
                    <a:pt x="5413" y="4310"/>
                    <a:pt x="5429" y="4293"/>
                    <a:pt x="5450" y="4291"/>
                  </a:cubicBezTo>
                  <a:lnTo>
                    <a:pt x="6044" y="4251"/>
                  </a:lnTo>
                  <a:cubicBezTo>
                    <a:pt x="6055" y="4250"/>
                    <a:pt x="6066" y="4254"/>
                    <a:pt x="6074" y="4262"/>
                  </a:cubicBezTo>
                  <a:cubicBezTo>
                    <a:pt x="6082" y="4269"/>
                    <a:pt x="6087" y="4280"/>
                    <a:pt x="6087" y="4291"/>
                  </a:cubicBezTo>
                  <a:lnTo>
                    <a:pt x="6087" y="5892"/>
                  </a:lnTo>
                  <a:close/>
                  <a:moveTo>
                    <a:pt x="6258" y="3660"/>
                  </a:moveTo>
                  <a:cubicBezTo>
                    <a:pt x="6258" y="3671"/>
                    <a:pt x="6253" y="3682"/>
                    <a:pt x="6245" y="3690"/>
                  </a:cubicBezTo>
                  <a:cubicBezTo>
                    <a:pt x="6238" y="3697"/>
                    <a:pt x="6228" y="3701"/>
                    <a:pt x="6218" y="3701"/>
                  </a:cubicBezTo>
                  <a:lnTo>
                    <a:pt x="6215" y="3701"/>
                  </a:lnTo>
                  <a:lnTo>
                    <a:pt x="5860" y="3680"/>
                  </a:lnTo>
                  <a:cubicBezTo>
                    <a:pt x="5839" y="3679"/>
                    <a:pt x="5822" y="3662"/>
                    <a:pt x="5822" y="3640"/>
                  </a:cubicBezTo>
                  <a:lnTo>
                    <a:pt x="5822" y="2977"/>
                  </a:lnTo>
                  <a:cubicBezTo>
                    <a:pt x="5822" y="2965"/>
                    <a:pt x="5828" y="2953"/>
                    <a:pt x="5837" y="2946"/>
                  </a:cubicBezTo>
                  <a:cubicBezTo>
                    <a:pt x="5846" y="2938"/>
                    <a:pt x="5858" y="2935"/>
                    <a:pt x="5870" y="2937"/>
                  </a:cubicBezTo>
                  <a:lnTo>
                    <a:pt x="6225" y="3002"/>
                  </a:lnTo>
                  <a:cubicBezTo>
                    <a:pt x="6244" y="3005"/>
                    <a:pt x="6258" y="3022"/>
                    <a:pt x="6258" y="3041"/>
                  </a:cubicBezTo>
                  <a:lnTo>
                    <a:pt x="6258" y="3660"/>
                  </a:lnTo>
                  <a:lnTo>
                    <a:pt x="6258" y="3660"/>
                  </a:lnTo>
                  <a:close/>
                  <a:moveTo>
                    <a:pt x="6258" y="2422"/>
                  </a:moveTo>
                  <a:cubicBezTo>
                    <a:pt x="6258" y="2435"/>
                    <a:pt x="6252" y="2447"/>
                    <a:pt x="6242" y="2455"/>
                  </a:cubicBezTo>
                  <a:cubicBezTo>
                    <a:pt x="6235" y="2460"/>
                    <a:pt x="6226" y="2463"/>
                    <a:pt x="6218" y="2463"/>
                  </a:cubicBezTo>
                  <a:cubicBezTo>
                    <a:pt x="6214" y="2463"/>
                    <a:pt x="6210" y="2462"/>
                    <a:pt x="6206" y="2461"/>
                  </a:cubicBezTo>
                  <a:lnTo>
                    <a:pt x="5851" y="2352"/>
                  </a:lnTo>
                  <a:cubicBezTo>
                    <a:pt x="5834" y="2346"/>
                    <a:pt x="5823" y="2331"/>
                    <a:pt x="5823" y="2313"/>
                  </a:cubicBezTo>
                  <a:lnTo>
                    <a:pt x="5823" y="1650"/>
                  </a:lnTo>
                  <a:cubicBezTo>
                    <a:pt x="5823" y="1636"/>
                    <a:pt x="5829" y="1624"/>
                    <a:pt x="5841" y="1616"/>
                  </a:cubicBezTo>
                  <a:cubicBezTo>
                    <a:pt x="5852" y="1609"/>
                    <a:pt x="5866" y="1608"/>
                    <a:pt x="5879" y="1613"/>
                  </a:cubicBezTo>
                  <a:lnTo>
                    <a:pt x="6234" y="1766"/>
                  </a:lnTo>
                  <a:cubicBezTo>
                    <a:pt x="6249" y="1773"/>
                    <a:pt x="6258" y="1787"/>
                    <a:pt x="6258" y="1803"/>
                  </a:cubicBezTo>
                  <a:lnTo>
                    <a:pt x="6258" y="2422"/>
                  </a:lnTo>
                  <a:lnTo>
                    <a:pt x="6258" y="2422"/>
                  </a:lnTo>
                  <a:close/>
                  <a:moveTo>
                    <a:pt x="6968" y="4762"/>
                  </a:moveTo>
                  <a:cubicBezTo>
                    <a:pt x="6968" y="4781"/>
                    <a:pt x="6954" y="4798"/>
                    <a:pt x="6935" y="4801"/>
                  </a:cubicBezTo>
                  <a:lnTo>
                    <a:pt x="6677" y="4851"/>
                  </a:lnTo>
                  <a:cubicBezTo>
                    <a:pt x="6674" y="4852"/>
                    <a:pt x="6672" y="4852"/>
                    <a:pt x="6669" y="4852"/>
                  </a:cubicBezTo>
                  <a:cubicBezTo>
                    <a:pt x="6660" y="4852"/>
                    <a:pt x="6651" y="4848"/>
                    <a:pt x="6644" y="4842"/>
                  </a:cubicBezTo>
                  <a:cubicBezTo>
                    <a:pt x="6635" y="4835"/>
                    <a:pt x="6629" y="4824"/>
                    <a:pt x="6629" y="4812"/>
                  </a:cubicBezTo>
                  <a:lnTo>
                    <a:pt x="6629" y="4249"/>
                  </a:lnTo>
                  <a:cubicBezTo>
                    <a:pt x="6629" y="4228"/>
                    <a:pt x="6646" y="4210"/>
                    <a:pt x="6667" y="4209"/>
                  </a:cubicBezTo>
                  <a:lnTo>
                    <a:pt x="6925" y="4191"/>
                  </a:lnTo>
                  <a:cubicBezTo>
                    <a:pt x="6936" y="4191"/>
                    <a:pt x="6947" y="4195"/>
                    <a:pt x="6955" y="4202"/>
                  </a:cubicBezTo>
                  <a:cubicBezTo>
                    <a:pt x="6963" y="4210"/>
                    <a:pt x="6968" y="4220"/>
                    <a:pt x="6968" y="4232"/>
                  </a:cubicBezTo>
                  <a:lnTo>
                    <a:pt x="6968" y="4762"/>
                  </a:lnTo>
                  <a:lnTo>
                    <a:pt x="6968" y="4762"/>
                  </a:lnTo>
                  <a:close/>
                  <a:moveTo>
                    <a:pt x="6968" y="3701"/>
                  </a:moveTo>
                  <a:cubicBezTo>
                    <a:pt x="6968" y="3712"/>
                    <a:pt x="6963" y="3723"/>
                    <a:pt x="6955" y="3730"/>
                  </a:cubicBezTo>
                  <a:cubicBezTo>
                    <a:pt x="6947" y="3737"/>
                    <a:pt x="6938" y="3741"/>
                    <a:pt x="6927" y="3741"/>
                  </a:cubicBezTo>
                  <a:lnTo>
                    <a:pt x="6925" y="3741"/>
                  </a:lnTo>
                  <a:lnTo>
                    <a:pt x="6667" y="3726"/>
                  </a:lnTo>
                  <a:cubicBezTo>
                    <a:pt x="6646" y="3725"/>
                    <a:pt x="6629" y="3708"/>
                    <a:pt x="6629" y="3686"/>
                  </a:cubicBezTo>
                  <a:lnTo>
                    <a:pt x="6629" y="3124"/>
                  </a:lnTo>
                  <a:cubicBezTo>
                    <a:pt x="6629" y="3112"/>
                    <a:pt x="6634" y="3101"/>
                    <a:pt x="6644" y="3093"/>
                  </a:cubicBezTo>
                  <a:cubicBezTo>
                    <a:pt x="6653" y="3085"/>
                    <a:pt x="6665" y="3082"/>
                    <a:pt x="6677" y="3084"/>
                  </a:cubicBezTo>
                  <a:lnTo>
                    <a:pt x="6934" y="3131"/>
                  </a:lnTo>
                  <a:cubicBezTo>
                    <a:pt x="6953" y="3135"/>
                    <a:pt x="6967" y="3151"/>
                    <a:pt x="6967" y="3171"/>
                  </a:cubicBezTo>
                  <a:lnTo>
                    <a:pt x="6967" y="3701"/>
                  </a:lnTo>
                  <a:lnTo>
                    <a:pt x="6968" y="3701"/>
                  </a:lnTo>
                  <a:close/>
                  <a:moveTo>
                    <a:pt x="7404" y="4678"/>
                  </a:moveTo>
                  <a:cubicBezTo>
                    <a:pt x="7404" y="4697"/>
                    <a:pt x="7390" y="4714"/>
                    <a:pt x="7371" y="4717"/>
                  </a:cubicBezTo>
                  <a:lnTo>
                    <a:pt x="7165" y="4757"/>
                  </a:lnTo>
                  <a:cubicBezTo>
                    <a:pt x="7162" y="4757"/>
                    <a:pt x="7160" y="4758"/>
                    <a:pt x="7157" y="4758"/>
                  </a:cubicBezTo>
                  <a:cubicBezTo>
                    <a:pt x="7148" y="4758"/>
                    <a:pt x="7139" y="4754"/>
                    <a:pt x="7132" y="4748"/>
                  </a:cubicBezTo>
                  <a:cubicBezTo>
                    <a:pt x="7122" y="4741"/>
                    <a:pt x="7117" y="4729"/>
                    <a:pt x="7117" y="4717"/>
                  </a:cubicBezTo>
                  <a:lnTo>
                    <a:pt x="7117" y="4216"/>
                  </a:lnTo>
                  <a:cubicBezTo>
                    <a:pt x="7117" y="4195"/>
                    <a:pt x="7134" y="4177"/>
                    <a:pt x="7155" y="4176"/>
                  </a:cubicBezTo>
                  <a:lnTo>
                    <a:pt x="7361" y="4162"/>
                  </a:lnTo>
                  <a:cubicBezTo>
                    <a:pt x="7372" y="4161"/>
                    <a:pt x="7383" y="4165"/>
                    <a:pt x="7391" y="4172"/>
                  </a:cubicBezTo>
                  <a:cubicBezTo>
                    <a:pt x="7399" y="4180"/>
                    <a:pt x="7404" y="4191"/>
                    <a:pt x="7404" y="4202"/>
                  </a:cubicBezTo>
                  <a:lnTo>
                    <a:pt x="7404" y="4678"/>
                  </a:lnTo>
                  <a:lnTo>
                    <a:pt x="7404" y="4678"/>
                  </a:lnTo>
                  <a:close/>
                  <a:moveTo>
                    <a:pt x="7404" y="3726"/>
                  </a:moveTo>
                  <a:cubicBezTo>
                    <a:pt x="7404" y="3737"/>
                    <a:pt x="7399" y="3748"/>
                    <a:pt x="7391" y="3755"/>
                  </a:cubicBezTo>
                  <a:cubicBezTo>
                    <a:pt x="7384" y="3762"/>
                    <a:pt x="7374" y="3766"/>
                    <a:pt x="7364" y="3766"/>
                  </a:cubicBezTo>
                  <a:cubicBezTo>
                    <a:pt x="7363" y="3766"/>
                    <a:pt x="7362" y="3766"/>
                    <a:pt x="7361" y="3766"/>
                  </a:cubicBezTo>
                  <a:lnTo>
                    <a:pt x="7155" y="3754"/>
                  </a:lnTo>
                  <a:cubicBezTo>
                    <a:pt x="7134" y="3753"/>
                    <a:pt x="7117" y="3736"/>
                    <a:pt x="7117" y="3714"/>
                  </a:cubicBezTo>
                  <a:lnTo>
                    <a:pt x="7117" y="3219"/>
                  </a:lnTo>
                  <a:cubicBezTo>
                    <a:pt x="7117" y="3207"/>
                    <a:pt x="7122" y="3196"/>
                    <a:pt x="7131" y="3188"/>
                  </a:cubicBezTo>
                  <a:cubicBezTo>
                    <a:pt x="7140" y="3181"/>
                    <a:pt x="7152" y="3177"/>
                    <a:pt x="7164" y="3179"/>
                  </a:cubicBezTo>
                  <a:lnTo>
                    <a:pt x="7370" y="3210"/>
                  </a:lnTo>
                  <a:cubicBezTo>
                    <a:pt x="7390" y="3213"/>
                    <a:pt x="7404" y="3230"/>
                    <a:pt x="7404" y="3250"/>
                  </a:cubicBezTo>
                  <a:lnTo>
                    <a:pt x="7404" y="3726"/>
                  </a:lnTo>
                  <a:lnTo>
                    <a:pt x="7404" y="37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1" name="ïṧḻîḓé">
              <a:extLst>
                <a:ext uri="{FF2B5EF4-FFF2-40B4-BE49-F238E27FC236}">
                  <a16:creationId xmlns:a16="http://schemas.microsoft.com/office/drawing/2014/main" id="{F68E5E00-7EC2-4604-9258-3CE4C0AE9732}"/>
                </a:ext>
              </a:extLst>
            </p:cNvPr>
            <p:cNvSpPr txBox="1"/>
            <p:nvPr/>
          </p:nvSpPr>
          <p:spPr>
            <a:xfrm>
              <a:off x="9556758" y="3119105"/>
              <a:ext cx="1451696" cy="44959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i="1" dirty="0"/>
                <a:t>Text here</a:t>
              </a:r>
            </a:p>
          </p:txBody>
        </p:sp>
        <p:sp>
          <p:nvSpPr>
            <p:cNvPr id="12" name="isļïḑê">
              <a:extLst>
                <a:ext uri="{FF2B5EF4-FFF2-40B4-BE49-F238E27FC236}">
                  <a16:creationId xmlns:a16="http://schemas.microsoft.com/office/drawing/2014/main" id="{3512F85F-B712-40E6-AB0F-C57B11C11815}"/>
                </a:ext>
              </a:extLst>
            </p:cNvPr>
            <p:cNvSpPr/>
            <p:nvPr/>
          </p:nvSpPr>
          <p:spPr bwMode="auto">
            <a:xfrm>
              <a:off x="9963239" y="2385046"/>
              <a:ext cx="638735" cy="582260"/>
            </a:xfrm>
            <a:custGeom>
              <a:avLst/>
              <a:gdLst>
                <a:gd name="T0" fmla="*/ 3495 w 7671"/>
                <a:gd name="T1" fmla="*/ 13 h 7004"/>
                <a:gd name="T2" fmla="*/ 1231 w 7671"/>
                <a:gd name="T3" fmla="*/ 2655 h 7004"/>
                <a:gd name="T4" fmla="*/ 72 w 7671"/>
                <a:gd name="T5" fmla="*/ 2932 h 7004"/>
                <a:gd name="T6" fmla="*/ 847 w 7671"/>
                <a:gd name="T7" fmla="*/ 5568 h 7004"/>
                <a:gd name="T8" fmla="*/ 3486 w 7671"/>
                <a:gd name="T9" fmla="*/ 6995 h 7004"/>
                <a:gd name="T10" fmla="*/ 7670 w 7671"/>
                <a:gd name="T11" fmla="*/ 2832 h 7004"/>
                <a:gd name="T12" fmla="*/ 151 w 7671"/>
                <a:gd name="T13" fmla="*/ 4560 h 7004"/>
                <a:gd name="T14" fmla="*/ 336 w 7671"/>
                <a:gd name="T15" fmla="*/ 4160 h 7004"/>
                <a:gd name="T16" fmla="*/ 162 w 7671"/>
                <a:gd name="T17" fmla="*/ 3813 h 7004"/>
                <a:gd name="T18" fmla="*/ 321 w 7671"/>
                <a:gd name="T19" fmla="*/ 3331 h 7004"/>
                <a:gd name="T20" fmla="*/ 689 w 7671"/>
                <a:gd name="T21" fmla="*/ 4708 h 7004"/>
                <a:gd name="T22" fmla="*/ 509 w 7671"/>
                <a:gd name="T23" fmla="*/ 4140 h 7004"/>
                <a:gd name="T24" fmla="*/ 692 w 7671"/>
                <a:gd name="T25" fmla="*/ 3769 h 7004"/>
                <a:gd name="T26" fmla="*/ 495 w 7671"/>
                <a:gd name="T27" fmla="*/ 3269 h 7004"/>
                <a:gd name="T28" fmla="*/ 1721 w 7671"/>
                <a:gd name="T29" fmla="*/ 4980 h 7004"/>
                <a:gd name="T30" fmla="*/ 1432 w 7671"/>
                <a:gd name="T31" fmla="*/ 4244 h 7004"/>
                <a:gd name="T32" fmla="*/ 1700 w 7671"/>
                <a:gd name="T33" fmla="*/ 3686 h 7004"/>
                <a:gd name="T34" fmla="*/ 1449 w 7671"/>
                <a:gd name="T35" fmla="*/ 3018 h 7004"/>
                <a:gd name="T36" fmla="*/ 1713 w 7671"/>
                <a:gd name="T37" fmla="*/ 2381 h 7004"/>
                <a:gd name="T38" fmla="*/ 1438 w 7671"/>
                <a:gd name="T39" fmla="*/ 1807 h 7004"/>
                <a:gd name="T40" fmla="*/ 2329 w 7671"/>
                <a:gd name="T41" fmla="*/ 5112 h 7004"/>
                <a:gd name="T42" fmla="*/ 1930 w 7671"/>
                <a:gd name="T43" fmla="*/ 4323 h 7004"/>
                <a:gd name="T44" fmla="*/ 2329 w 7671"/>
                <a:gd name="T45" fmla="*/ 3597 h 7004"/>
                <a:gd name="T46" fmla="*/ 1930 w 7671"/>
                <a:gd name="T47" fmla="*/ 2923 h 7004"/>
                <a:gd name="T48" fmla="*/ 2329 w 7671"/>
                <a:gd name="T49" fmla="*/ 3597 h 7004"/>
                <a:gd name="T50" fmla="*/ 1930 w 7671"/>
                <a:gd name="T51" fmla="*/ 2223 h 7004"/>
                <a:gd name="T52" fmla="*/ 2329 w 7671"/>
                <a:gd name="T53" fmla="*/ 2082 h 7004"/>
                <a:gd name="T54" fmla="*/ 2650 w 7671"/>
                <a:gd name="T55" fmla="*/ 5254 h 7004"/>
                <a:gd name="T56" fmla="*/ 3152 w 7671"/>
                <a:gd name="T57" fmla="*/ 4435 h 7004"/>
                <a:gd name="T58" fmla="*/ 2636 w 7671"/>
                <a:gd name="T59" fmla="*/ 3595 h 7004"/>
                <a:gd name="T60" fmla="*/ 3152 w 7671"/>
                <a:gd name="T61" fmla="*/ 2623 h 7004"/>
                <a:gd name="T62" fmla="*/ 2663 w 7671"/>
                <a:gd name="T63" fmla="*/ 1956 h 7004"/>
                <a:gd name="T64" fmla="*/ 3131 w 7671"/>
                <a:gd name="T65" fmla="*/ 776 h 7004"/>
                <a:gd name="T66" fmla="*/ 4990 w 7671"/>
                <a:gd name="T67" fmla="*/ 1229 h 7004"/>
                <a:gd name="T68" fmla="*/ 5441 w 7671"/>
                <a:gd name="T69" fmla="*/ 2226 h 7004"/>
                <a:gd name="T70" fmla="*/ 4948 w 7671"/>
                <a:gd name="T71" fmla="*/ 2784 h 7004"/>
                <a:gd name="T72" fmla="*/ 5453 w 7671"/>
                <a:gd name="T73" fmla="*/ 3664 h 7004"/>
                <a:gd name="T74" fmla="*/ 3706 w 7671"/>
                <a:gd name="T75" fmla="*/ 694 h 7004"/>
                <a:gd name="T76" fmla="*/ 4408 w 7671"/>
                <a:gd name="T77" fmla="*/ 1907 h 7004"/>
                <a:gd name="T78" fmla="*/ 3688 w 7671"/>
                <a:gd name="T79" fmla="*/ 3518 h 7004"/>
                <a:gd name="T80" fmla="*/ 4448 w 7671"/>
                <a:gd name="T81" fmla="*/ 3557 h 7004"/>
                <a:gd name="T82" fmla="*/ 5014 w 7671"/>
                <a:gd name="T83" fmla="*/ 6300 h 7004"/>
                <a:gd name="T84" fmla="*/ 4045 w 7671"/>
                <a:gd name="T85" fmla="*/ 4424 h 7004"/>
                <a:gd name="T86" fmla="*/ 5014 w 7671"/>
                <a:gd name="T87" fmla="*/ 6300 h 7004"/>
                <a:gd name="T88" fmla="*/ 5413 w 7671"/>
                <a:gd name="T89" fmla="*/ 6118 h 7004"/>
                <a:gd name="T90" fmla="*/ 6087 w 7671"/>
                <a:gd name="T91" fmla="*/ 5892 h 7004"/>
                <a:gd name="T92" fmla="*/ 5822 w 7671"/>
                <a:gd name="T93" fmla="*/ 3640 h 7004"/>
                <a:gd name="T94" fmla="*/ 6258 w 7671"/>
                <a:gd name="T95" fmla="*/ 3660 h 7004"/>
                <a:gd name="T96" fmla="*/ 5851 w 7671"/>
                <a:gd name="T97" fmla="*/ 2352 h 7004"/>
                <a:gd name="T98" fmla="*/ 6258 w 7671"/>
                <a:gd name="T99" fmla="*/ 1803 h 7004"/>
                <a:gd name="T100" fmla="*/ 6669 w 7671"/>
                <a:gd name="T101" fmla="*/ 4852 h 7004"/>
                <a:gd name="T102" fmla="*/ 6955 w 7671"/>
                <a:gd name="T103" fmla="*/ 4202 h 7004"/>
                <a:gd name="T104" fmla="*/ 6927 w 7671"/>
                <a:gd name="T105" fmla="*/ 3741 h 7004"/>
                <a:gd name="T106" fmla="*/ 6677 w 7671"/>
                <a:gd name="T107" fmla="*/ 3084 h 7004"/>
                <a:gd name="T108" fmla="*/ 7371 w 7671"/>
                <a:gd name="T109" fmla="*/ 4717 h 7004"/>
                <a:gd name="T110" fmla="*/ 7155 w 7671"/>
                <a:gd name="T111" fmla="*/ 4176 h 7004"/>
                <a:gd name="T112" fmla="*/ 7404 w 7671"/>
                <a:gd name="T113" fmla="*/ 3726 h 7004"/>
                <a:gd name="T114" fmla="*/ 7117 w 7671"/>
                <a:gd name="T115" fmla="*/ 3219 h 7004"/>
                <a:gd name="T116" fmla="*/ 7404 w 7671"/>
                <a:gd name="T117" fmla="*/ 3726 h 7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71" h="7004">
                  <a:moveTo>
                    <a:pt x="7585" y="2716"/>
                  </a:moveTo>
                  <a:lnTo>
                    <a:pt x="6499" y="2383"/>
                  </a:lnTo>
                  <a:lnTo>
                    <a:pt x="6499" y="1573"/>
                  </a:lnTo>
                  <a:cubicBezTo>
                    <a:pt x="6499" y="1527"/>
                    <a:pt x="6473" y="1485"/>
                    <a:pt x="6432" y="1465"/>
                  </a:cubicBezTo>
                  <a:lnTo>
                    <a:pt x="3498" y="13"/>
                  </a:lnTo>
                  <a:cubicBezTo>
                    <a:pt x="3497" y="13"/>
                    <a:pt x="3497" y="13"/>
                    <a:pt x="3495" y="13"/>
                  </a:cubicBezTo>
                  <a:cubicBezTo>
                    <a:pt x="3490" y="10"/>
                    <a:pt x="3468" y="0"/>
                    <a:pt x="3436" y="2"/>
                  </a:cubicBezTo>
                  <a:cubicBezTo>
                    <a:pt x="3403" y="4"/>
                    <a:pt x="3379" y="20"/>
                    <a:pt x="3374" y="23"/>
                  </a:cubicBezTo>
                  <a:lnTo>
                    <a:pt x="3374" y="23"/>
                  </a:lnTo>
                  <a:lnTo>
                    <a:pt x="1282" y="1515"/>
                  </a:lnTo>
                  <a:cubicBezTo>
                    <a:pt x="1250" y="1538"/>
                    <a:pt x="1231" y="1574"/>
                    <a:pt x="1231" y="1613"/>
                  </a:cubicBezTo>
                  <a:lnTo>
                    <a:pt x="1231" y="2655"/>
                  </a:lnTo>
                  <a:lnTo>
                    <a:pt x="842" y="2609"/>
                  </a:lnTo>
                  <a:cubicBezTo>
                    <a:pt x="842" y="2609"/>
                    <a:pt x="841" y="2609"/>
                    <a:pt x="839" y="2609"/>
                  </a:cubicBezTo>
                  <a:cubicBezTo>
                    <a:pt x="834" y="2609"/>
                    <a:pt x="822" y="2608"/>
                    <a:pt x="811" y="2610"/>
                  </a:cubicBezTo>
                  <a:cubicBezTo>
                    <a:pt x="797" y="2612"/>
                    <a:pt x="785" y="2616"/>
                    <a:pt x="780" y="2618"/>
                  </a:cubicBezTo>
                  <a:cubicBezTo>
                    <a:pt x="780" y="2618"/>
                    <a:pt x="779" y="2618"/>
                    <a:pt x="779" y="2618"/>
                  </a:cubicBezTo>
                  <a:lnTo>
                    <a:pt x="72" y="2932"/>
                  </a:lnTo>
                  <a:cubicBezTo>
                    <a:pt x="28" y="2951"/>
                    <a:pt x="0" y="2994"/>
                    <a:pt x="0" y="3042"/>
                  </a:cubicBezTo>
                  <a:lnTo>
                    <a:pt x="0" y="5060"/>
                  </a:lnTo>
                  <a:cubicBezTo>
                    <a:pt x="0" y="5105"/>
                    <a:pt x="24" y="5145"/>
                    <a:pt x="63" y="5166"/>
                  </a:cubicBezTo>
                  <a:lnTo>
                    <a:pt x="772" y="5555"/>
                  </a:lnTo>
                  <a:cubicBezTo>
                    <a:pt x="772" y="5555"/>
                    <a:pt x="790" y="5566"/>
                    <a:pt x="813" y="5568"/>
                  </a:cubicBezTo>
                  <a:cubicBezTo>
                    <a:pt x="833" y="5571"/>
                    <a:pt x="847" y="5568"/>
                    <a:pt x="847" y="5568"/>
                  </a:cubicBezTo>
                  <a:lnTo>
                    <a:pt x="1231" y="5513"/>
                  </a:lnTo>
                  <a:lnTo>
                    <a:pt x="1231" y="5735"/>
                  </a:lnTo>
                  <a:cubicBezTo>
                    <a:pt x="1231" y="5779"/>
                    <a:pt x="1255" y="5820"/>
                    <a:pt x="1294" y="5841"/>
                  </a:cubicBezTo>
                  <a:lnTo>
                    <a:pt x="3386" y="6987"/>
                  </a:lnTo>
                  <a:cubicBezTo>
                    <a:pt x="3386" y="6987"/>
                    <a:pt x="3409" y="7001"/>
                    <a:pt x="3440" y="7002"/>
                  </a:cubicBezTo>
                  <a:cubicBezTo>
                    <a:pt x="3463" y="7004"/>
                    <a:pt x="3486" y="6995"/>
                    <a:pt x="3486" y="6995"/>
                  </a:cubicBezTo>
                  <a:lnTo>
                    <a:pt x="3486" y="6994"/>
                  </a:lnTo>
                  <a:lnTo>
                    <a:pt x="3486" y="6994"/>
                  </a:lnTo>
                  <a:lnTo>
                    <a:pt x="6420" y="5879"/>
                  </a:lnTo>
                  <a:lnTo>
                    <a:pt x="7592" y="5433"/>
                  </a:lnTo>
                  <a:cubicBezTo>
                    <a:pt x="7639" y="5416"/>
                    <a:pt x="7670" y="5371"/>
                    <a:pt x="7670" y="5321"/>
                  </a:cubicBezTo>
                  <a:lnTo>
                    <a:pt x="7670" y="2832"/>
                  </a:lnTo>
                  <a:cubicBezTo>
                    <a:pt x="7671" y="2779"/>
                    <a:pt x="7636" y="2732"/>
                    <a:pt x="7585" y="2716"/>
                  </a:cubicBezTo>
                  <a:close/>
                  <a:moveTo>
                    <a:pt x="337" y="4559"/>
                  </a:moveTo>
                  <a:cubicBezTo>
                    <a:pt x="337" y="4571"/>
                    <a:pt x="331" y="4583"/>
                    <a:pt x="321" y="4591"/>
                  </a:cubicBezTo>
                  <a:cubicBezTo>
                    <a:pt x="313" y="4596"/>
                    <a:pt x="305" y="4599"/>
                    <a:pt x="296" y="4599"/>
                  </a:cubicBezTo>
                  <a:cubicBezTo>
                    <a:pt x="293" y="4599"/>
                    <a:pt x="289" y="4598"/>
                    <a:pt x="286" y="4597"/>
                  </a:cubicBezTo>
                  <a:lnTo>
                    <a:pt x="151" y="4560"/>
                  </a:lnTo>
                  <a:cubicBezTo>
                    <a:pt x="134" y="4555"/>
                    <a:pt x="122" y="4539"/>
                    <a:pt x="122" y="4521"/>
                  </a:cubicBezTo>
                  <a:lnTo>
                    <a:pt x="122" y="4147"/>
                  </a:lnTo>
                  <a:cubicBezTo>
                    <a:pt x="122" y="4136"/>
                    <a:pt x="126" y="4125"/>
                    <a:pt x="135" y="4117"/>
                  </a:cubicBezTo>
                  <a:cubicBezTo>
                    <a:pt x="143" y="4109"/>
                    <a:pt x="155" y="4106"/>
                    <a:pt x="166" y="4107"/>
                  </a:cubicBezTo>
                  <a:lnTo>
                    <a:pt x="300" y="4120"/>
                  </a:lnTo>
                  <a:cubicBezTo>
                    <a:pt x="321" y="4122"/>
                    <a:pt x="336" y="4139"/>
                    <a:pt x="336" y="4160"/>
                  </a:cubicBezTo>
                  <a:lnTo>
                    <a:pt x="336" y="4559"/>
                  </a:lnTo>
                  <a:lnTo>
                    <a:pt x="337" y="4559"/>
                  </a:lnTo>
                  <a:close/>
                  <a:moveTo>
                    <a:pt x="337" y="3761"/>
                  </a:moveTo>
                  <a:cubicBezTo>
                    <a:pt x="337" y="3782"/>
                    <a:pt x="321" y="3800"/>
                    <a:pt x="300" y="3802"/>
                  </a:cubicBezTo>
                  <a:lnTo>
                    <a:pt x="165" y="3813"/>
                  </a:lnTo>
                  <a:lnTo>
                    <a:pt x="162" y="3813"/>
                  </a:lnTo>
                  <a:cubicBezTo>
                    <a:pt x="152" y="3813"/>
                    <a:pt x="142" y="3809"/>
                    <a:pt x="135" y="3802"/>
                  </a:cubicBezTo>
                  <a:cubicBezTo>
                    <a:pt x="126" y="3795"/>
                    <a:pt x="122" y="3784"/>
                    <a:pt x="122" y="3773"/>
                  </a:cubicBezTo>
                  <a:lnTo>
                    <a:pt x="122" y="3398"/>
                  </a:lnTo>
                  <a:cubicBezTo>
                    <a:pt x="122" y="3380"/>
                    <a:pt x="134" y="3364"/>
                    <a:pt x="152" y="3359"/>
                  </a:cubicBezTo>
                  <a:lnTo>
                    <a:pt x="286" y="3324"/>
                  </a:lnTo>
                  <a:cubicBezTo>
                    <a:pt x="298" y="3321"/>
                    <a:pt x="311" y="3323"/>
                    <a:pt x="321" y="3331"/>
                  </a:cubicBezTo>
                  <a:cubicBezTo>
                    <a:pt x="331" y="3339"/>
                    <a:pt x="337" y="3350"/>
                    <a:pt x="337" y="3363"/>
                  </a:cubicBezTo>
                  <a:lnTo>
                    <a:pt x="337" y="3761"/>
                  </a:lnTo>
                  <a:lnTo>
                    <a:pt x="337" y="3761"/>
                  </a:lnTo>
                  <a:close/>
                  <a:moveTo>
                    <a:pt x="729" y="4668"/>
                  </a:moveTo>
                  <a:cubicBezTo>
                    <a:pt x="729" y="4680"/>
                    <a:pt x="723" y="4692"/>
                    <a:pt x="714" y="4700"/>
                  </a:cubicBezTo>
                  <a:cubicBezTo>
                    <a:pt x="706" y="4705"/>
                    <a:pt x="698" y="4708"/>
                    <a:pt x="689" y="4708"/>
                  </a:cubicBezTo>
                  <a:cubicBezTo>
                    <a:pt x="686" y="4708"/>
                    <a:pt x="682" y="4707"/>
                    <a:pt x="678" y="4706"/>
                  </a:cubicBezTo>
                  <a:lnTo>
                    <a:pt x="494" y="4655"/>
                  </a:lnTo>
                  <a:cubicBezTo>
                    <a:pt x="477" y="4651"/>
                    <a:pt x="465" y="4635"/>
                    <a:pt x="465" y="4617"/>
                  </a:cubicBezTo>
                  <a:lnTo>
                    <a:pt x="465" y="4180"/>
                  </a:lnTo>
                  <a:cubicBezTo>
                    <a:pt x="465" y="4169"/>
                    <a:pt x="470" y="4158"/>
                    <a:pt x="478" y="4150"/>
                  </a:cubicBezTo>
                  <a:cubicBezTo>
                    <a:pt x="486" y="4143"/>
                    <a:pt x="498" y="4139"/>
                    <a:pt x="509" y="4140"/>
                  </a:cubicBezTo>
                  <a:lnTo>
                    <a:pt x="693" y="4158"/>
                  </a:lnTo>
                  <a:cubicBezTo>
                    <a:pt x="714" y="4160"/>
                    <a:pt x="729" y="4178"/>
                    <a:pt x="729" y="4198"/>
                  </a:cubicBezTo>
                  <a:lnTo>
                    <a:pt x="729" y="4668"/>
                  </a:lnTo>
                  <a:lnTo>
                    <a:pt x="729" y="4668"/>
                  </a:lnTo>
                  <a:close/>
                  <a:moveTo>
                    <a:pt x="729" y="3729"/>
                  </a:moveTo>
                  <a:cubicBezTo>
                    <a:pt x="729" y="3750"/>
                    <a:pt x="713" y="3767"/>
                    <a:pt x="692" y="3769"/>
                  </a:cubicBezTo>
                  <a:lnTo>
                    <a:pt x="508" y="3784"/>
                  </a:lnTo>
                  <a:lnTo>
                    <a:pt x="505" y="3784"/>
                  </a:lnTo>
                  <a:cubicBezTo>
                    <a:pt x="495" y="3784"/>
                    <a:pt x="485" y="3781"/>
                    <a:pt x="478" y="3774"/>
                  </a:cubicBezTo>
                  <a:cubicBezTo>
                    <a:pt x="469" y="3766"/>
                    <a:pt x="465" y="3756"/>
                    <a:pt x="465" y="3744"/>
                  </a:cubicBezTo>
                  <a:lnTo>
                    <a:pt x="465" y="3308"/>
                  </a:lnTo>
                  <a:cubicBezTo>
                    <a:pt x="465" y="3290"/>
                    <a:pt x="477" y="3274"/>
                    <a:pt x="495" y="3269"/>
                  </a:cubicBezTo>
                  <a:lnTo>
                    <a:pt x="679" y="3221"/>
                  </a:lnTo>
                  <a:cubicBezTo>
                    <a:pt x="691" y="3217"/>
                    <a:pt x="704" y="3220"/>
                    <a:pt x="714" y="3228"/>
                  </a:cubicBezTo>
                  <a:cubicBezTo>
                    <a:pt x="723" y="3235"/>
                    <a:pt x="729" y="3247"/>
                    <a:pt x="729" y="3260"/>
                  </a:cubicBezTo>
                  <a:lnTo>
                    <a:pt x="729" y="3729"/>
                  </a:lnTo>
                  <a:close/>
                  <a:moveTo>
                    <a:pt x="1737" y="4948"/>
                  </a:moveTo>
                  <a:cubicBezTo>
                    <a:pt x="1737" y="4960"/>
                    <a:pt x="1731" y="4972"/>
                    <a:pt x="1721" y="4980"/>
                  </a:cubicBezTo>
                  <a:cubicBezTo>
                    <a:pt x="1714" y="4985"/>
                    <a:pt x="1706" y="4988"/>
                    <a:pt x="1697" y="4988"/>
                  </a:cubicBezTo>
                  <a:cubicBezTo>
                    <a:pt x="1693" y="4988"/>
                    <a:pt x="1690" y="4987"/>
                    <a:pt x="1686" y="4986"/>
                  </a:cubicBezTo>
                  <a:lnTo>
                    <a:pt x="1449" y="4920"/>
                  </a:lnTo>
                  <a:cubicBezTo>
                    <a:pt x="1431" y="4916"/>
                    <a:pt x="1419" y="4900"/>
                    <a:pt x="1419" y="4882"/>
                  </a:cubicBezTo>
                  <a:lnTo>
                    <a:pt x="1419" y="4274"/>
                  </a:lnTo>
                  <a:cubicBezTo>
                    <a:pt x="1419" y="4262"/>
                    <a:pt x="1424" y="4251"/>
                    <a:pt x="1432" y="4244"/>
                  </a:cubicBezTo>
                  <a:cubicBezTo>
                    <a:pt x="1441" y="4236"/>
                    <a:pt x="1452" y="4232"/>
                    <a:pt x="1463" y="4233"/>
                  </a:cubicBezTo>
                  <a:lnTo>
                    <a:pt x="1701" y="4257"/>
                  </a:lnTo>
                  <a:cubicBezTo>
                    <a:pt x="1721" y="4259"/>
                    <a:pt x="1737" y="4276"/>
                    <a:pt x="1737" y="4297"/>
                  </a:cubicBezTo>
                  <a:lnTo>
                    <a:pt x="1737" y="4948"/>
                  </a:lnTo>
                  <a:close/>
                  <a:moveTo>
                    <a:pt x="1737" y="3646"/>
                  </a:moveTo>
                  <a:cubicBezTo>
                    <a:pt x="1737" y="3667"/>
                    <a:pt x="1721" y="3684"/>
                    <a:pt x="1700" y="3686"/>
                  </a:cubicBezTo>
                  <a:lnTo>
                    <a:pt x="1463" y="3705"/>
                  </a:lnTo>
                  <a:cubicBezTo>
                    <a:pt x="1462" y="3706"/>
                    <a:pt x="1461" y="3706"/>
                    <a:pt x="1459" y="3706"/>
                  </a:cubicBezTo>
                  <a:cubicBezTo>
                    <a:pt x="1449" y="3706"/>
                    <a:pt x="1440" y="3702"/>
                    <a:pt x="1432" y="3695"/>
                  </a:cubicBezTo>
                  <a:cubicBezTo>
                    <a:pt x="1424" y="3687"/>
                    <a:pt x="1419" y="3677"/>
                    <a:pt x="1419" y="3665"/>
                  </a:cubicBezTo>
                  <a:lnTo>
                    <a:pt x="1419" y="3057"/>
                  </a:lnTo>
                  <a:cubicBezTo>
                    <a:pt x="1419" y="3039"/>
                    <a:pt x="1432" y="3023"/>
                    <a:pt x="1449" y="3018"/>
                  </a:cubicBezTo>
                  <a:lnTo>
                    <a:pt x="1687" y="2956"/>
                  </a:lnTo>
                  <a:cubicBezTo>
                    <a:pt x="1699" y="2953"/>
                    <a:pt x="1712" y="2955"/>
                    <a:pt x="1721" y="2963"/>
                  </a:cubicBezTo>
                  <a:cubicBezTo>
                    <a:pt x="1731" y="2970"/>
                    <a:pt x="1737" y="2982"/>
                    <a:pt x="1737" y="2995"/>
                  </a:cubicBezTo>
                  <a:lnTo>
                    <a:pt x="1737" y="3646"/>
                  </a:lnTo>
                  <a:close/>
                  <a:moveTo>
                    <a:pt x="1737" y="2344"/>
                  </a:moveTo>
                  <a:cubicBezTo>
                    <a:pt x="1737" y="2360"/>
                    <a:pt x="1728" y="2374"/>
                    <a:pt x="1713" y="2381"/>
                  </a:cubicBezTo>
                  <a:lnTo>
                    <a:pt x="1476" y="2486"/>
                  </a:lnTo>
                  <a:cubicBezTo>
                    <a:pt x="1471" y="2488"/>
                    <a:pt x="1465" y="2489"/>
                    <a:pt x="1460" y="2489"/>
                  </a:cubicBezTo>
                  <a:cubicBezTo>
                    <a:pt x="1452" y="2489"/>
                    <a:pt x="1444" y="2487"/>
                    <a:pt x="1437" y="2483"/>
                  </a:cubicBezTo>
                  <a:cubicBezTo>
                    <a:pt x="1426" y="2475"/>
                    <a:pt x="1419" y="2463"/>
                    <a:pt x="1419" y="2449"/>
                  </a:cubicBezTo>
                  <a:lnTo>
                    <a:pt x="1419" y="1841"/>
                  </a:lnTo>
                  <a:cubicBezTo>
                    <a:pt x="1419" y="1827"/>
                    <a:pt x="1426" y="1814"/>
                    <a:pt x="1438" y="1807"/>
                  </a:cubicBezTo>
                  <a:lnTo>
                    <a:pt x="1676" y="1659"/>
                  </a:lnTo>
                  <a:cubicBezTo>
                    <a:pt x="1688" y="1651"/>
                    <a:pt x="1704" y="1651"/>
                    <a:pt x="1716" y="1658"/>
                  </a:cubicBezTo>
                  <a:cubicBezTo>
                    <a:pt x="1729" y="1665"/>
                    <a:pt x="1737" y="1678"/>
                    <a:pt x="1737" y="1693"/>
                  </a:cubicBezTo>
                  <a:lnTo>
                    <a:pt x="1737" y="2344"/>
                  </a:lnTo>
                  <a:lnTo>
                    <a:pt x="1737" y="2344"/>
                  </a:lnTo>
                  <a:close/>
                  <a:moveTo>
                    <a:pt x="2329" y="5112"/>
                  </a:moveTo>
                  <a:cubicBezTo>
                    <a:pt x="2329" y="5124"/>
                    <a:pt x="2323" y="5136"/>
                    <a:pt x="2313" y="5144"/>
                  </a:cubicBezTo>
                  <a:cubicBezTo>
                    <a:pt x="2306" y="5149"/>
                    <a:pt x="2297" y="5152"/>
                    <a:pt x="2289" y="5152"/>
                  </a:cubicBezTo>
                  <a:cubicBezTo>
                    <a:pt x="2285" y="5152"/>
                    <a:pt x="2281" y="5152"/>
                    <a:pt x="2278" y="5151"/>
                  </a:cubicBezTo>
                  <a:lnTo>
                    <a:pt x="1960" y="5062"/>
                  </a:lnTo>
                  <a:cubicBezTo>
                    <a:pt x="1942" y="5058"/>
                    <a:pt x="1930" y="5042"/>
                    <a:pt x="1930" y="5024"/>
                  </a:cubicBezTo>
                  <a:lnTo>
                    <a:pt x="1930" y="4323"/>
                  </a:lnTo>
                  <a:cubicBezTo>
                    <a:pt x="1930" y="4312"/>
                    <a:pt x="1935" y="4301"/>
                    <a:pt x="1943" y="4293"/>
                  </a:cubicBezTo>
                  <a:cubicBezTo>
                    <a:pt x="1952" y="4286"/>
                    <a:pt x="1963" y="4282"/>
                    <a:pt x="1974" y="4283"/>
                  </a:cubicBezTo>
                  <a:lnTo>
                    <a:pt x="2292" y="4314"/>
                  </a:lnTo>
                  <a:cubicBezTo>
                    <a:pt x="2313" y="4316"/>
                    <a:pt x="2329" y="4334"/>
                    <a:pt x="2329" y="4354"/>
                  </a:cubicBezTo>
                  <a:lnTo>
                    <a:pt x="2329" y="5112"/>
                  </a:lnTo>
                  <a:close/>
                  <a:moveTo>
                    <a:pt x="2329" y="3597"/>
                  </a:moveTo>
                  <a:cubicBezTo>
                    <a:pt x="2329" y="3618"/>
                    <a:pt x="2313" y="3635"/>
                    <a:pt x="2292" y="3637"/>
                  </a:cubicBezTo>
                  <a:lnTo>
                    <a:pt x="1974" y="3663"/>
                  </a:lnTo>
                  <a:cubicBezTo>
                    <a:pt x="1973" y="3663"/>
                    <a:pt x="1971" y="3664"/>
                    <a:pt x="1970" y="3664"/>
                  </a:cubicBezTo>
                  <a:cubicBezTo>
                    <a:pt x="1960" y="3664"/>
                    <a:pt x="1951" y="3660"/>
                    <a:pt x="1943" y="3653"/>
                  </a:cubicBezTo>
                  <a:cubicBezTo>
                    <a:pt x="1935" y="3645"/>
                    <a:pt x="1930" y="3634"/>
                    <a:pt x="1930" y="3623"/>
                  </a:cubicBezTo>
                  <a:lnTo>
                    <a:pt x="1930" y="2923"/>
                  </a:lnTo>
                  <a:cubicBezTo>
                    <a:pt x="1930" y="2905"/>
                    <a:pt x="1942" y="2889"/>
                    <a:pt x="1960" y="2884"/>
                  </a:cubicBezTo>
                  <a:lnTo>
                    <a:pt x="2278" y="2800"/>
                  </a:lnTo>
                  <a:cubicBezTo>
                    <a:pt x="2290" y="2797"/>
                    <a:pt x="2303" y="2800"/>
                    <a:pt x="2313" y="2807"/>
                  </a:cubicBezTo>
                  <a:cubicBezTo>
                    <a:pt x="2323" y="2815"/>
                    <a:pt x="2329" y="2827"/>
                    <a:pt x="2329" y="2839"/>
                  </a:cubicBezTo>
                  <a:lnTo>
                    <a:pt x="2329" y="3597"/>
                  </a:lnTo>
                  <a:lnTo>
                    <a:pt x="2329" y="3597"/>
                  </a:lnTo>
                  <a:close/>
                  <a:moveTo>
                    <a:pt x="2329" y="2082"/>
                  </a:moveTo>
                  <a:cubicBezTo>
                    <a:pt x="2329" y="2098"/>
                    <a:pt x="2319" y="2112"/>
                    <a:pt x="2305" y="2119"/>
                  </a:cubicBezTo>
                  <a:lnTo>
                    <a:pt x="1987" y="2260"/>
                  </a:lnTo>
                  <a:cubicBezTo>
                    <a:pt x="1982" y="2262"/>
                    <a:pt x="1976" y="2263"/>
                    <a:pt x="1970" y="2263"/>
                  </a:cubicBezTo>
                  <a:cubicBezTo>
                    <a:pt x="1963" y="2263"/>
                    <a:pt x="1955" y="2261"/>
                    <a:pt x="1949" y="2257"/>
                  </a:cubicBezTo>
                  <a:cubicBezTo>
                    <a:pt x="1937" y="2249"/>
                    <a:pt x="1930" y="2236"/>
                    <a:pt x="1930" y="2223"/>
                  </a:cubicBezTo>
                  <a:lnTo>
                    <a:pt x="1930" y="1523"/>
                  </a:lnTo>
                  <a:cubicBezTo>
                    <a:pt x="1930" y="1509"/>
                    <a:pt x="1938" y="1496"/>
                    <a:pt x="1949" y="1489"/>
                  </a:cubicBezTo>
                  <a:lnTo>
                    <a:pt x="2267" y="1290"/>
                  </a:lnTo>
                  <a:cubicBezTo>
                    <a:pt x="2280" y="1282"/>
                    <a:pt x="2295" y="1282"/>
                    <a:pt x="2308" y="1289"/>
                  </a:cubicBezTo>
                  <a:cubicBezTo>
                    <a:pt x="2321" y="1296"/>
                    <a:pt x="2329" y="1310"/>
                    <a:pt x="2329" y="1324"/>
                  </a:cubicBezTo>
                  <a:lnTo>
                    <a:pt x="2329" y="2082"/>
                  </a:lnTo>
                  <a:lnTo>
                    <a:pt x="2329" y="2082"/>
                  </a:lnTo>
                  <a:close/>
                  <a:moveTo>
                    <a:pt x="3152" y="5341"/>
                  </a:moveTo>
                  <a:cubicBezTo>
                    <a:pt x="3152" y="5352"/>
                    <a:pt x="3147" y="5364"/>
                    <a:pt x="3139" y="5372"/>
                  </a:cubicBezTo>
                  <a:cubicBezTo>
                    <a:pt x="3124" y="5387"/>
                    <a:pt x="3104" y="5387"/>
                    <a:pt x="3098" y="5387"/>
                  </a:cubicBezTo>
                  <a:lnTo>
                    <a:pt x="3097" y="5387"/>
                  </a:lnTo>
                  <a:cubicBezTo>
                    <a:pt x="3018" y="5387"/>
                    <a:pt x="2710" y="5276"/>
                    <a:pt x="2650" y="5254"/>
                  </a:cubicBezTo>
                  <a:cubicBezTo>
                    <a:pt x="2634" y="5248"/>
                    <a:pt x="2623" y="5233"/>
                    <a:pt x="2623" y="5216"/>
                  </a:cubicBezTo>
                  <a:lnTo>
                    <a:pt x="2623" y="4391"/>
                  </a:lnTo>
                  <a:cubicBezTo>
                    <a:pt x="2623" y="4380"/>
                    <a:pt x="2628" y="4369"/>
                    <a:pt x="2636" y="4361"/>
                  </a:cubicBezTo>
                  <a:cubicBezTo>
                    <a:pt x="2645" y="4354"/>
                    <a:pt x="2656" y="4350"/>
                    <a:pt x="2667" y="4351"/>
                  </a:cubicBezTo>
                  <a:lnTo>
                    <a:pt x="3115" y="4395"/>
                  </a:lnTo>
                  <a:cubicBezTo>
                    <a:pt x="3136" y="4397"/>
                    <a:pt x="3152" y="4414"/>
                    <a:pt x="3152" y="4435"/>
                  </a:cubicBezTo>
                  <a:cubicBezTo>
                    <a:pt x="3152" y="4444"/>
                    <a:pt x="3152" y="5302"/>
                    <a:pt x="3152" y="5341"/>
                  </a:cubicBezTo>
                  <a:close/>
                  <a:moveTo>
                    <a:pt x="3152" y="3529"/>
                  </a:moveTo>
                  <a:cubicBezTo>
                    <a:pt x="3152" y="3550"/>
                    <a:pt x="3136" y="3567"/>
                    <a:pt x="3115" y="3569"/>
                  </a:cubicBezTo>
                  <a:lnTo>
                    <a:pt x="2667" y="3606"/>
                  </a:lnTo>
                  <a:cubicBezTo>
                    <a:pt x="2665" y="3606"/>
                    <a:pt x="2664" y="3606"/>
                    <a:pt x="2663" y="3606"/>
                  </a:cubicBezTo>
                  <a:cubicBezTo>
                    <a:pt x="2653" y="3606"/>
                    <a:pt x="2643" y="3602"/>
                    <a:pt x="2636" y="3595"/>
                  </a:cubicBezTo>
                  <a:cubicBezTo>
                    <a:pt x="2628" y="3588"/>
                    <a:pt x="2623" y="3577"/>
                    <a:pt x="2623" y="3566"/>
                  </a:cubicBezTo>
                  <a:lnTo>
                    <a:pt x="2623" y="2741"/>
                  </a:lnTo>
                  <a:cubicBezTo>
                    <a:pt x="2623" y="2722"/>
                    <a:pt x="2635" y="2706"/>
                    <a:pt x="2653" y="2702"/>
                  </a:cubicBezTo>
                  <a:lnTo>
                    <a:pt x="3101" y="2584"/>
                  </a:lnTo>
                  <a:cubicBezTo>
                    <a:pt x="3113" y="2581"/>
                    <a:pt x="3126" y="2583"/>
                    <a:pt x="3136" y="2591"/>
                  </a:cubicBezTo>
                  <a:cubicBezTo>
                    <a:pt x="3146" y="2599"/>
                    <a:pt x="3152" y="2610"/>
                    <a:pt x="3152" y="2623"/>
                  </a:cubicBezTo>
                  <a:lnTo>
                    <a:pt x="3152" y="3529"/>
                  </a:lnTo>
                  <a:lnTo>
                    <a:pt x="3152" y="3529"/>
                  </a:lnTo>
                  <a:close/>
                  <a:moveTo>
                    <a:pt x="3152" y="1717"/>
                  </a:moveTo>
                  <a:cubicBezTo>
                    <a:pt x="3152" y="1733"/>
                    <a:pt x="3142" y="1748"/>
                    <a:pt x="3128" y="1754"/>
                  </a:cubicBezTo>
                  <a:lnTo>
                    <a:pt x="2680" y="1953"/>
                  </a:lnTo>
                  <a:cubicBezTo>
                    <a:pt x="2674" y="1955"/>
                    <a:pt x="2669" y="1956"/>
                    <a:pt x="2663" y="1956"/>
                  </a:cubicBezTo>
                  <a:cubicBezTo>
                    <a:pt x="2656" y="1956"/>
                    <a:pt x="2648" y="1954"/>
                    <a:pt x="2641" y="1950"/>
                  </a:cubicBezTo>
                  <a:cubicBezTo>
                    <a:pt x="2630" y="1942"/>
                    <a:pt x="2623" y="1930"/>
                    <a:pt x="2623" y="1916"/>
                  </a:cubicBezTo>
                  <a:lnTo>
                    <a:pt x="2623" y="1091"/>
                  </a:lnTo>
                  <a:cubicBezTo>
                    <a:pt x="2623" y="1077"/>
                    <a:pt x="2630" y="1064"/>
                    <a:pt x="2642" y="1057"/>
                  </a:cubicBezTo>
                  <a:lnTo>
                    <a:pt x="3090" y="777"/>
                  </a:lnTo>
                  <a:cubicBezTo>
                    <a:pt x="3103" y="769"/>
                    <a:pt x="3118" y="769"/>
                    <a:pt x="3131" y="776"/>
                  </a:cubicBezTo>
                  <a:cubicBezTo>
                    <a:pt x="3144" y="783"/>
                    <a:pt x="3152" y="797"/>
                    <a:pt x="3152" y="811"/>
                  </a:cubicBezTo>
                  <a:lnTo>
                    <a:pt x="3152" y="1717"/>
                  </a:lnTo>
                  <a:lnTo>
                    <a:pt x="3152" y="1717"/>
                  </a:lnTo>
                  <a:close/>
                  <a:moveTo>
                    <a:pt x="4934" y="1266"/>
                  </a:moveTo>
                  <a:cubicBezTo>
                    <a:pt x="4934" y="1252"/>
                    <a:pt x="4941" y="1240"/>
                    <a:pt x="4952" y="1232"/>
                  </a:cubicBezTo>
                  <a:cubicBezTo>
                    <a:pt x="4963" y="1225"/>
                    <a:pt x="4978" y="1224"/>
                    <a:pt x="4990" y="1229"/>
                  </a:cubicBezTo>
                  <a:lnTo>
                    <a:pt x="5469" y="1436"/>
                  </a:lnTo>
                  <a:cubicBezTo>
                    <a:pt x="5483" y="1442"/>
                    <a:pt x="5493" y="1457"/>
                    <a:pt x="5493" y="1473"/>
                  </a:cubicBezTo>
                  <a:lnTo>
                    <a:pt x="5493" y="2187"/>
                  </a:lnTo>
                  <a:cubicBezTo>
                    <a:pt x="5493" y="2200"/>
                    <a:pt x="5487" y="2212"/>
                    <a:pt x="5477" y="2220"/>
                  </a:cubicBezTo>
                  <a:cubicBezTo>
                    <a:pt x="5470" y="2225"/>
                    <a:pt x="5461" y="2228"/>
                    <a:pt x="5453" y="2228"/>
                  </a:cubicBezTo>
                  <a:cubicBezTo>
                    <a:pt x="5449" y="2228"/>
                    <a:pt x="5445" y="2227"/>
                    <a:pt x="5441" y="2226"/>
                  </a:cubicBezTo>
                  <a:lnTo>
                    <a:pt x="4963" y="2079"/>
                  </a:lnTo>
                  <a:cubicBezTo>
                    <a:pt x="4946" y="2074"/>
                    <a:pt x="4934" y="2058"/>
                    <a:pt x="4934" y="2040"/>
                  </a:cubicBezTo>
                  <a:lnTo>
                    <a:pt x="4934" y="1266"/>
                  </a:lnTo>
                  <a:lnTo>
                    <a:pt x="4934" y="1266"/>
                  </a:lnTo>
                  <a:close/>
                  <a:moveTo>
                    <a:pt x="4934" y="2815"/>
                  </a:moveTo>
                  <a:cubicBezTo>
                    <a:pt x="4934" y="2803"/>
                    <a:pt x="4939" y="2791"/>
                    <a:pt x="4948" y="2784"/>
                  </a:cubicBezTo>
                  <a:cubicBezTo>
                    <a:pt x="4958" y="2776"/>
                    <a:pt x="4970" y="2773"/>
                    <a:pt x="4981" y="2775"/>
                  </a:cubicBezTo>
                  <a:lnTo>
                    <a:pt x="5460" y="2862"/>
                  </a:lnTo>
                  <a:cubicBezTo>
                    <a:pt x="5479" y="2866"/>
                    <a:pt x="5493" y="2882"/>
                    <a:pt x="5493" y="2902"/>
                  </a:cubicBezTo>
                  <a:lnTo>
                    <a:pt x="5493" y="3623"/>
                  </a:lnTo>
                  <a:cubicBezTo>
                    <a:pt x="5493" y="3634"/>
                    <a:pt x="5488" y="3645"/>
                    <a:pt x="5480" y="3653"/>
                  </a:cubicBezTo>
                  <a:cubicBezTo>
                    <a:pt x="5473" y="3660"/>
                    <a:pt x="5463" y="3664"/>
                    <a:pt x="5453" y="3664"/>
                  </a:cubicBezTo>
                  <a:cubicBezTo>
                    <a:pt x="5452" y="3664"/>
                    <a:pt x="5451" y="3663"/>
                    <a:pt x="5450" y="3663"/>
                  </a:cubicBezTo>
                  <a:lnTo>
                    <a:pt x="4971" y="3629"/>
                  </a:lnTo>
                  <a:cubicBezTo>
                    <a:pt x="4950" y="3628"/>
                    <a:pt x="4934" y="3610"/>
                    <a:pt x="4934" y="3589"/>
                  </a:cubicBezTo>
                  <a:lnTo>
                    <a:pt x="4934" y="2815"/>
                  </a:lnTo>
                  <a:close/>
                  <a:moveTo>
                    <a:pt x="3688" y="727"/>
                  </a:moveTo>
                  <a:cubicBezTo>
                    <a:pt x="3688" y="714"/>
                    <a:pt x="3695" y="701"/>
                    <a:pt x="3706" y="694"/>
                  </a:cubicBezTo>
                  <a:cubicBezTo>
                    <a:pt x="3718" y="686"/>
                    <a:pt x="3732" y="685"/>
                    <a:pt x="3744" y="690"/>
                  </a:cubicBezTo>
                  <a:lnTo>
                    <a:pt x="4424" y="984"/>
                  </a:lnTo>
                  <a:cubicBezTo>
                    <a:pt x="4439" y="991"/>
                    <a:pt x="4449" y="1005"/>
                    <a:pt x="4449" y="1021"/>
                  </a:cubicBezTo>
                  <a:lnTo>
                    <a:pt x="4449" y="1867"/>
                  </a:lnTo>
                  <a:cubicBezTo>
                    <a:pt x="4449" y="1879"/>
                    <a:pt x="4442" y="1891"/>
                    <a:pt x="4432" y="1899"/>
                  </a:cubicBezTo>
                  <a:cubicBezTo>
                    <a:pt x="4425" y="1904"/>
                    <a:pt x="4417" y="1907"/>
                    <a:pt x="4408" y="1907"/>
                  </a:cubicBezTo>
                  <a:cubicBezTo>
                    <a:pt x="4404" y="1907"/>
                    <a:pt x="4400" y="1906"/>
                    <a:pt x="4396" y="1905"/>
                  </a:cubicBezTo>
                  <a:lnTo>
                    <a:pt x="3717" y="1696"/>
                  </a:lnTo>
                  <a:cubicBezTo>
                    <a:pt x="3700" y="1691"/>
                    <a:pt x="3688" y="1675"/>
                    <a:pt x="3688" y="1658"/>
                  </a:cubicBezTo>
                  <a:lnTo>
                    <a:pt x="3688" y="727"/>
                  </a:lnTo>
                  <a:lnTo>
                    <a:pt x="3688" y="727"/>
                  </a:lnTo>
                  <a:close/>
                  <a:moveTo>
                    <a:pt x="3688" y="3518"/>
                  </a:moveTo>
                  <a:lnTo>
                    <a:pt x="3688" y="2588"/>
                  </a:lnTo>
                  <a:cubicBezTo>
                    <a:pt x="3688" y="2576"/>
                    <a:pt x="3694" y="2564"/>
                    <a:pt x="3703" y="2557"/>
                  </a:cubicBezTo>
                  <a:cubicBezTo>
                    <a:pt x="3712" y="2549"/>
                    <a:pt x="3724" y="2546"/>
                    <a:pt x="3736" y="2548"/>
                  </a:cubicBezTo>
                  <a:lnTo>
                    <a:pt x="4415" y="2672"/>
                  </a:lnTo>
                  <a:cubicBezTo>
                    <a:pt x="4434" y="2676"/>
                    <a:pt x="4448" y="2692"/>
                    <a:pt x="4448" y="2712"/>
                  </a:cubicBezTo>
                  <a:lnTo>
                    <a:pt x="4448" y="3557"/>
                  </a:lnTo>
                  <a:cubicBezTo>
                    <a:pt x="4448" y="3568"/>
                    <a:pt x="4444" y="3579"/>
                    <a:pt x="4436" y="3586"/>
                  </a:cubicBezTo>
                  <a:cubicBezTo>
                    <a:pt x="4428" y="3593"/>
                    <a:pt x="4418" y="3597"/>
                    <a:pt x="4408" y="3597"/>
                  </a:cubicBezTo>
                  <a:cubicBezTo>
                    <a:pt x="4407" y="3597"/>
                    <a:pt x="4407" y="3597"/>
                    <a:pt x="4406" y="3597"/>
                  </a:cubicBezTo>
                  <a:lnTo>
                    <a:pt x="3726" y="3558"/>
                  </a:lnTo>
                  <a:cubicBezTo>
                    <a:pt x="3705" y="3557"/>
                    <a:pt x="3688" y="3539"/>
                    <a:pt x="3688" y="3518"/>
                  </a:cubicBezTo>
                  <a:close/>
                  <a:moveTo>
                    <a:pt x="5014" y="6300"/>
                  </a:moveTo>
                  <a:cubicBezTo>
                    <a:pt x="5014" y="6317"/>
                    <a:pt x="5004" y="6331"/>
                    <a:pt x="4989" y="6338"/>
                  </a:cubicBezTo>
                  <a:lnTo>
                    <a:pt x="4099" y="6676"/>
                  </a:lnTo>
                  <a:cubicBezTo>
                    <a:pt x="4094" y="6677"/>
                    <a:pt x="4089" y="6678"/>
                    <a:pt x="4085" y="6678"/>
                  </a:cubicBezTo>
                  <a:cubicBezTo>
                    <a:pt x="4077" y="6678"/>
                    <a:pt x="4069" y="6676"/>
                    <a:pt x="4062" y="6671"/>
                  </a:cubicBezTo>
                  <a:cubicBezTo>
                    <a:pt x="4051" y="6664"/>
                    <a:pt x="4045" y="6651"/>
                    <a:pt x="4045" y="6638"/>
                  </a:cubicBezTo>
                  <a:lnTo>
                    <a:pt x="4045" y="4424"/>
                  </a:lnTo>
                  <a:cubicBezTo>
                    <a:pt x="4045" y="4403"/>
                    <a:pt x="4061" y="4385"/>
                    <a:pt x="4082" y="4384"/>
                  </a:cubicBezTo>
                  <a:lnTo>
                    <a:pt x="4972" y="4323"/>
                  </a:lnTo>
                  <a:cubicBezTo>
                    <a:pt x="4983" y="4323"/>
                    <a:pt x="4994" y="4327"/>
                    <a:pt x="5002" y="4334"/>
                  </a:cubicBezTo>
                  <a:cubicBezTo>
                    <a:pt x="5010" y="4342"/>
                    <a:pt x="5015" y="4352"/>
                    <a:pt x="5015" y="4364"/>
                  </a:cubicBezTo>
                  <a:lnTo>
                    <a:pt x="5015" y="6300"/>
                  </a:lnTo>
                  <a:lnTo>
                    <a:pt x="5014" y="6300"/>
                  </a:lnTo>
                  <a:close/>
                  <a:moveTo>
                    <a:pt x="6087" y="5892"/>
                  </a:moveTo>
                  <a:cubicBezTo>
                    <a:pt x="6087" y="5909"/>
                    <a:pt x="6076" y="5924"/>
                    <a:pt x="6061" y="5930"/>
                  </a:cubicBezTo>
                  <a:lnTo>
                    <a:pt x="5467" y="6156"/>
                  </a:lnTo>
                  <a:cubicBezTo>
                    <a:pt x="5462" y="6157"/>
                    <a:pt x="5458" y="6158"/>
                    <a:pt x="5453" y="6158"/>
                  </a:cubicBezTo>
                  <a:cubicBezTo>
                    <a:pt x="5445" y="6158"/>
                    <a:pt x="5437" y="6156"/>
                    <a:pt x="5430" y="6151"/>
                  </a:cubicBezTo>
                  <a:cubicBezTo>
                    <a:pt x="5419" y="6144"/>
                    <a:pt x="5413" y="6131"/>
                    <a:pt x="5413" y="6118"/>
                  </a:cubicBezTo>
                  <a:lnTo>
                    <a:pt x="5413" y="4331"/>
                  </a:lnTo>
                  <a:cubicBezTo>
                    <a:pt x="5413" y="4310"/>
                    <a:pt x="5429" y="4293"/>
                    <a:pt x="5450" y="4291"/>
                  </a:cubicBezTo>
                  <a:lnTo>
                    <a:pt x="6044" y="4251"/>
                  </a:lnTo>
                  <a:cubicBezTo>
                    <a:pt x="6055" y="4250"/>
                    <a:pt x="6066" y="4254"/>
                    <a:pt x="6074" y="4262"/>
                  </a:cubicBezTo>
                  <a:cubicBezTo>
                    <a:pt x="6082" y="4269"/>
                    <a:pt x="6087" y="4280"/>
                    <a:pt x="6087" y="4291"/>
                  </a:cubicBezTo>
                  <a:lnTo>
                    <a:pt x="6087" y="5892"/>
                  </a:lnTo>
                  <a:close/>
                  <a:moveTo>
                    <a:pt x="6258" y="3660"/>
                  </a:moveTo>
                  <a:cubicBezTo>
                    <a:pt x="6258" y="3671"/>
                    <a:pt x="6253" y="3682"/>
                    <a:pt x="6245" y="3690"/>
                  </a:cubicBezTo>
                  <a:cubicBezTo>
                    <a:pt x="6238" y="3697"/>
                    <a:pt x="6228" y="3701"/>
                    <a:pt x="6218" y="3701"/>
                  </a:cubicBezTo>
                  <a:lnTo>
                    <a:pt x="6215" y="3701"/>
                  </a:lnTo>
                  <a:lnTo>
                    <a:pt x="5860" y="3680"/>
                  </a:lnTo>
                  <a:cubicBezTo>
                    <a:pt x="5839" y="3679"/>
                    <a:pt x="5822" y="3662"/>
                    <a:pt x="5822" y="3640"/>
                  </a:cubicBezTo>
                  <a:lnTo>
                    <a:pt x="5822" y="2977"/>
                  </a:lnTo>
                  <a:cubicBezTo>
                    <a:pt x="5822" y="2965"/>
                    <a:pt x="5828" y="2953"/>
                    <a:pt x="5837" y="2946"/>
                  </a:cubicBezTo>
                  <a:cubicBezTo>
                    <a:pt x="5846" y="2938"/>
                    <a:pt x="5858" y="2935"/>
                    <a:pt x="5870" y="2937"/>
                  </a:cubicBezTo>
                  <a:lnTo>
                    <a:pt x="6225" y="3002"/>
                  </a:lnTo>
                  <a:cubicBezTo>
                    <a:pt x="6244" y="3005"/>
                    <a:pt x="6258" y="3022"/>
                    <a:pt x="6258" y="3041"/>
                  </a:cubicBezTo>
                  <a:lnTo>
                    <a:pt x="6258" y="3660"/>
                  </a:lnTo>
                  <a:lnTo>
                    <a:pt x="6258" y="3660"/>
                  </a:lnTo>
                  <a:close/>
                  <a:moveTo>
                    <a:pt x="6258" y="2422"/>
                  </a:moveTo>
                  <a:cubicBezTo>
                    <a:pt x="6258" y="2435"/>
                    <a:pt x="6252" y="2447"/>
                    <a:pt x="6242" y="2455"/>
                  </a:cubicBezTo>
                  <a:cubicBezTo>
                    <a:pt x="6235" y="2460"/>
                    <a:pt x="6226" y="2463"/>
                    <a:pt x="6218" y="2463"/>
                  </a:cubicBezTo>
                  <a:cubicBezTo>
                    <a:pt x="6214" y="2463"/>
                    <a:pt x="6210" y="2462"/>
                    <a:pt x="6206" y="2461"/>
                  </a:cubicBezTo>
                  <a:lnTo>
                    <a:pt x="5851" y="2352"/>
                  </a:lnTo>
                  <a:cubicBezTo>
                    <a:pt x="5834" y="2346"/>
                    <a:pt x="5823" y="2331"/>
                    <a:pt x="5823" y="2313"/>
                  </a:cubicBezTo>
                  <a:lnTo>
                    <a:pt x="5823" y="1650"/>
                  </a:lnTo>
                  <a:cubicBezTo>
                    <a:pt x="5823" y="1636"/>
                    <a:pt x="5829" y="1624"/>
                    <a:pt x="5841" y="1616"/>
                  </a:cubicBezTo>
                  <a:cubicBezTo>
                    <a:pt x="5852" y="1609"/>
                    <a:pt x="5866" y="1608"/>
                    <a:pt x="5879" y="1613"/>
                  </a:cubicBezTo>
                  <a:lnTo>
                    <a:pt x="6234" y="1766"/>
                  </a:lnTo>
                  <a:cubicBezTo>
                    <a:pt x="6249" y="1773"/>
                    <a:pt x="6258" y="1787"/>
                    <a:pt x="6258" y="1803"/>
                  </a:cubicBezTo>
                  <a:lnTo>
                    <a:pt x="6258" y="2422"/>
                  </a:lnTo>
                  <a:lnTo>
                    <a:pt x="6258" y="2422"/>
                  </a:lnTo>
                  <a:close/>
                  <a:moveTo>
                    <a:pt x="6968" y="4762"/>
                  </a:moveTo>
                  <a:cubicBezTo>
                    <a:pt x="6968" y="4781"/>
                    <a:pt x="6954" y="4798"/>
                    <a:pt x="6935" y="4801"/>
                  </a:cubicBezTo>
                  <a:lnTo>
                    <a:pt x="6677" y="4851"/>
                  </a:lnTo>
                  <a:cubicBezTo>
                    <a:pt x="6674" y="4852"/>
                    <a:pt x="6672" y="4852"/>
                    <a:pt x="6669" y="4852"/>
                  </a:cubicBezTo>
                  <a:cubicBezTo>
                    <a:pt x="6660" y="4852"/>
                    <a:pt x="6651" y="4848"/>
                    <a:pt x="6644" y="4842"/>
                  </a:cubicBezTo>
                  <a:cubicBezTo>
                    <a:pt x="6635" y="4835"/>
                    <a:pt x="6629" y="4824"/>
                    <a:pt x="6629" y="4812"/>
                  </a:cubicBezTo>
                  <a:lnTo>
                    <a:pt x="6629" y="4249"/>
                  </a:lnTo>
                  <a:cubicBezTo>
                    <a:pt x="6629" y="4228"/>
                    <a:pt x="6646" y="4210"/>
                    <a:pt x="6667" y="4209"/>
                  </a:cubicBezTo>
                  <a:lnTo>
                    <a:pt x="6925" y="4191"/>
                  </a:lnTo>
                  <a:cubicBezTo>
                    <a:pt x="6936" y="4191"/>
                    <a:pt x="6947" y="4195"/>
                    <a:pt x="6955" y="4202"/>
                  </a:cubicBezTo>
                  <a:cubicBezTo>
                    <a:pt x="6963" y="4210"/>
                    <a:pt x="6968" y="4220"/>
                    <a:pt x="6968" y="4232"/>
                  </a:cubicBezTo>
                  <a:lnTo>
                    <a:pt x="6968" y="4762"/>
                  </a:lnTo>
                  <a:lnTo>
                    <a:pt x="6968" y="4762"/>
                  </a:lnTo>
                  <a:close/>
                  <a:moveTo>
                    <a:pt x="6968" y="3701"/>
                  </a:moveTo>
                  <a:cubicBezTo>
                    <a:pt x="6968" y="3712"/>
                    <a:pt x="6963" y="3723"/>
                    <a:pt x="6955" y="3730"/>
                  </a:cubicBezTo>
                  <a:cubicBezTo>
                    <a:pt x="6947" y="3737"/>
                    <a:pt x="6938" y="3741"/>
                    <a:pt x="6927" y="3741"/>
                  </a:cubicBezTo>
                  <a:lnTo>
                    <a:pt x="6925" y="3741"/>
                  </a:lnTo>
                  <a:lnTo>
                    <a:pt x="6667" y="3726"/>
                  </a:lnTo>
                  <a:cubicBezTo>
                    <a:pt x="6646" y="3725"/>
                    <a:pt x="6629" y="3708"/>
                    <a:pt x="6629" y="3686"/>
                  </a:cubicBezTo>
                  <a:lnTo>
                    <a:pt x="6629" y="3124"/>
                  </a:lnTo>
                  <a:cubicBezTo>
                    <a:pt x="6629" y="3112"/>
                    <a:pt x="6634" y="3101"/>
                    <a:pt x="6644" y="3093"/>
                  </a:cubicBezTo>
                  <a:cubicBezTo>
                    <a:pt x="6653" y="3085"/>
                    <a:pt x="6665" y="3082"/>
                    <a:pt x="6677" y="3084"/>
                  </a:cubicBezTo>
                  <a:lnTo>
                    <a:pt x="6934" y="3131"/>
                  </a:lnTo>
                  <a:cubicBezTo>
                    <a:pt x="6953" y="3135"/>
                    <a:pt x="6967" y="3151"/>
                    <a:pt x="6967" y="3171"/>
                  </a:cubicBezTo>
                  <a:lnTo>
                    <a:pt x="6967" y="3701"/>
                  </a:lnTo>
                  <a:lnTo>
                    <a:pt x="6968" y="3701"/>
                  </a:lnTo>
                  <a:close/>
                  <a:moveTo>
                    <a:pt x="7404" y="4678"/>
                  </a:moveTo>
                  <a:cubicBezTo>
                    <a:pt x="7404" y="4697"/>
                    <a:pt x="7390" y="4714"/>
                    <a:pt x="7371" y="4717"/>
                  </a:cubicBezTo>
                  <a:lnTo>
                    <a:pt x="7165" y="4757"/>
                  </a:lnTo>
                  <a:cubicBezTo>
                    <a:pt x="7162" y="4757"/>
                    <a:pt x="7160" y="4758"/>
                    <a:pt x="7157" y="4758"/>
                  </a:cubicBezTo>
                  <a:cubicBezTo>
                    <a:pt x="7148" y="4758"/>
                    <a:pt x="7139" y="4754"/>
                    <a:pt x="7132" y="4748"/>
                  </a:cubicBezTo>
                  <a:cubicBezTo>
                    <a:pt x="7122" y="4741"/>
                    <a:pt x="7117" y="4729"/>
                    <a:pt x="7117" y="4717"/>
                  </a:cubicBezTo>
                  <a:lnTo>
                    <a:pt x="7117" y="4216"/>
                  </a:lnTo>
                  <a:cubicBezTo>
                    <a:pt x="7117" y="4195"/>
                    <a:pt x="7134" y="4177"/>
                    <a:pt x="7155" y="4176"/>
                  </a:cubicBezTo>
                  <a:lnTo>
                    <a:pt x="7361" y="4162"/>
                  </a:lnTo>
                  <a:cubicBezTo>
                    <a:pt x="7372" y="4161"/>
                    <a:pt x="7383" y="4165"/>
                    <a:pt x="7391" y="4172"/>
                  </a:cubicBezTo>
                  <a:cubicBezTo>
                    <a:pt x="7399" y="4180"/>
                    <a:pt x="7404" y="4191"/>
                    <a:pt x="7404" y="4202"/>
                  </a:cubicBezTo>
                  <a:lnTo>
                    <a:pt x="7404" y="4678"/>
                  </a:lnTo>
                  <a:lnTo>
                    <a:pt x="7404" y="4678"/>
                  </a:lnTo>
                  <a:close/>
                  <a:moveTo>
                    <a:pt x="7404" y="3726"/>
                  </a:moveTo>
                  <a:cubicBezTo>
                    <a:pt x="7404" y="3737"/>
                    <a:pt x="7399" y="3748"/>
                    <a:pt x="7391" y="3755"/>
                  </a:cubicBezTo>
                  <a:cubicBezTo>
                    <a:pt x="7384" y="3762"/>
                    <a:pt x="7374" y="3766"/>
                    <a:pt x="7364" y="3766"/>
                  </a:cubicBezTo>
                  <a:cubicBezTo>
                    <a:pt x="7363" y="3766"/>
                    <a:pt x="7362" y="3766"/>
                    <a:pt x="7361" y="3766"/>
                  </a:cubicBezTo>
                  <a:lnTo>
                    <a:pt x="7155" y="3754"/>
                  </a:lnTo>
                  <a:cubicBezTo>
                    <a:pt x="7134" y="3753"/>
                    <a:pt x="7117" y="3736"/>
                    <a:pt x="7117" y="3714"/>
                  </a:cubicBezTo>
                  <a:lnTo>
                    <a:pt x="7117" y="3219"/>
                  </a:lnTo>
                  <a:cubicBezTo>
                    <a:pt x="7117" y="3207"/>
                    <a:pt x="7122" y="3196"/>
                    <a:pt x="7131" y="3188"/>
                  </a:cubicBezTo>
                  <a:cubicBezTo>
                    <a:pt x="7140" y="3181"/>
                    <a:pt x="7152" y="3177"/>
                    <a:pt x="7164" y="3179"/>
                  </a:cubicBezTo>
                  <a:lnTo>
                    <a:pt x="7370" y="3210"/>
                  </a:lnTo>
                  <a:cubicBezTo>
                    <a:pt x="7390" y="3213"/>
                    <a:pt x="7404" y="3230"/>
                    <a:pt x="7404" y="3250"/>
                  </a:cubicBezTo>
                  <a:lnTo>
                    <a:pt x="7404" y="3726"/>
                  </a:lnTo>
                  <a:lnTo>
                    <a:pt x="7404" y="37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" name="ïSlíḓê">
              <a:extLst>
                <a:ext uri="{FF2B5EF4-FFF2-40B4-BE49-F238E27FC236}">
                  <a16:creationId xmlns:a16="http://schemas.microsoft.com/office/drawing/2014/main" id="{3A085BC8-A37E-49A6-ABA1-4AE5970E4C00}"/>
                </a:ext>
              </a:extLst>
            </p:cNvPr>
            <p:cNvSpPr txBox="1"/>
            <p:nvPr/>
          </p:nvSpPr>
          <p:spPr>
            <a:xfrm>
              <a:off x="6765686" y="3119105"/>
              <a:ext cx="1451696" cy="44959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i="1" dirty="0"/>
                <a:t>Text here</a:t>
              </a:r>
            </a:p>
          </p:txBody>
        </p:sp>
        <p:sp>
          <p:nvSpPr>
            <p:cNvPr id="14" name="îṥlíďé">
              <a:extLst>
                <a:ext uri="{FF2B5EF4-FFF2-40B4-BE49-F238E27FC236}">
                  <a16:creationId xmlns:a16="http://schemas.microsoft.com/office/drawing/2014/main" id="{1D5C6957-6534-49EC-A7DA-DA50DBD9080C}"/>
                </a:ext>
              </a:extLst>
            </p:cNvPr>
            <p:cNvSpPr/>
            <p:nvPr/>
          </p:nvSpPr>
          <p:spPr bwMode="auto">
            <a:xfrm>
              <a:off x="7209269" y="2396554"/>
              <a:ext cx="609693" cy="555787"/>
            </a:xfrm>
            <a:custGeom>
              <a:avLst/>
              <a:gdLst>
                <a:gd name="T0" fmla="*/ 3495 w 7671"/>
                <a:gd name="T1" fmla="*/ 13 h 7004"/>
                <a:gd name="T2" fmla="*/ 1231 w 7671"/>
                <a:gd name="T3" fmla="*/ 2655 h 7004"/>
                <a:gd name="T4" fmla="*/ 72 w 7671"/>
                <a:gd name="T5" fmla="*/ 2932 h 7004"/>
                <a:gd name="T6" fmla="*/ 847 w 7671"/>
                <a:gd name="T7" fmla="*/ 5568 h 7004"/>
                <a:gd name="T8" fmla="*/ 3486 w 7671"/>
                <a:gd name="T9" fmla="*/ 6995 h 7004"/>
                <a:gd name="T10" fmla="*/ 7670 w 7671"/>
                <a:gd name="T11" fmla="*/ 2832 h 7004"/>
                <a:gd name="T12" fmla="*/ 151 w 7671"/>
                <a:gd name="T13" fmla="*/ 4560 h 7004"/>
                <a:gd name="T14" fmla="*/ 336 w 7671"/>
                <a:gd name="T15" fmla="*/ 4160 h 7004"/>
                <a:gd name="T16" fmla="*/ 162 w 7671"/>
                <a:gd name="T17" fmla="*/ 3813 h 7004"/>
                <a:gd name="T18" fmla="*/ 321 w 7671"/>
                <a:gd name="T19" fmla="*/ 3331 h 7004"/>
                <a:gd name="T20" fmla="*/ 689 w 7671"/>
                <a:gd name="T21" fmla="*/ 4708 h 7004"/>
                <a:gd name="T22" fmla="*/ 509 w 7671"/>
                <a:gd name="T23" fmla="*/ 4140 h 7004"/>
                <a:gd name="T24" fmla="*/ 692 w 7671"/>
                <a:gd name="T25" fmla="*/ 3769 h 7004"/>
                <a:gd name="T26" fmla="*/ 495 w 7671"/>
                <a:gd name="T27" fmla="*/ 3269 h 7004"/>
                <a:gd name="T28" fmla="*/ 1721 w 7671"/>
                <a:gd name="T29" fmla="*/ 4980 h 7004"/>
                <a:gd name="T30" fmla="*/ 1432 w 7671"/>
                <a:gd name="T31" fmla="*/ 4244 h 7004"/>
                <a:gd name="T32" fmla="*/ 1700 w 7671"/>
                <a:gd name="T33" fmla="*/ 3686 h 7004"/>
                <a:gd name="T34" fmla="*/ 1449 w 7671"/>
                <a:gd name="T35" fmla="*/ 3018 h 7004"/>
                <a:gd name="T36" fmla="*/ 1713 w 7671"/>
                <a:gd name="T37" fmla="*/ 2381 h 7004"/>
                <a:gd name="T38" fmla="*/ 1438 w 7671"/>
                <a:gd name="T39" fmla="*/ 1807 h 7004"/>
                <a:gd name="T40" fmla="*/ 2329 w 7671"/>
                <a:gd name="T41" fmla="*/ 5112 h 7004"/>
                <a:gd name="T42" fmla="*/ 1930 w 7671"/>
                <a:gd name="T43" fmla="*/ 4323 h 7004"/>
                <a:gd name="T44" fmla="*/ 2329 w 7671"/>
                <a:gd name="T45" fmla="*/ 3597 h 7004"/>
                <a:gd name="T46" fmla="*/ 1930 w 7671"/>
                <a:gd name="T47" fmla="*/ 2923 h 7004"/>
                <a:gd name="T48" fmla="*/ 2329 w 7671"/>
                <a:gd name="T49" fmla="*/ 3597 h 7004"/>
                <a:gd name="T50" fmla="*/ 1930 w 7671"/>
                <a:gd name="T51" fmla="*/ 2223 h 7004"/>
                <a:gd name="T52" fmla="*/ 2329 w 7671"/>
                <a:gd name="T53" fmla="*/ 2082 h 7004"/>
                <a:gd name="T54" fmla="*/ 2650 w 7671"/>
                <a:gd name="T55" fmla="*/ 5254 h 7004"/>
                <a:gd name="T56" fmla="*/ 3152 w 7671"/>
                <a:gd name="T57" fmla="*/ 4435 h 7004"/>
                <a:gd name="T58" fmla="*/ 2636 w 7671"/>
                <a:gd name="T59" fmla="*/ 3595 h 7004"/>
                <a:gd name="T60" fmla="*/ 3152 w 7671"/>
                <a:gd name="T61" fmla="*/ 2623 h 7004"/>
                <a:gd name="T62" fmla="*/ 2663 w 7671"/>
                <a:gd name="T63" fmla="*/ 1956 h 7004"/>
                <a:gd name="T64" fmla="*/ 3131 w 7671"/>
                <a:gd name="T65" fmla="*/ 776 h 7004"/>
                <a:gd name="T66" fmla="*/ 4990 w 7671"/>
                <a:gd name="T67" fmla="*/ 1229 h 7004"/>
                <a:gd name="T68" fmla="*/ 5441 w 7671"/>
                <a:gd name="T69" fmla="*/ 2226 h 7004"/>
                <a:gd name="T70" fmla="*/ 4948 w 7671"/>
                <a:gd name="T71" fmla="*/ 2784 h 7004"/>
                <a:gd name="T72" fmla="*/ 5453 w 7671"/>
                <a:gd name="T73" fmla="*/ 3664 h 7004"/>
                <a:gd name="T74" fmla="*/ 3706 w 7671"/>
                <a:gd name="T75" fmla="*/ 694 h 7004"/>
                <a:gd name="T76" fmla="*/ 4408 w 7671"/>
                <a:gd name="T77" fmla="*/ 1907 h 7004"/>
                <a:gd name="T78" fmla="*/ 3688 w 7671"/>
                <a:gd name="T79" fmla="*/ 3518 h 7004"/>
                <a:gd name="T80" fmla="*/ 4448 w 7671"/>
                <a:gd name="T81" fmla="*/ 3557 h 7004"/>
                <a:gd name="T82" fmla="*/ 5014 w 7671"/>
                <a:gd name="T83" fmla="*/ 6300 h 7004"/>
                <a:gd name="T84" fmla="*/ 4045 w 7671"/>
                <a:gd name="T85" fmla="*/ 4424 h 7004"/>
                <a:gd name="T86" fmla="*/ 5014 w 7671"/>
                <a:gd name="T87" fmla="*/ 6300 h 7004"/>
                <a:gd name="T88" fmla="*/ 5413 w 7671"/>
                <a:gd name="T89" fmla="*/ 6118 h 7004"/>
                <a:gd name="T90" fmla="*/ 6087 w 7671"/>
                <a:gd name="T91" fmla="*/ 5892 h 7004"/>
                <a:gd name="T92" fmla="*/ 5822 w 7671"/>
                <a:gd name="T93" fmla="*/ 3640 h 7004"/>
                <a:gd name="T94" fmla="*/ 6258 w 7671"/>
                <a:gd name="T95" fmla="*/ 3660 h 7004"/>
                <a:gd name="T96" fmla="*/ 5851 w 7671"/>
                <a:gd name="T97" fmla="*/ 2352 h 7004"/>
                <a:gd name="T98" fmla="*/ 6258 w 7671"/>
                <a:gd name="T99" fmla="*/ 1803 h 7004"/>
                <a:gd name="T100" fmla="*/ 6669 w 7671"/>
                <a:gd name="T101" fmla="*/ 4852 h 7004"/>
                <a:gd name="T102" fmla="*/ 6955 w 7671"/>
                <a:gd name="T103" fmla="*/ 4202 h 7004"/>
                <a:gd name="T104" fmla="*/ 6927 w 7671"/>
                <a:gd name="T105" fmla="*/ 3741 h 7004"/>
                <a:gd name="T106" fmla="*/ 6677 w 7671"/>
                <a:gd name="T107" fmla="*/ 3084 h 7004"/>
                <a:gd name="T108" fmla="*/ 7371 w 7671"/>
                <a:gd name="T109" fmla="*/ 4717 h 7004"/>
                <a:gd name="T110" fmla="*/ 7155 w 7671"/>
                <a:gd name="T111" fmla="*/ 4176 h 7004"/>
                <a:gd name="T112" fmla="*/ 7404 w 7671"/>
                <a:gd name="T113" fmla="*/ 3726 h 7004"/>
                <a:gd name="T114" fmla="*/ 7117 w 7671"/>
                <a:gd name="T115" fmla="*/ 3219 h 7004"/>
                <a:gd name="T116" fmla="*/ 7404 w 7671"/>
                <a:gd name="T117" fmla="*/ 3726 h 7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71" h="7004">
                  <a:moveTo>
                    <a:pt x="7585" y="2716"/>
                  </a:moveTo>
                  <a:lnTo>
                    <a:pt x="6499" y="2383"/>
                  </a:lnTo>
                  <a:lnTo>
                    <a:pt x="6499" y="1573"/>
                  </a:lnTo>
                  <a:cubicBezTo>
                    <a:pt x="6499" y="1527"/>
                    <a:pt x="6473" y="1485"/>
                    <a:pt x="6432" y="1465"/>
                  </a:cubicBezTo>
                  <a:lnTo>
                    <a:pt x="3498" y="13"/>
                  </a:lnTo>
                  <a:cubicBezTo>
                    <a:pt x="3497" y="13"/>
                    <a:pt x="3497" y="13"/>
                    <a:pt x="3495" y="13"/>
                  </a:cubicBezTo>
                  <a:cubicBezTo>
                    <a:pt x="3490" y="10"/>
                    <a:pt x="3468" y="0"/>
                    <a:pt x="3436" y="2"/>
                  </a:cubicBezTo>
                  <a:cubicBezTo>
                    <a:pt x="3403" y="4"/>
                    <a:pt x="3379" y="20"/>
                    <a:pt x="3374" y="23"/>
                  </a:cubicBezTo>
                  <a:lnTo>
                    <a:pt x="3374" y="23"/>
                  </a:lnTo>
                  <a:lnTo>
                    <a:pt x="1282" y="1515"/>
                  </a:lnTo>
                  <a:cubicBezTo>
                    <a:pt x="1250" y="1538"/>
                    <a:pt x="1231" y="1574"/>
                    <a:pt x="1231" y="1613"/>
                  </a:cubicBezTo>
                  <a:lnTo>
                    <a:pt x="1231" y="2655"/>
                  </a:lnTo>
                  <a:lnTo>
                    <a:pt x="842" y="2609"/>
                  </a:lnTo>
                  <a:cubicBezTo>
                    <a:pt x="842" y="2609"/>
                    <a:pt x="841" y="2609"/>
                    <a:pt x="839" y="2609"/>
                  </a:cubicBezTo>
                  <a:cubicBezTo>
                    <a:pt x="834" y="2609"/>
                    <a:pt x="822" y="2608"/>
                    <a:pt x="811" y="2610"/>
                  </a:cubicBezTo>
                  <a:cubicBezTo>
                    <a:pt x="797" y="2612"/>
                    <a:pt x="785" y="2616"/>
                    <a:pt x="780" y="2618"/>
                  </a:cubicBezTo>
                  <a:cubicBezTo>
                    <a:pt x="780" y="2618"/>
                    <a:pt x="779" y="2618"/>
                    <a:pt x="779" y="2618"/>
                  </a:cubicBezTo>
                  <a:lnTo>
                    <a:pt x="72" y="2932"/>
                  </a:lnTo>
                  <a:cubicBezTo>
                    <a:pt x="28" y="2951"/>
                    <a:pt x="0" y="2994"/>
                    <a:pt x="0" y="3042"/>
                  </a:cubicBezTo>
                  <a:lnTo>
                    <a:pt x="0" y="5060"/>
                  </a:lnTo>
                  <a:cubicBezTo>
                    <a:pt x="0" y="5105"/>
                    <a:pt x="24" y="5145"/>
                    <a:pt x="63" y="5166"/>
                  </a:cubicBezTo>
                  <a:lnTo>
                    <a:pt x="772" y="5555"/>
                  </a:lnTo>
                  <a:cubicBezTo>
                    <a:pt x="772" y="5555"/>
                    <a:pt x="790" y="5566"/>
                    <a:pt x="813" y="5568"/>
                  </a:cubicBezTo>
                  <a:cubicBezTo>
                    <a:pt x="833" y="5571"/>
                    <a:pt x="847" y="5568"/>
                    <a:pt x="847" y="5568"/>
                  </a:cubicBezTo>
                  <a:lnTo>
                    <a:pt x="1231" y="5513"/>
                  </a:lnTo>
                  <a:lnTo>
                    <a:pt x="1231" y="5735"/>
                  </a:lnTo>
                  <a:cubicBezTo>
                    <a:pt x="1231" y="5779"/>
                    <a:pt x="1255" y="5820"/>
                    <a:pt x="1294" y="5841"/>
                  </a:cubicBezTo>
                  <a:lnTo>
                    <a:pt x="3386" y="6987"/>
                  </a:lnTo>
                  <a:cubicBezTo>
                    <a:pt x="3386" y="6987"/>
                    <a:pt x="3409" y="7001"/>
                    <a:pt x="3440" y="7002"/>
                  </a:cubicBezTo>
                  <a:cubicBezTo>
                    <a:pt x="3463" y="7004"/>
                    <a:pt x="3486" y="6995"/>
                    <a:pt x="3486" y="6995"/>
                  </a:cubicBezTo>
                  <a:lnTo>
                    <a:pt x="3486" y="6994"/>
                  </a:lnTo>
                  <a:lnTo>
                    <a:pt x="3486" y="6994"/>
                  </a:lnTo>
                  <a:lnTo>
                    <a:pt x="6420" y="5879"/>
                  </a:lnTo>
                  <a:lnTo>
                    <a:pt x="7592" y="5433"/>
                  </a:lnTo>
                  <a:cubicBezTo>
                    <a:pt x="7639" y="5416"/>
                    <a:pt x="7670" y="5371"/>
                    <a:pt x="7670" y="5321"/>
                  </a:cubicBezTo>
                  <a:lnTo>
                    <a:pt x="7670" y="2832"/>
                  </a:lnTo>
                  <a:cubicBezTo>
                    <a:pt x="7671" y="2779"/>
                    <a:pt x="7636" y="2732"/>
                    <a:pt x="7585" y="2716"/>
                  </a:cubicBezTo>
                  <a:close/>
                  <a:moveTo>
                    <a:pt x="337" y="4559"/>
                  </a:moveTo>
                  <a:cubicBezTo>
                    <a:pt x="337" y="4571"/>
                    <a:pt x="331" y="4583"/>
                    <a:pt x="321" y="4591"/>
                  </a:cubicBezTo>
                  <a:cubicBezTo>
                    <a:pt x="313" y="4596"/>
                    <a:pt x="305" y="4599"/>
                    <a:pt x="296" y="4599"/>
                  </a:cubicBezTo>
                  <a:cubicBezTo>
                    <a:pt x="293" y="4599"/>
                    <a:pt x="289" y="4598"/>
                    <a:pt x="286" y="4597"/>
                  </a:cubicBezTo>
                  <a:lnTo>
                    <a:pt x="151" y="4560"/>
                  </a:lnTo>
                  <a:cubicBezTo>
                    <a:pt x="134" y="4555"/>
                    <a:pt x="122" y="4539"/>
                    <a:pt x="122" y="4521"/>
                  </a:cubicBezTo>
                  <a:lnTo>
                    <a:pt x="122" y="4147"/>
                  </a:lnTo>
                  <a:cubicBezTo>
                    <a:pt x="122" y="4136"/>
                    <a:pt x="126" y="4125"/>
                    <a:pt x="135" y="4117"/>
                  </a:cubicBezTo>
                  <a:cubicBezTo>
                    <a:pt x="143" y="4109"/>
                    <a:pt x="155" y="4106"/>
                    <a:pt x="166" y="4107"/>
                  </a:cubicBezTo>
                  <a:lnTo>
                    <a:pt x="300" y="4120"/>
                  </a:lnTo>
                  <a:cubicBezTo>
                    <a:pt x="321" y="4122"/>
                    <a:pt x="336" y="4139"/>
                    <a:pt x="336" y="4160"/>
                  </a:cubicBezTo>
                  <a:lnTo>
                    <a:pt x="336" y="4559"/>
                  </a:lnTo>
                  <a:lnTo>
                    <a:pt x="337" y="4559"/>
                  </a:lnTo>
                  <a:close/>
                  <a:moveTo>
                    <a:pt x="337" y="3761"/>
                  </a:moveTo>
                  <a:cubicBezTo>
                    <a:pt x="337" y="3782"/>
                    <a:pt x="321" y="3800"/>
                    <a:pt x="300" y="3802"/>
                  </a:cubicBezTo>
                  <a:lnTo>
                    <a:pt x="165" y="3813"/>
                  </a:lnTo>
                  <a:lnTo>
                    <a:pt x="162" y="3813"/>
                  </a:lnTo>
                  <a:cubicBezTo>
                    <a:pt x="152" y="3813"/>
                    <a:pt x="142" y="3809"/>
                    <a:pt x="135" y="3802"/>
                  </a:cubicBezTo>
                  <a:cubicBezTo>
                    <a:pt x="126" y="3795"/>
                    <a:pt x="122" y="3784"/>
                    <a:pt x="122" y="3773"/>
                  </a:cubicBezTo>
                  <a:lnTo>
                    <a:pt x="122" y="3398"/>
                  </a:lnTo>
                  <a:cubicBezTo>
                    <a:pt x="122" y="3380"/>
                    <a:pt x="134" y="3364"/>
                    <a:pt x="152" y="3359"/>
                  </a:cubicBezTo>
                  <a:lnTo>
                    <a:pt x="286" y="3324"/>
                  </a:lnTo>
                  <a:cubicBezTo>
                    <a:pt x="298" y="3321"/>
                    <a:pt x="311" y="3323"/>
                    <a:pt x="321" y="3331"/>
                  </a:cubicBezTo>
                  <a:cubicBezTo>
                    <a:pt x="331" y="3339"/>
                    <a:pt x="337" y="3350"/>
                    <a:pt x="337" y="3363"/>
                  </a:cubicBezTo>
                  <a:lnTo>
                    <a:pt x="337" y="3761"/>
                  </a:lnTo>
                  <a:lnTo>
                    <a:pt x="337" y="3761"/>
                  </a:lnTo>
                  <a:close/>
                  <a:moveTo>
                    <a:pt x="729" y="4668"/>
                  </a:moveTo>
                  <a:cubicBezTo>
                    <a:pt x="729" y="4680"/>
                    <a:pt x="723" y="4692"/>
                    <a:pt x="714" y="4700"/>
                  </a:cubicBezTo>
                  <a:cubicBezTo>
                    <a:pt x="706" y="4705"/>
                    <a:pt x="698" y="4708"/>
                    <a:pt x="689" y="4708"/>
                  </a:cubicBezTo>
                  <a:cubicBezTo>
                    <a:pt x="686" y="4708"/>
                    <a:pt x="682" y="4707"/>
                    <a:pt x="678" y="4706"/>
                  </a:cubicBezTo>
                  <a:lnTo>
                    <a:pt x="494" y="4655"/>
                  </a:lnTo>
                  <a:cubicBezTo>
                    <a:pt x="477" y="4651"/>
                    <a:pt x="465" y="4635"/>
                    <a:pt x="465" y="4617"/>
                  </a:cubicBezTo>
                  <a:lnTo>
                    <a:pt x="465" y="4180"/>
                  </a:lnTo>
                  <a:cubicBezTo>
                    <a:pt x="465" y="4169"/>
                    <a:pt x="470" y="4158"/>
                    <a:pt x="478" y="4150"/>
                  </a:cubicBezTo>
                  <a:cubicBezTo>
                    <a:pt x="486" y="4143"/>
                    <a:pt x="498" y="4139"/>
                    <a:pt x="509" y="4140"/>
                  </a:cubicBezTo>
                  <a:lnTo>
                    <a:pt x="693" y="4158"/>
                  </a:lnTo>
                  <a:cubicBezTo>
                    <a:pt x="714" y="4160"/>
                    <a:pt x="729" y="4178"/>
                    <a:pt x="729" y="4198"/>
                  </a:cubicBezTo>
                  <a:lnTo>
                    <a:pt x="729" y="4668"/>
                  </a:lnTo>
                  <a:lnTo>
                    <a:pt x="729" y="4668"/>
                  </a:lnTo>
                  <a:close/>
                  <a:moveTo>
                    <a:pt x="729" y="3729"/>
                  </a:moveTo>
                  <a:cubicBezTo>
                    <a:pt x="729" y="3750"/>
                    <a:pt x="713" y="3767"/>
                    <a:pt x="692" y="3769"/>
                  </a:cubicBezTo>
                  <a:lnTo>
                    <a:pt x="508" y="3784"/>
                  </a:lnTo>
                  <a:lnTo>
                    <a:pt x="505" y="3784"/>
                  </a:lnTo>
                  <a:cubicBezTo>
                    <a:pt x="495" y="3784"/>
                    <a:pt x="485" y="3781"/>
                    <a:pt x="478" y="3774"/>
                  </a:cubicBezTo>
                  <a:cubicBezTo>
                    <a:pt x="469" y="3766"/>
                    <a:pt x="465" y="3756"/>
                    <a:pt x="465" y="3744"/>
                  </a:cubicBezTo>
                  <a:lnTo>
                    <a:pt x="465" y="3308"/>
                  </a:lnTo>
                  <a:cubicBezTo>
                    <a:pt x="465" y="3290"/>
                    <a:pt x="477" y="3274"/>
                    <a:pt x="495" y="3269"/>
                  </a:cubicBezTo>
                  <a:lnTo>
                    <a:pt x="679" y="3221"/>
                  </a:lnTo>
                  <a:cubicBezTo>
                    <a:pt x="691" y="3217"/>
                    <a:pt x="704" y="3220"/>
                    <a:pt x="714" y="3228"/>
                  </a:cubicBezTo>
                  <a:cubicBezTo>
                    <a:pt x="723" y="3235"/>
                    <a:pt x="729" y="3247"/>
                    <a:pt x="729" y="3260"/>
                  </a:cubicBezTo>
                  <a:lnTo>
                    <a:pt x="729" y="3729"/>
                  </a:lnTo>
                  <a:close/>
                  <a:moveTo>
                    <a:pt x="1737" y="4948"/>
                  </a:moveTo>
                  <a:cubicBezTo>
                    <a:pt x="1737" y="4960"/>
                    <a:pt x="1731" y="4972"/>
                    <a:pt x="1721" y="4980"/>
                  </a:cubicBezTo>
                  <a:cubicBezTo>
                    <a:pt x="1714" y="4985"/>
                    <a:pt x="1706" y="4988"/>
                    <a:pt x="1697" y="4988"/>
                  </a:cubicBezTo>
                  <a:cubicBezTo>
                    <a:pt x="1693" y="4988"/>
                    <a:pt x="1690" y="4987"/>
                    <a:pt x="1686" y="4986"/>
                  </a:cubicBezTo>
                  <a:lnTo>
                    <a:pt x="1449" y="4920"/>
                  </a:lnTo>
                  <a:cubicBezTo>
                    <a:pt x="1431" y="4916"/>
                    <a:pt x="1419" y="4900"/>
                    <a:pt x="1419" y="4882"/>
                  </a:cubicBezTo>
                  <a:lnTo>
                    <a:pt x="1419" y="4274"/>
                  </a:lnTo>
                  <a:cubicBezTo>
                    <a:pt x="1419" y="4262"/>
                    <a:pt x="1424" y="4251"/>
                    <a:pt x="1432" y="4244"/>
                  </a:cubicBezTo>
                  <a:cubicBezTo>
                    <a:pt x="1441" y="4236"/>
                    <a:pt x="1452" y="4232"/>
                    <a:pt x="1463" y="4233"/>
                  </a:cubicBezTo>
                  <a:lnTo>
                    <a:pt x="1701" y="4257"/>
                  </a:lnTo>
                  <a:cubicBezTo>
                    <a:pt x="1721" y="4259"/>
                    <a:pt x="1737" y="4276"/>
                    <a:pt x="1737" y="4297"/>
                  </a:cubicBezTo>
                  <a:lnTo>
                    <a:pt x="1737" y="4948"/>
                  </a:lnTo>
                  <a:close/>
                  <a:moveTo>
                    <a:pt x="1737" y="3646"/>
                  </a:moveTo>
                  <a:cubicBezTo>
                    <a:pt x="1737" y="3667"/>
                    <a:pt x="1721" y="3684"/>
                    <a:pt x="1700" y="3686"/>
                  </a:cubicBezTo>
                  <a:lnTo>
                    <a:pt x="1463" y="3705"/>
                  </a:lnTo>
                  <a:cubicBezTo>
                    <a:pt x="1462" y="3706"/>
                    <a:pt x="1461" y="3706"/>
                    <a:pt x="1459" y="3706"/>
                  </a:cubicBezTo>
                  <a:cubicBezTo>
                    <a:pt x="1449" y="3706"/>
                    <a:pt x="1440" y="3702"/>
                    <a:pt x="1432" y="3695"/>
                  </a:cubicBezTo>
                  <a:cubicBezTo>
                    <a:pt x="1424" y="3687"/>
                    <a:pt x="1419" y="3677"/>
                    <a:pt x="1419" y="3665"/>
                  </a:cubicBezTo>
                  <a:lnTo>
                    <a:pt x="1419" y="3057"/>
                  </a:lnTo>
                  <a:cubicBezTo>
                    <a:pt x="1419" y="3039"/>
                    <a:pt x="1432" y="3023"/>
                    <a:pt x="1449" y="3018"/>
                  </a:cubicBezTo>
                  <a:lnTo>
                    <a:pt x="1687" y="2956"/>
                  </a:lnTo>
                  <a:cubicBezTo>
                    <a:pt x="1699" y="2953"/>
                    <a:pt x="1712" y="2955"/>
                    <a:pt x="1721" y="2963"/>
                  </a:cubicBezTo>
                  <a:cubicBezTo>
                    <a:pt x="1731" y="2970"/>
                    <a:pt x="1737" y="2982"/>
                    <a:pt x="1737" y="2995"/>
                  </a:cubicBezTo>
                  <a:lnTo>
                    <a:pt x="1737" y="3646"/>
                  </a:lnTo>
                  <a:close/>
                  <a:moveTo>
                    <a:pt x="1737" y="2344"/>
                  </a:moveTo>
                  <a:cubicBezTo>
                    <a:pt x="1737" y="2360"/>
                    <a:pt x="1728" y="2374"/>
                    <a:pt x="1713" y="2381"/>
                  </a:cubicBezTo>
                  <a:lnTo>
                    <a:pt x="1476" y="2486"/>
                  </a:lnTo>
                  <a:cubicBezTo>
                    <a:pt x="1471" y="2488"/>
                    <a:pt x="1465" y="2489"/>
                    <a:pt x="1460" y="2489"/>
                  </a:cubicBezTo>
                  <a:cubicBezTo>
                    <a:pt x="1452" y="2489"/>
                    <a:pt x="1444" y="2487"/>
                    <a:pt x="1437" y="2483"/>
                  </a:cubicBezTo>
                  <a:cubicBezTo>
                    <a:pt x="1426" y="2475"/>
                    <a:pt x="1419" y="2463"/>
                    <a:pt x="1419" y="2449"/>
                  </a:cubicBezTo>
                  <a:lnTo>
                    <a:pt x="1419" y="1841"/>
                  </a:lnTo>
                  <a:cubicBezTo>
                    <a:pt x="1419" y="1827"/>
                    <a:pt x="1426" y="1814"/>
                    <a:pt x="1438" y="1807"/>
                  </a:cubicBezTo>
                  <a:lnTo>
                    <a:pt x="1676" y="1659"/>
                  </a:lnTo>
                  <a:cubicBezTo>
                    <a:pt x="1688" y="1651"/>
                    <a:pt x="1704" y="1651"/>
                    <a:pt x="1716" y="1658"/>
                  </a:cubicBezTo>
                  <a:cubicBezTo>
                    <a:pt x="1729" y="1665"/>
                    <a:pt x="1737" y="1678"/>
                    <a:pt x="1737" y="1693"/>
                  </a:cubicBezTo>
                  <a:lnTo>
                    <a:pt x="1737" y="2344"/>
                  </a:lnTo>
                  <a:lnTo>
                    <a:pt x="1737" y="2344"/>
                  </a:lnTo>
                  <a:close/>
                  <a:moveTo>
                    <a:pt x="2329" y="5112"/>
                  </a:moveTo>
                  <a:cubicBezTo>
                    <a:pt x="2329" y="5124"/>
                    <a:pt x="2323" y="5136"/>
                    <a:pt x="2313" y="5144"/>
                  </a:cubicBezTo>
                  <a:cubicBezTo>
                    <a:pt x="2306" y="5149"/>
                    <a:pt x="2297" y="5152"/>
                    <a:pt x="2289" y="5152"/>
                  </a:cubicBezTo>
                  <a:cubicBezTo>
                    <a:pt x="2285" y="5152"/>
                    <a:pt x="2281" y="5152"/>
                    <a:pt x="2278" y="5151"/>
                  </a:cubicBezTo>
                  <a:lnTo>
                    <a:pt x="1960" y="5062"/>
                  </a:lnTo>
                  <a:cubicBezTo>
                    <a:pt x="1942" y="5058"/>
                    <a:pt x="1930" y="5042"/>
                    <a:pt x="1930" y="5024"/>
                  </a:cubicBezTo>
                  <a:lnTo>
                    <a:pt x="1930" y="4323"/>
                  </a:lnTo>
                  <a:cubicBezTo>
                    <a:pt x="1930" y="4312"/>
                    <a:pt x="1935" y="4301"/>
                    <a:pt x="1943" y="4293"/>
                  </a:cubicBezTo>
                  <a:cubicBezTo>
                    <a:pt x="1952" y="4286"/>
                    <a:pt x="1963" y="4282"/>
                    <a:pt x="1974" y="4283"/>
                  </a:cubicBezTo>
                  <a:lnTo>
                    <a:pt x="2292" y="4314"/>
                  </a:lnTo>
                  <a:cubicBezTo>
                    <a:pt x="2313" y="4316"/>
                    <a:pt x="2329" y="4334"/>
                    <a:pt x="2329" y="4354"/>
                  </a:cubicBezTo>
                  <a:lnTo>
                    <a:pt x="2329" y="5112"/>
                  </a:lnTo>
                  <a:close/>
                  <a:moveTo>
                    <a:pt x="2329" y="3597"/>
                  </a:moveTo>
                  <a:cubicBezTo>
                    <a:pt x="2329" y="3618"/>
                    <a:pt x="2313" y="3635"/>
                    <a:pt x="2292" y="3637"/>
                  </a:cubicBezTo>
                  <a:lnTo>
                    <a:pt x="1974" y="3663"/>
                  </a:lnTo>
                  <a:cubicBezTo>
                    <a:pt x="1973" y="3663"/>
                    <a:pt x="1971" y="3664"/>
                    <a:pt x="1970" y="3664"/>
                  </a:cubicBezTo>
                  <a:cubicBezTo>
                    <a:pt x="1960" y="3664"/>
                    <a:pt x="1951" y="3660"/>
                    <a:pt x="1943" y="3653"/>
                  </a:cubicBezTo>
                  <a:cubicBezTo>
                    <a:pt x="1935" y="3645"/>
                    <a:pt x="1930" y="3634"/>
                    <a:pt x="1930" y="3623"/>
                  </a:cubicBezTo>
                  <a:lnTo>
                    <a:pt x="1930" y="2923"/>
                  </a:lnTo>
                  <a:cubicBezTo>
                    <a:pt x="1930" y="2905"/>
                    <a:pt x="1942" y="2889"/>
                    <a:pt x="1960" y="2884"/>
                  </a:cubicBezTo>
                  <a:lnTo>
                    <a:pt x="2278" y="2800"/>
                  </a:lnTo>
                  <a:cubicBezTo>
                    <a:pt x="2290" y="2797"/>
                    <a:pt x="2303" y="2800"/>
                    <a:pt x="2313" y="2807"/>
                  </a:cubicBezTo>
                  <a:cubicBezTo>
                    <a:pt x="2323" y="2815"/>
                    <a:pt x="2329" y="2827"/>
                    <a:pt x="2329" y="2839"/>
                  </a:cubicBezTo>
                  <a:lnTo>
                    <a:pt x="2329" y="3597"/>
                  </a:lnTo>
                  <a:lnTo>
                    <a:pt x="2329" y="3597"/>
                  </a:lnTo>
                  <a:close/>
                  <a:moveTo>
                    <a:pt x="2329" y="2082"/>
                  </a:moveTo>
                  <a:cubicBezTo>
                    <a:pt x="2329" y="2098"/>
                    <a:pt x="2319" y="2112"/>
                    <a:pt x="2305" y="2119"/>
                  </a:cubicBezTo>
                  <a:lnTo>
                    <a:pt x="1987" y="2260"/>
                  </a:lnTo>
                  <a:cubicBezTo>
                    <a:pt x="1982" y="2262"/>
                    <a:pt x="1976" y="2263"/>
                    <a:pt x="1970" y="2263"/>
                  </a:cubicBezTo>
                  <a:cubicBezTo>
                    <a:pt x="1963" y="2263"/>
                    <a:pt x="1955" y="2261"/>
                    <a:pt x="1949" y="2257"/>
                  </a:cubicBezTo>
                  <a:cubicBezTo>
                    <a:pt x="1937" y="2249"/>
                    <a:pt x="1930" y="2236"/>
                    <a:pt x="1930" y="2223"/>
                  </a:cubicBezTo>
                  <a:lnTo>
                    <a:pt x="1930" y="1523"/>
                  </a:lnTo>
                  <a:cubicBezTo>
                    <a:pt x="1930" y="1509"/>
                    <a:pt x="1938" y="1496"/>
                    <a:pt x="1949" y="1489"/>
                  </a:cubicBezTo>
                  <a:lnTo>
                    <a:pt x="2267" y="1290"/>
                  </a:lnTo>
                  <a:cubicBezTo>
                    <a:pt x="2280" y="1282"/>
                    <a:pt x="2295" y="1282"/>
                    <a:pt x="2308" y="1289"/>
                  </a:cubicBezTo>
                  <a:cubicBezTo>
                    <a:pt x="2321" y="1296"/>
                    <a:pt x="2329" y="1310"/>
                    <a:pt x="2329" y="1324"/>
                  </a:cubicBezTo>
                  <a:lnTo>
                    <a:pt x="2329" y="2082"/>
                  </a:lnTo>
                  <a:lnTo>
                    <a:pt x="2329" y="2082"/>
                  </a:lnTo>
                  <a:close/>
                  <a:moveTo>
                    <a:pt x="3152" y="5341"/>
                  </a:moveTo>
                  <a:cubicBezTo>
                    <a:pt x="3152" y="5352"/>
                    <a:pt x="3147" y="5364"/>
                    <a:pt x="3139" y="5372"/>
                  </a:cubicBezTo>
                  <a:cubicBezTo>
                    <a:pt x="3124" y="5387"/>
                    <a:pt x="3104" y="5387"/>
                    <a:pt x="3098" y="5387"/>
                  </a:cubicBezTo>
                  <a:lnTo>
                    <a:pt x="3097" y="5387"/>
                  </a:lnTo>
                  <a:cubicBezTo>
                    <a:pt x="3018" y="5387"/>
                    <a:pt x="2710" y="5276"/>
                    <a:pt x="2650" y="5254"/>
                  </a:cubicBezTo>
                  <a:cubicBezTo>
                    <a:pt x="2634" y="5248"/>
                    <a:pt x="2623" y="5233"/>
                    <a:pt x="2623" y="5216"/>
                  </a:cubicBezTo>
                  <a:lnTo>
                    <a:pt x="2623" y="4391"/>
                  </a:lnTo>
                  <a:cubicBezTo>
                    <a:pt x="2623" y="4380"/>
                    <a:pt x="2628" y="4369"/>
                    <a:pt x="2636" y="4361"/>
                  </a:cubicBezTo>
                  <a:cubicBezTo>
                    <a:pt x="2645" y="4354"/>
                    <a:pt x="2656" y="4350"/>
                    <a:pt x="2667" y="4351"/>
                  </a:cubicBezTo>
                  <a:lnTo>
                    <a:pt x="3115" y="4395"/>
                  </a:lnTo>
                  <a:cubicBezTo>
                    <a:pt x="3136" y="4397"/>
                    <a:pt x="3152" y="4414"/>
                    <a:pt x="3152" y="4435"/>
                  </a:cubicBezTo>
                  <a:cubicBezTo>
                    <a:pt x="3152" y="4444"/>
                    <a:pt x="3152" y="5302"/>
                    <a:pt x="3152" y="5341"/>
                  </a:cubicBezTo>
                  <a:close/>
                  <a:moveTo>
                    <a:pt x="3152" y="3529"/>
                  </a:moveTo>
                  <a:cubicBezTo>
                    <a:pt x="3152" y="3550"/>
                    <a:pt x="3136" y="3567"/>
                    <a:pt x="3115" y="3569"/>
                  </a:cubicBezTo>
                  <a:lnTo>
                    <a:pt x="2667" y="3606"/>
                  </a:lnTo>
                  <a:cubicBezTo>
                    <a:pt x="2665" y="3606"/>
                    <a:pt x="2664" y="3606"/>
                    <a:pt x="2663" y="3606"/>
                  </a:cubicBezTo>
                  <a:cubicBezTo>
                    <a:pt x="2653" y="3606"/>
                    <a:pt x="2643" y="3602"/>
                    <a:pt x="2636" y="3595"/>
                  </a:cubicBezTo>
                  <a:cubicBezTo>
                    <a:pt x="2628" y="3588"/>
                    <a:pt x="2623" y="3577"/>
                    <a:pt x="2623" y="3566"/>
                  </a:cubicBezTo>
                  <a:lnTo>
                    <a:pt x="2623" y="2741"/>
                  </a:lnTo>
                  <a:cubicBezTo>
                    <a:pt x="2623" y="2722"/>
                    <a:pt x="2635" y="2706"/>
                    <a:pt x="2653" y="2702"/>
                  </a:cubicBezTo>
                  <a:lnTo>
                    <a:pt x="3101" y="2584"/>
                  </a:lnTo>
                  <a:cubicBezTo>
                    <a:pt x="3113" y="2581"/>
                    <a:pt x="3126" y="2583"/>
                    <a:pt x="3136" y="2591"/>
                  </a:cubicBezTo>
                  <a:cubicBezTo>
                    <a:pt x="3146" y="2599"/>
                    <a:pt x="3152" y="2610"/>
                    <a:pt x="3152" y="2623"/>
                  </a:cubicBezTo>
                  <a:lnTo>
                    <a:pt x="3152" y="3529"/>
                  </a:lnTo>
                  <a:lnTo>
                    <a:pt x="3152" y="3529"/>
                  </a:lnTo>
                  <a:close/>
                  <a:moveTo>
                    <a:pt x="3152" y="1717"/>
                  </a:moveTo>
                  <a:cubicBezTo>
                    <a:pt x="3152" y="1733"/>
                    <a:pt x="3142" y="1748"/>
                    <a:pt x="3128" y="1754"/>
                  </a:cubicBezTo>
                  <a:lnTo>
                    <a:pt x="2680" y="1953"/>
                  </a:lnTo>
                  <a:cubicBezTo>
                    <a:pt x="2674" y="1955"/>
                    <a:pt x="2669" y="1956"/>
                    <a:pt x="2663" y="1956"/>
                  </a:cubicBezTo>
                  <a:cubicBezTo>
                    <a:pt x="2656" y="1956"/>
                    <a:pt x="2648" y="1954"/>
                    <a:pt x="2641" y="1950"/>
                  </a:cubicBezTo>
                  <a:cubicBezTo>
                    <a:pt x="2630" y="1942"/>
                    <a:pt x="2623" y="1930"/>
                    <a:pt x="2623" y="1916"/>
                  </a:cubicBezTo>
                  <a:lnTo>
                    <a:pt x="2623" y="1091"/>
                  </a:lnTo>
                  <a:cubicBezTo>
                    <a:pt x="2623" y="1077"/>
                    <a:pt x="2630" y="1064"/>
                    <a:pt x="2642" y="1057"/>
                  </a:cubicBezTo>
                  <a:lnTo>
                    <a:pt x="3090" y="777"/>
                  </a:lnTo>
                  <a:cubicBezTo>
                    <a:pt x="3103" y="769"/>
                    <a:pt x="3118" y="769"/>
                    <a:pt x="3131" y="776"/>
                  </a:cubicBezTo>
                  <a:cubicBezTo>
                    <a:pt x="3144" y="783"/>
                    <a:pt x="3152" y="797"/>
                    <a:pt x="3152" y="811"/>
                  </a:cubicBezTo>
                  <a:lnTo>
                    <a:pt x="3152" y="1717"/>
                  </a:lnTo>
                  <a:lnTo>
                    <a:pt x="3152" y="1717"/>
                  </a:lnTo>
                  <a:close/>
                  <a:moveTo>
                    <a:pt x="4934" y="1266"/>
                  </a:moveTo>
                  <a:cubicBezTo>
                    <a:pt x="4934" y="1252"/>
                    <a:pt x="4941" y="1240"/>
                    <a:pt x="4952" y="1232"/>
                  </a:cubicBezTo>
                  <a:cubicBezTo>
                    <a:pt x="4963" y="1225"/>
                    <a:pt x="4978" y="1224"/>
                    <a:pt x="4990" y="1229"/>
                  </a:cubicBezTo>
                  <a:lnTo>
                    <a:pt x="5469" y="1436"/>
                  </a:lnTo>
                  <a:cubicBezTo>
                    <a:pt x="5483" y="1442"/>
                    <a:pt x="5493" y="1457"/>
                    <a:pt x="5493" y="1473"/>
                  </a:cubicBezTo>
                  <a:lnTo>
                    <a:pt x="5493" y="2187"/>
                  </a:lnTo>
                  <a:cubicBezTo>
                    <a:pt x="5493" y="2200"/>
                    <a:pt x="5487" y="2212"/>
                    <a:pt x="5477" y="2220"/>
                  </a:cubicBezTo>
                  <a:cubicBezTo>
                    <a:pt x="5470" y="2225"/>
                    <a:pt x="5461" y="2228"/>
                    <a:pt x="5453" y="2228"/>
                  </a:cubicBezTo>
                  <a:cubicBezTo>
                    <a:pt x="5449" y="2228"/>
                    <a:pt x="5445" y="2227"/>
                    <a:pt x="5441" y="2226"/>
                  </a:cubicBezTo>
                  <a:lnTo>
                    <a:pt x="4963" y="2079"/>
                  </a:lnTo>
                  <a:cubicBezTo>
                    <a:pt x="4946" y="2074"/>
                    <a:pt x="4934" y="2058"/>
                    <a:pt x="4934" y="2040"/>
                  </a:cubicBezTo>
                  <a:lnTo>
                    <a:pt x="4934" y="1266"/>
                  </a:lnTo>
                  <a:lnTo>
                    <a:pt x="4934" y="1266"/>
                  </a:lnTo>
                  <a:close/>
                  <a:moveTo>
                    <a:pt x="4934" y="2815"/>
                  </a:moveTo>
                  <a:cubicBezTo>
                    <a:pt x="4934" y="2803"/>
                    <a:pt x="4939" y="2791"/>
                    <a:pt x="4948" y="2784"/>
                  </a:cubicBezTo>
                  <a:cubicBezTo>
                    <a:pt x="4958" y="2776"/>
                    <a:pt x="4970" y="2773"/>
                    <a:pt x="4981" y="2775"/>
                  </a:cubicBezTo>
                  <a:lnTo>
                    <a:pt x="5460" y="2862"/>
                  </a:lnTo>
                  <a:cubicBezTo>
                    <a:pt x="5479" y="2866"/>
                    <a:pt x="5493" y="2882"/>
                    <a:pt x="5493" y="2902"/>
                  </a:cubicBezTo>
                  <a:lnTo>
                    <a:pt x="5493" y="3623"/>
                  </a:lnTo>
                  <a:cubicBezTo>
                    <a:pt x="5493" y="3634"/>
                    <a:pt x="5488" y="3645"/>
                    <a:pt x="5480" y="3653"/>
                  </a:cubicBezTo>
                  <a:cubicBezTo>
                    <a:pt x="5473" y="3660"/>
                    <a:pt x="5463" y="3664"/>
                    <a:pt x="5453" y="3664"/>
                  </a:cubicBezTo>
                  <a:cubicBezTo>
                    <a:pt x="5452" y="3664"/>
                    <a:pt x="5451" y="3663"/>
                    <a:pt x="5450" y="3663"/>
                  </a:cubicBezTo>
                  <a:lnTo>
                    <a:pt x="4971" y="3629"/>
                  </a:lnTo>
                  <a:cubicBezTo>
                    <a:pt x="4950" y="3628"/>
                    <a:pt x="4934" y="3610"/>
                    <a:pt x="4934" y="3589"/>
                  </a:cubicBezTo>
                  <a:lnTo>
                    <a:pt x="4934" y="2815"/>
                  </a:lnTo>
                  <a:close/>
                  <a:moveTo>
                    <a:pt x="3688" y="727"/>
                  </a:moveTo>
                  <a:cubicBezTo>
                    <a:pt x="3688" y="714"/>
                    <a:pt x="3695" y="701"/>
                    <a:pt x="3706" y="694"/>
                  </a:cubicBezTo>
                  <a:cubicBezTo>
                    <a:pt x="3718" y="686"/>
                    <a:pt x="3732" y="685"/>
                    <a:pt x="3744" y="690"/>
                  </a:cubicBezTo>
                  <a:lnTo>
                    <a:pt x="4424" y="984"/>
                  </a:lnTo>
                  <a:cubicBezTo>
                    <a:pt x="4439" y="991"/>
                    <a:pt x="4449" y="1005"/>
                    <a:pt x="4449" y="1021"/>
                  </a:cubicBezTo>
                  <a:lnTo>
                    <a:pt x="4449" y="1867"/>
                  </a:lnTo>
                  <a:cubicBezTo>
                    <a:pt x="4449" y="1879"/>
                    <a:pt x="4442" y="1891"/>
                    <a:pt x="4432" y="1899"/>
                  </a:cubicBezTo>
                  <a:cubicBezTo>
                    <a:pt x="4425" y="1904"/>
                    <a:pt x="4417" y="1907"/>
                    <a:pt x="4408" y="1907"/>
                  </a:cubicBezTo>
                  <a:cubicBezTo>
                    <a:pt x="4404" y="1907"/>
                    <a:pt x="4400" y="1906"/>
                    <a:pt x="4396" y="1905"/>
                  </a:cubicBezTo>
                  <a:lnTo>
                    <a:pt x="3717" y="1696"/>
                  </a:lnTo>
                  <a:cubicBezTo>
                    <a:pt x="3700" y="1691"/>
                    <a:pt x="3688" y="1675"/>
                    <a:pt x="3688" y="1658"/>
                  </a:cubicBezTo>
                  <a:lnTo>
                    <a:pt x="3688" y="727"/>
                  </a:lnTo>
                  <a:lnTo>
                    <a:pt x="3688" y="727"/>
                  </a:lnTo>
                  <a:close/>
                  <a:moveTo>
                    <a:pt x="3688" y="3518"/>
                  </a:moveTo>
                  <a:lnTo>
                    <a:pt x="3688" y="2588"/>
                  </a:lnTo>
                  <a:cubicBezTo>
                    <a:pt x="3688" y="2576"/>
                    <a:pt x="3694" y="2564"/>
                    <a:pt x="3703" y="2557"/>
                  </a:cubicBezTo>
                  <a:cubicBezTo>
                    <a:pt x="3712" y="2549"/>
                    <a:pt x="3724" y="2546"/>
                    <a:pt x="3736" y="2548"/>
                  </a:cubicBezTo>
                  <a:lnTo>
                    <a:pt x="4415" y="2672"/>
                  </a:lnTo>
                  <a:cubicBezTo>
                    <a:pt x="4434" y="2676"/>
                    <a:pt x="4448" y="2692"/>
                    <a:pt x="4448" y="2712"/>
                  </a:cubicBezTo>
                  <a:lnTo>
                    <a:pt x="4448" y="3557"/>
                  </a:lnTo>
                  <a:cubicBezTo>
                    <a:pt x="4448" y="3568"/>
                    <a:pt x="4444" y="3579"/>
                    <a:pt x="4436" y="3586"/>
                  </a:cubicBezTo>
                  <a:cubicBezTo>
                    <a:pt x="4428" y="3593"/>
                    <a:pt x="4418" y="3597"/>
                    <a:pt x="4408" y="3597"/>
                  </a:cubicBezTo>
                  <a:cubicBezTo>
                    <a:pt x="4407" y="3597"/>
                    <a:pt x="4407" y="3597"/>
                    <a:pt x="4406" y="3597"/>
                  </a:cubicBezTo>
                  <a:lnTo>
                    <a:pt x="3726" y="3558"/>
                  </a:lnTo>
                  <a:cubicBezTo>
                    <a:pt x="3705" y="3557"/>
                    <a:pt x="3688" y="3539"/>
                    <a:pt x="3688" y="3518"/>
                  </a:cubicBezTo>
                  <a:close/>
                  <a:moveTo>
                    <a:pt x="5014" y="6300"/>
                  </a:moveTo>
                  <a:cubicBezTo>
                    <a:pt x="5014" y="6317"/>
                    <a:pt x="5004" y="6331"/>
                    <a:pt x="4989" y="6338"/>
                  </a:cubicBezTo>
                  <a:lnTo>
                    <a:pt x="4099" y="6676"/>
                  </a:lnTo>
                  <a:cubicBezTo>
                    <a:pt x="4094" y="6677"/>
                    <a:pt x="4089" y="6678"/>
                    <a:pt x="4085" y="6678"/>
                  </a:cubicBezTo>
                  <a:cubicBezTo>
                    <a:pt x="4077" y="6678"/>
                    <a:pt x="4069" y="6676"/>
                    <a:pt x="4062" y="6671"/>
                  </a:cubicBezTo>
                  <a:cubicBezTo>
                    <a:pt x="4051" y="6664"/>
                    <a:pt x="4045" y="6651"/>
                    <a:pt x="4045" y="6638"/>
                  </a:cubicBezTo>
                  <a:lnTo>
                    <a:pt x="4045" y="4424"/>
                  </a:lnTo>
                  <a:cubicBezTo>
                    <a:pt x="4045" y="4403"/>
                    <a:pt x="4061" y="4385"/>
                    <a:pt x="4082" y="4384"/>
                  </a:cubicBezTo>
                  <a:lnTo>
                    <a:pt x="4972" y="4323"/>
                  </a:lnTo>
                  <a:cubicBezTo>
                    <a:pt x="4983" y="4323"/>
                    <a:pt x="4994" y="4327"/>
                    <a:pt x="5002" y="4334"/>
                  </a:cubicBezTo>
                  <a:cubicBezTo>
                    <a:pt x="5010" y="4342"/>
                    <a:pt x="5015" y="4352"/>
                    <a:pt x="5015" y="4364"/>
                  </a:cubicBezTo>
                  <a:lnTo>
                    <a:pt x="5015" y="6300"/>
                  </a:lnTo>
                  <a:lnTo>
                    <a:pt x="5014" y="6300"/>
                  </a:lnTo>
                  <a:close/>
                  <a:moveTo>
                    <a:pt x="6087" y="5892"/>
                  </a:moveTo>
                  <a:cubicBezTo>
                    <a:pt x="6087" y="5909"/>
                    <a:pt x="6076" y="5924"/>
                    <a:pt x="6061" y="5930"/>
                  </a:cubicBezTo>
                  <a:lnTo>
                    <a:pt x="5467" y="6156"/>
                  </a:lnTo>
                  <a:cubicBezTo>
                    <a:pt x="5462" y="6157"/>
                    <a:pt x="5458" y="6158"/>
                    <a:pt x="5453" y="6158"/>
                  </a:cubicBezTo>
                  <a:cubicBezTo>
                    <a:pt x="5445" y="6158"/>
                    <a:pt x="5437" y="6156"/>
                    <a:pt x="5430" y="6151"/>
                  </a:cubicBezTo>
                  <a:cubicBezTo>
                    <a:pt x="5419" y="6144"/>
                    <a:pt x="5413" y="6131"/>
                    <a:pt x="5413" y="6118"/>
                  </a:cubicBezTo>
                  <a:lnTo>
                    <a:pt x="5413" y="4331"/>
                  </a:lnTo>
                  <a:cubicBezTo>
                    <a:pt x="5413" y="4310"/>
                    <a:pt x="5429" y="4293"/>
                    <a:pt x="5450" y="4291"/>
                  </a:cubicBezTo>
                  <a:lnTo>
                    <a:pt x="6044" y="4251"/>
                  </a:lnTo>
                  <a:cubicBezTo>
                    <a:pt x="6055" y="4250"/>
                    <a:pt x="6066" y="4254"/>
                    <a:pt x="6074" y="4262"/>
                  </a:cubicBezTo>
                  <a:cubicBezTo>
                    <a:pt x="6082" y="4269"/>
                    <a:pt x="6087" y="4280"/>
                    <a:pt x="6087" y="4291"/>
                  </a:cubicBezTo>
                  <a:lnTo>
                    <a:pt x="6087" y="5892"/>
                  </a:lnTo>
                  <a:close/>
                  <a:moveTo>
                    <a:pt x="6258" y="3660"/>
                  </a:moveTo>
                  <a:cubicBezTo>
                    <a:pt x="6258" y="3671"/>
                    <a:pt x="6253" y="3682"/>
                    <a:pt x="6245" y="3690"/>
                  </a:cubicBezTo>
                  <a:cubicBezTo>
                    <a:pt x="6238" y="3697"/>
                    <a:pt x="6228" y="3701"/>
                    <a:pt x="6218" y="3701"/>
                  </a:cubicBezTo>
                  <a:lnTo>
                    <a:pt x="6215" y="3701"/>
                  </a:lnTo>
                  <a:lnTo>
                    <a:pt x="5860" y="3680"/>
                  </a:lnTo>
                  <a:cubicBezTo>
                    <a:pt x="5839" y="3679"/>
                    <a:pt x="5822" y="3662"/>
                    <a:pt x="5822" y="3640"/>
                  </a:cubicBezTo>
                  <a:lnTo>
                    <a:pt x="5822" y="2977"/>
                  </a:lnTo>
                  <a:cubicBezTo>
                    <a:pt x="5822" y="2965"/>
                    <a:pt x="5828" y="2953"/>
                    <a:pt x="5837" y="2946"/>
                  </a:cubicBezTo>
                  <a:cubicBezTo>
                    <a:pt x="5846" y="2938"/>
                    <a:pt x="5858" y="2935"/>
                    <a:pt x="5870" y="2937"/>
                  </a:cubicBezTo>
                  <a:lnTo>
                    <a:pt x="6225" y="3002"/>
                  </a:lnTo>
                  <a:cubicBezTo>
                    <a:pt x="6244" y="3005"/>
                    <a:pt x="6258" y="3022"/>
                    <a:pt x="6258" y="3041"/>
                  </a:cubicBezTo>
                  <a:lnTo>
                    <a:pt x="6258" y="3660"/>
                  </a:lnTo>
                  <a:lnTo>
                    <a:pt x="6258" y="3660"/>
                  </a:lnTo>
                  <a:close/>
                  <a:moveTo>
                    <a:pt x="6258" y="2422"/>
                  </a:moveTo>
                  <a:cubicBezTo>
                    <a:pt x="6258" y="2435"/>
                    <a:pt x="6252" y="2447"/>
                    <a:pt x="6242" y="2455"/>
                  </a:cubicBezTo>
                  <a:cubicBezTo>
                    <a:pt x="6235" y="2460"/>
                    <a:pt x="6226" y="2463"/>
                    <a:pt x="6218" y="2463"/>
                  </a:cubicBezTo>
                  <a:cubicBezTo>
                    <a:pt x="6214" y="2463"/>
                    <a:pt x="6210" y="2462"/>
                    <a:pt x="6206" y="2461"/>
                  </a:cubicBezTo>
                  <a:lnTo>
                    <a:pt x="5851" y="2352"/>
                  </a:lnTo>
                  <a:cubicBezTo>
                    <a:pt x="5834" y="2346"/>
                    <a:pt x="5823" y="2331"/>
                    <a:pt x="5823" y="2313"/>
                  </a:cubicBezTo>
                  <a:lnTo>
                    <a:pt x="5823" y="1650"/>
                  </a:lnTo>
                  <a:cubicBezTo>
                    <a:pt x="5823" y="1636"/>
                    <a:pt x="5829" y="1624"/>
                    <a:pt x="5841" y="1616"/>
                  </a:cubicBezTo>
                  <a:cubicBezTo>
                    <a:pt x="5852" y="1609"/>
                    <a:pt x="5866" y="1608"/>
                    <a:pt x="5879" y="1613"/>
                  </a:cubicBezTo>
                  <a:lnTo>
                    <a:pt x="6234" y="1766"/>
                  </a:lnTo>
                  <a:cubicBezTo>
                    <a:pt x="6249" y="1773"/>
                    <a:pt x="6258" y="1787"/>
                    <a:pt x="6258" y="1803"/>
                  </a:cubicBezTo>
                  <a:lnTo>
                    <a:pt x="6258" y="2422"/>
                  </a:lnTo>
                  <a:lnTo>
                    <a:pt x="6258" y="2422"/>
                  </a:lnTo>
                  <a:close/>
                  <a:moveTo>
                    <a:pt x="6968" y="4762"/>
                  </a:moveTo>
                  <a:cubicBezTo>
                    <a:pt x="6968" y="4781"/>
                    <a:pt x="6954" y="4798"/>
                    <a:pt x="6935" y="4801"/>
                  </a:cubicBezTo>
                  <a:lnTo>
                    <a:pt x="6677" y="4851"/>
                  </a:lnTo>
                  <a:cubicBezTo>
                    <a:pt x="6674" y="4852"/>
                    <a:pt x="6672" y="4852"/>
                    <a:pt x="6669" y="4852"/>
                  </a:cubicBezTo>
                  <a:cubicBezTo>
                    <a:pt x="6660" y="4852"/>
                    <a:pt x="6651" y="4848"/>
                    <a:pt x="6644" y="4842"/>
                  </a:cubicBezTo>
                  <a:cubicBezTo>
                    <a:pt x="6635" y="4835"/>
                    <a:pt x="6629" y="4824"/>
                    <a:pt x="6629" y="4812"/>
                  </a:cubicBezTo>
                  <a:lnTo>
                    <a:pt x="6629" y="4249"/>
                  </a:lnTo>
                  <a:cubicBezTo>
                    <a:pt x="6629" y="4228"/>
                    <a:pt x="6646" y="4210"/>
                    <a:pt x="6667" y="4209"/>
                  </a:cubicBezTo>
                  <a:lnTo>
                    <a:pt x="6925" y="4191"/>
                  </a:lnTo>
                  <a:cubicBezTo>
                    <a:pt x="6936" y="4191"/>
                    <a:pt x="6947" y="4195"/>
                    <a:pt x="6955" y="4202"/>
                  </a:cubicBezTo>
                  <a:cubicBezTo>
                    <a:pt x="6963" y="4210"/>
                    <a:pt x="6968" y="4220"/>
                    <a:pt x="6968" y="4232"/>
                  </a:cubicBezTo>
                  <a:lnTo>
                    <a:pt x="6968" y="4762"/>
                  </a:lnTo>
                  <a:lnTo>
                    <a:pt x="6968" y="4762"/>
                  </a:lnTo>
                  <a:close/>
                  <a:moveTo>
                    <a:pt x="6968" y="3701"/>
                  </a:moveTo>
                  <a:cubicBezTo>
                    <a:pt x="6968" y="3712"/>
                    <a:pt x="6963" y="3723"/>
                    <a:pt x="6955" y="3730"/>
                  </a:cubicBezTo>
                  <a:cubicBezTo>
                    <a:pt x="6947" y="3737"/>
                    <a:pt x="6938" y="3741"/>
                    <a:pt x="6927" y="3741"/>
                  </a:cubicBezTo>
                  <a:lnTo>
                    <a:pt x="6925" y="3741"/>
                  </a:lnTo>
                  <a:lnTo>
                    <a:pt x="6667" y="3726"/>
                  </a:lnTo>
                  <a:cubicBezTo>
                    <a:pt x="6646" y="3725"/>
                    <a:pt x="6629" y="3708"/>
                    <a:pt x="6629" y="3686"/>
                  </a:cubicBezTo>
                  <a:lnTo>
                    <a:pt x="6629" y="3124"/>
                  </a:lnTo>
                  <a:cubicBezTo>
                    <a:pt x="6629" y="3112"/>
                    <a:pt x="6634" y="3101"/>
                    <a:pt x="6644" y="3093"/>
                  </a:cubicBezTo>
                  <a:cubicBezTo>
                    <a:pt x="6653" y="3085"/>
                    <a:pt x="6665" y="3082"/>
                    <a:pt x="6677" y="3084"/>
                  </a:cubicBezTo>
                  <a:lnTo>
                    <a:pt x="6934" y="3131"/>
                  </a:lnTo>
                  <a:cubicBezTo>
                    <a:pt x="6953" y="3135"/>
                    <a:pt x="6967" y="3151"/>
                    <a:pt x="6967" y="3171"/>
                  </a:cubicBezTo>
                  <a:lnTo>
                    <a:pt x="6967" y="3701"/>
                  </a:lnTo>
                  <a:lnTo>
                    <a:pt x="6968" y="3701"/>
                  </a:lnTo>
                  <a:close/>
                  <a:moveTo>
                    <a:pt x="7404" y="4678"/>
                  </a:moveTo>
                  <a:cubicBezTo>
                    <a:pt x="7404" y="4697"/>
                    <a:pt x="7390" y="4714"/>
                    <a:pt x="7371" y="4717"/>
                  </a:cubicBezTo>
                  <a:lnTo>
                    <a:pt x="7165" y="4757"/>
                  </a:lnTo>
                  <a:cubicBezTo>
                    <a:pt x="7162" y="4757"/>
                    <a:pt x="7160" y="4758"/>
                    <a:pt x="7157" y="4758"/>
                  </a:cubicBezTo>
                  <a:cubicBezTo>
                    <a:pt x="7148" y="4758"/>
                    <a:pt x="7139" y="4754"/>
                    <a:pt x="7132" y="4748"/>
                  </a:cubicBezTo>
                  <a:cubicBezTo>
                    <a:pt x="7122" y="4741"/>
                    <a:pt x="7117" y="4729"/>
                    <a:pt x="7117" y="4717"/>
                  </a:cubicBezTo>
                  <a:lnTo>
                    <a:pt x="7117" y="4216"/>
                  </a:lnTo>
                  <a:cubicBezTo>
                    <a:pt x="7117" y="4195"/>
                    <a:pt x="7134" y="4177"/>
                    <a:pt x="7155" y="4176"/>
                  </a:cubicBezTo>
                  <a:lnTo>
                    <a:pt x="7361" y="4162"/>
                  </a:lnTo>
                  <a:cubicBezTo>
                    <a:pt x="7372" y="4161"/>
                    <a:pt x="7383" y="4165"/>
                    <a:pt x="7391" y="4172"/>
                  </a:cubicBezTo>
                  <a:cubicBezTo>
                    <a:pt x="7399" y="4180"/>
                    <a:pt x="7404" y="4191"/>
                    <a:pt x="7404" y="4202"/>
                  </a:cubicBezTo>
                  <a:lnTo>
                    <a:pt x="7404" y="4678"/>
                  </a:lnTo>
                  <a:lnTo>
                    <a:pt x="7404" y="4678"/>
                  </a:lnTo>
                  <a:close/>
                  <a:moveTo>
                    <a:pt x="7404" y="3726"/>
                  </a:moveTo>
                  <a:cubicBezTo>
                    <a:pt x="7404" y="3737"/>
                    <a:pt x="7399" y="3748"/>
                    <a:pt x="7391" y="3755"/>
                  </a:cubicBezTo>
                  <a:cubicBezTo>
                    <a:pt x="7384" y="3762"/>
                    <a:pt x="7374" y="3766"/>
                    <a:pt x="7364" y="3766"/>
                  </a:cubicBezTo>
                  <a:cubicBezTo>
                    <a:pt x="7363" y="3766"/>
                    <a:pt x="7362" y="3766"/>
                    <a:pt x="7361" y="3766"/>
                  </a:cubicBezTo>
                  <a:lnTo>
                    <a:pt x="7155" y="3754"/>
                  </a:lnTo>
                  <a:cubicBezTo>
                    <a:pt x="7134" y="3753"/>
                    <a:pt x="7117" y="3736"/>
                    <a:pt x="7117" y="3714"/>
                  </a:cubicBezTo>
                  <a:lnTo>
                    <a:pt x="7117" y="3219"/>
                  </a:lnTo>
                  <a:cubicBezTo>
                    <a:pt x="7117" y="3207"/>
                    <a:pt x="7122" y="3196"/>
                    <a:pt x="7131" y="3188"/>
                  </a:cubicBezTo>
                  <a:cubicBezTo>
                    <a:pt x="7140" y="3181"/>
                    <a:pt x="7152" y="3177"/>
                    <a:pt x="7164" y="3179"/>
                  </a:cubicBezTo>
                  <a:lnTo>
                    <a:pt x="7370" y="3210"/>
                  </a:lnTo>
                  <a:cubicBezTo>
                    <a:pt x="7390" y="3213"/>
                    <a:pt x="7404" y="3230"/>
                    <a:pt x="7404" y="3250"/>
                  </a:cubicBezTo>
                  <a:lnTo>
                    <a:pt x="7404" y="3726"/>
                  </a:lnTo>
                  <a:lnTo>
                    <a:pt x="7404" y="372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" name="ïślíḑê">
              <a:extLst>
                <a:ext uri="{FF2B5EF4-FFF2-40B4-BE49-F238E27FC236}">
                  <a16:creationId xmlns:a16="http://schemas.microsoft.com/office/drawing/2014/main" id="{B11114A2-3DB5-4CC4-B3EA-EA090110284A}"/>
                </a:ext>
              </a:extLst>
            </p:cNvPr>
            <p:cNvSpPr/>
            <p:nvPr/>
          </p:nvSpPr>
          <p:spPr>
            <a:xfrm>
              <a:off x="1814059" y="3987800"/>
              <a:ext cx="190667" cy="19066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íslidê">
              <a:extLst>
                <a:ext uri="{FF2B5EF4-FFF2-40B4-BE49-F238E27FC236}">
                  <a16:creationId xmlns:a16="http://schemas.microsoft.com/office/drawing/2014/main" id="{742A1BCE-7086-428B-B7A5-EB80719E7F14}"/>
                </a:ext>
              </a:extLst>
            </p:cNvPr>
            <p:cNvSpPr/>
            <p:nvPr/>
          </p:nvSpPr>
          <p:spPr>
            <a:xfrm>
              <a:off x="4605130" y="3987800"/>
              <a:ext cx="190667" cy="190667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îśḷidê">
              <a:extLst>
                <a:ext uri="{FF2B5EF4-FFF2-40B4-BE49-F238E27FC236}">
                  <a16:creationId xmlns:a16="http://schemas.microsoft.com/office/drawing/2014/main" id="{C73AE0B3-1983-4505-83ED-48918C4494F6}"/>
                </a:ext>
              </a:extLst>
            </p:cNvPr>
            <p:cNvSpPr/>
            <p:nvPr/>
          </p:nvSpPr>
          <p:spPr>
            <a:xfrm>
              <a:off x="7396201" y="3987800"/>
              <a:ext cx="190667" cy="19066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ḷîḓé">
              <a:extLst>
                <a:ext uri="{FF2B5EF4-FFF2-40B4-BE49-F238E27FC236}">
                  <a16:creationId xmlns:a16="http://schemas.microsoft.com/office/drawing/2014/main" id="{A15F32CC-A3B6-4C2C-B7EC-30EFAAE3BC72}"/>
                </a:ext>
              </a:extLst>
            </p:cNvPr>
            <p:cNvSpPr/>
            <p:nvPr/>
          </p:nvSpPr>
          <p:spPr>
            <a:xfrm>
              <a:off x="10187273" y="3987800"/>
              <a:ext cx="190667" cy="190667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îS1íḑe">
              <a:extLst>
                <a:ext uri="{FF2B5EF4-FFF2-40B4-BE49-F238E27FC236}">
                  <a16:creationId xmlns:a16="http://schemas.microsoft.com/office/drawing/2014/main" id="{A6983B25-6F0E-47DA-8A1E-1A6FF5EBFC4E}"/>
                </a:ext>
              </a:extLst>
            </p:cNvPr>
            <p:cNvSpPr txBox="1"/>
            <p:nvPr/>
          </p:nvSpPr>
          <p:spPr>
            <a:xfrm>
              <a:off x="673099" y="4853291"/>
              <a:ext cx="2472586" cy="52835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20" name="íṥḷíḓè">
              <a:extLst>
                <a:ext uri="{FF2B5EF4-FFF2-40B4-BE49-F238E27FC236}">
                  <a16:creationId xmlns:a16="http://schemas.microsoft.com/office/drawing/2014/main" id="{8A1F7CF3-5177-4AA9-85C6-1B3BB336BA11}"/>
                </a:ext>
              </a:extLst>
            </p:cNvPr>
            <p:cNvSpPr txBox="1"/>
            <p:nvPr/>
          </p:nvSpPr>
          <p:spPr>
            <a:xfrm>
              <a:off x="3464170" y="4853291"/>
              <a:ext cx="2472586" cy="52835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21" name="işļîḑè">
              <a:extLst>
                <a:ext uri="{FF2B5EF4-FFF2-40B4-BE49-F238E27FC236}">
                  <a16:creationId xmlns:a16="http://schemas.microsoft.com/office/drawing/2014/main" id="{FD2C17A4-F17B-43AC-ADFE-BCE3B22D324F}"/>
                </a:ext>
              </a:extLst>
            </p:cNvPr>
            <p:cNvSpPr txBox="1"/>
            <p:nvPr/>
          </p:nvSpPr>
          <p:spPr>
            <a:xfrm>
              <a:off x="6255242" y="4853291"/>
              <a:ext cx="2472586" cy="52835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22" name="îš1íḑè">
              <a:extLst>
                <a:ext uri="{FF2B5EF4-FFF2-40B4-BE49-F238E27FC236}">
                  <a16:creationId xmlns:a16="http://schemas.microsoft.com/office/drawing/2014/main" id="{969B5EF8-0F9A-4978-9C6F-FE776745A958}"/>
                </a:ext>
              </a:extLst>
            </p:cNvPr>
            <p:cNvSpPr txBox="1"/>
            <p:nvPr/>
          </p:nvSpPr>
          <p:spPr>
            <a:xfrm>
              <a:off x="9046313" y="4853291"/>
              <a:ext cx="2472586" cy="52835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23" name="iŝľíḋé">
              <a:extLst>
                <a:ext uri="{FF2B5EF4-FFF2-40B4-BE49-F238E27FC236}">
                  <a16:creationId xmlns:a16="http://schemas.microsoft.com/office/drawing/2014/main" id="{E2B18508-E827-45C1-921D-6E3F77C10AC7}"/>
                </a:ext>
              </a:extLst>
            </p:cNvPr>
            <p:cNvSpPr txBox="1"/>
            <p:nvPr/>
          </p:nvSpPr>
          <p:spPr>
            <a:xfrm>
              <a:off x="673099" y="1130300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Unified fonts make reading more flu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26000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5115F7-BE9E-4E9A-AF62-7D3BCE4FB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2BDB3DD-02CE-442B-80D0-AEFB54606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grpSp>
        <p:nvGrpSpPr>
          <p:cNvPr id="5" name="26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7060C33-E68E-49E0-9291-4743EFD7AEF4}"/>
              </a:ext>
            </a:extLst>
          </p:cNvPr>
          <p:cNvGrpSpPr>
            <a:grpSpLocks noChangeAspect="1"/>
          </p:cNvGrpSpPr>
          <p:nvPr/>
        </p:nvGrpSpPr>
        <p:grpSpPr>
          <a:xfrm>
            <a:off x="746677" y="1225011"/>
            <a:ext cx="10726185" cy="4745746"/>
            <a:chOff x="746677" y="1225011"/>
            <a:chExt cx="10726187" cy="4745747"/>
          </a:xfrm>
        </p:grpSpPr>
        <p:grpSp>
          <p:nvGrpSpPr>
            <p:cNvPr id="6" name="îşlíḋé">
              <a:extLst>
                <a:ext uri="{FF2B5EF4-FFF2-40B4-BE49-F238E27FC236}">
                  <a16:creationId xmlns:a16="http://schemas.microsoft.com/office/drawing/2014/main" id="{023516A7-AF0F-4E76-B6C2-DFF55A27381F}"/>
                </a:ext>
              </a:extLst>
            </p:cNvPr>
            <p:cNvGrpSpPr/>
            <p:nvPr/>
          </p:nvGrpSpPr>
          <p:grpSpPr>
            <a:xfrm>
              <a:off x="756316" y="1628800"/>
              <a:ext cx="10716548" cy="4341958"/>
              <a:chOff x="420530" y="1212875"/>
              <a:chExt cx="11052332" cy="4478007"/>
            </a:xfrm>
          </p:grpSpPr>
          <p:grpSp>
            <p:nvGrpSpPr>
              <p:cNvPr id="9" name="íṣļiďe">
                <a:extLst>
                  <a:ext uri="{FF2B5EF4-FFF2-40B4-BE49-F238E27FC236}">
                    <a16:creationId xmlns:a16="http://schemas.microsoft.com/office/drawing/2014/main" id="{70C11B8D-265A-4C9C-8D81-DD3391CE8CC4}"/>
                  </a:ext>
                </a:extLst>
              </p:cNvPr>
              <p:cNvGrpSpPr/>
              <p:nvPr/>
            </p:nvGrpSpPr>
            <p:grpSpPr>
              <a:xfrm>
                <a:off x="8714330" y="1212875"/>
                <a:ext cx="2758532" cy="2242733"/>
                <a:chOff x="8714330" y="1212875"/>
                <a:chExt cx="2758532" cy="2242733"/>
              </a:xfrm>
            </p:grpSpPr>
            <p:grpSp>
              <p:nvGrpSpPr>
                <p:cNvPr id="43" name="iśļíḑè">
                  <a:extLst>
                    <a:ext uri="{FF2B5EF4-FFF2-40B4-BE49-F238E27FC236}">
                      <a16:creationId xmlns:a16="http://schemas.microsoft.com/office/drawing/2014/main" id="{A4042635-D640-44FF-A4BF-49AA3A3A6E91}"/>
                    </a:ext>
                  </a:extLst>
                </p:cNvPr>
                <p:cNvGrpSpPr/>
                <p:nvPr/>
              </p:nvGrpSpPr>
              <p:grpSpPr>
                <a:xfrm>
                  <a:off x="8714330" y="1212875"/>
                  <a:ext cx="2758532" cy="744318"/>
                  <a:chOff x="8270777" y="3921481"/>
                  <a:chExt cx="3202086" cy="864000"/>
                </a:xfrm>
              </p:grpSpPr>
              <p:sp>
                <p:nvSpPr>
                  <p:cNvPr id="47" name="íšļidê">
                    <a:extLst>
                      <a:ext uri="{FF2B5EF4-FFF2-40B4-BE49-F238E27FC236}">
                        <a16:creationId xmlns:a16="http://schemas.microsoft.com/office/drawing/2014/main" id="{8487556A-1EC0-4834-8099-FA8731ADFCB5}"/>
                      </a:ext>
                    </a:extLst>
                  </p:cNvPr>
                  <p:cNvSpPr/>
                  <p:nvPr/>
                </p:nvSpPr>
                <p:spPr>
                  <a:xfrm>
                    <a:off x="8270777" y="3921481"/>
                    <a:ext cx="3202086" cy="86400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48" name="íśľiḑe">
                    <a:extLst>
                      <a:ext uri="{FF2B5EF4-FFF2-40B4-BE49-F238E27FC236}">
                        <a16:creationId xmlns:a16="http://schemas.microsoft.com/office/drawing/2014/main" id="{F0A237DB-1D73-4C87-829F-58B8C7AA7D48}"/>
                      </a:ext>
                    </a:extLst>
                  </p:cNvPr>
                  <p:cNvGrpSpPr/>
                  <p:nvPr/>
                </p:nvGrpSpPr>
                <p:grpSpPr>
                  <a:xfrm>
                    <a:off x="8854103" y="4071318"/>
                    <a:ext cx="2459083" cy="619662"/>
                    <a:chOff x="8544272" y="2820469"/>
                    <a:chExt cx="2459083" cy="619662"/>
                  </a:xfrm>
                </p:grpSpPr>
                <p:sp>
                  <p:nvSpPr>
                    <p:cNvPr id="49" name="ïṧḷiḑé">
                      <a:extLst>
                        <a:ext uri="{FF2B5EF4-FFF2-40B4-BE49-F238E27FC236}">
                          <a16:creationId xmlns:a16="http://schemas.microsoft.com/office/drawing/2014/main" id="{A04EEBCF-EBCD-40F9-A0BB-AEA7FB1970A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308442" y="2973413"/>
                      <a:ext cx="1694913" cy="40530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1440" tIns="45720" rIns="91440" bIns="45720">
                      <a:normAutofit/>
                    </a:bodyPr>
                    <a:lstStyle/>
                    <a:p>
                      <a:pPr algn="ctr">
                        <a:spcBef>
                          <a:spcPct val="0"/>
                        </a:spcBef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</a:rPr>
                        <a:t>Text here</a:t>
                      </a:r>
                    </a:p>
                  </p:txBody>
                </p:sp>
                <p:grpSp>
                  <p:nvGrpSpPr>
                    <p:cNvPr id="50" name="îšḻïḓé">
                      <a:extLst>
                        <a:ext uri="{FF2B5EF4-FFF2-40B4-BE49-F238E27FC236}">
                          <a16:creationId xmlns:a16="http://schemas.microsoft.com/office/drawing/2014/main" id="{0C3D6E65-7892-4FD2-BD16-0F365C61AC9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544272" y="2820469"/>
                      <a:ext cx="619662" cy="619662"/>
                      <a:chOff x="8544272" y="2820469"/>
                      <a:chExt cx="619662" cy="619662"/>
                    </a:xfrm>
                  </p:grpSpPr>
                  <p:sp>
                    <p:nvSpPr>
                      <p:cNvPr id="51" name="ïšlîḓé">
                        <a:extLst>
                          <a:ext uri="{FF2B5EF4-FFF2-40B4-BE49-F238E27FC236}">
                            <a16:creationId xmlns:a16="http://schemas.microsoft.com/office/drawing/2014/main" id="{CFF453E2-F6C7-46E1-895F-98EB50E4C677}"/>
                          </a:ext>
                        </a:extLst>
                      </p:cNvPr>
                      <p:cNvSpPr/>
                      <p:nvPr/>
                    </p:nvSpPr>
                    <p:spPr>
                      <a:xfrm flipH="1">
                        <a:off x="8661024" y="3026083"/>
                        <a:ext cx="386158" cy="208435"/>
                      </a:xfrm>
                      <a:custGeom>
                        <a:avLst/>
                        <a:gdLst>
                          <a:gd name="T0" fmla="*/ 387 w 557"/>
                          <a:gd name="T1" fmla="*/ 250 h 301"/>
                          <a:gd name="T2" fmla="*/ 481 w 557"/>
                          <a:gd name="T3" fmla="*/ 250 h 301"/>
                          <a:gd name="T4" fmla="*/ 434 w 557"/>
                          <a:gd name="T5" fmla="*/ 271 h 301"/>
                          <a:gd name="T6" fmla="*/ 434 w 557"/>
                          <a:gd name="T7" fmla="*/ 229 h 301"/>
                          <a:gd name="T8" fmla="*/ 434 w 557"/>
                          <a:gd name="T9" fmla="*/ 271 h 301"/>
                          <a:gd name="T10" fmla="*/ 26 w 557"/>
                          <a:gd name="T11" fmla="*/ 233 h 301"/>
                          <a:gd name="T12" fmla="*/ 26 w 557"/>
                          <a:gd name="T13" fmla="*/ 233 h 301"/>
                          <a:gd name="T14" fmla="*/ 26 w 557"/>
                          <a:gd name="T15" fmla="*/ 233 h 301"/>
                          <a:gd name="T16" fmla="*/ 26 w 557"/>
                          <a:gd name="T17" fmla="*/ 252 h 301"/>
                          <a:gd name="T18" fmla="*/ 0 w 557"/>
                          <a:gd name="T19" fmla="*/ 233 h 301"/>
                          <a:gd name="T20" fmla="*/ 173 w 557"/>
                          <a:gd name="T21" fmla="*/ 233 h 301"/>
                          <a:gd name="T22" fmla="*/ 173 w 557"/>
                          <a:gd name="T23" fmla="*/ 252 h 301"/>
                          <a:gd name="T24" fmla="*/ 154 w 557"/>
                          <a:gd name="T25" fmla="*/ 243 h 301"/>
                          <a:gd name="T26" fmla="*/ 377 w 557"/>
                          <a:gd name="T27" fmla="*/ 243 h 301"/>
                          <a:gd name="T28" fmla="*/ 376 w 557"/>
                          <a:gd name="T29" fmla="*/ 257 h 301"/>
                          <a:gd name="T30" fmla="*/ 179 w 557"/>
                          <a:gd name="T31" fmla="*/ 243 h 301"/>
                          <a:gd name="T32" fmla="*/ 183 w 557"/>
                          <a:gd name="T33" fmla="*/ 0 h 301"/>
                          <a:gd name="T34" fmla="*/ 179 w 557"/>
                          <a:gd name="T35" fmla="*/ 47 h 301"/>
                          <a:gd name="T36" fmla="*/ 179 w 557"/>
                          <a:gd name="T37" fmla="*/ 239 h 301"/>
                          <a:gd name="T38" fmla="*/ 435 w 557"/>
                          <a:gd name="T39" fmla="*/ 193 h 301"/>
                          <a:gd name="T40" fmla="*/ 493 w 557"/>
                          <a:gd name="T41" fmla="*/ 234 h 301"/>
                          <a:gd name="T42" fmla="*/ 542 w 557"/>
                          <a:gd name="T43" fmla="*/ 181 h 301"/>
                          <a:gd name="T44" fmla="*/ 557 w 557"/>
                          <a:gd name="T45" fmla="*/ 0 h 301"/>
                          <a:gd name="T46" fmla="*/ 528 w 557"/>
                          <a:gd name="T47" fmla="*/ 210 h 301"/>
                          <a:gd name="T48" fmla="*/ 521 w 557"/>
                          <a:gd name="T49" fmla="*/ 181 h 301"/>
                          <a:gd name="T50" fmla="*/ 528 w 557"/>
                          <a:gd name="T51" fmla="*/ 210 h 301"/>
                          <a:gd name="T52" fmla="*/ 547 w 557"/>
                          <a:gd name="T53" fmla="*/ 238 h 301"/>
                          <a:gd name="T54" fmla="*/ 494 w 557"/>
                          <a:gd name="T55" fmla="*/ 252 h 301"/>
                          <a:gd name="T56" fmla="*/ 494 w 557"/>
                          <a:gd name="T57" fmla="*/ 238 h 301"/>
                          <a:gd name="T58" fmla="*/ 2 w 557"/>
                          <a:gd name="T59" fmla="*/ 152 h 301"/>
                          <a:gd name="T60" fmla="*/ 2 w 557"/>
                          <a:gd name="T61" fmla="*/ 228 h 301"/>
                          <a:gd name="T62" fmla="*/ 91 w 557"/>
                          <a:gd name="T63" fmla="*/ 180 h 301"/>
                          <a:gd name="T64" fmla="*/ 174 w 557"/>
                          <a:gd name="T65" fmla="*/ 228 h 301"/>
                          <a:gd name="T66" fmla="*/ 41 w 557"/>
                          <a:gd name="T67" fmla="*/ 46 h 301"/>
                          <a:gd name="T68" fmla="*/ 159 w 557"/>
                          <a:gd name="T69" fmla="*/ 60 h 301"/>
                          <a:gd name="T70" fmla="*/ 108 w 557"/>
                          <a:gd name="T71" fmla="*/ 105 h 301"/>
                          <a:gd name="T72" fmla="*/ 19 w 557"/>
                          <a:gd name="T73" fmla="*/ 137 h 301"/>
                          <a:gd name="T74" fmla="*/ 159 w 557"/>
                          <a:gd name="T75" fmla="*/ 60 h 301"/>
                          <a:gd name="T76" fmla="*/ 41 w 557"/>
                          <a:gd name="T77" fmla="*/ 250 h 301"/>
                          <a:gd name="T78" fmla="*/ 142 w 557"/>
                          <a:gd name="T79" fmla="*/ 250 h 301"/>
                          <a:gd name="T80" fmla="*/ 92 w 557"/>
                          <a:gd name="T81" fmla="*/ 272 h 301"/>
                          <a:gd name="T82" fmla="*/ 92 w 557"/>
                          <a:gd name="T83" fmla="*/ 228 h 301"/>
                          <a:gd name="T84" fmla="*/ 92 w 557"/>
                          <a:gd name="T85" fmla="*/ 272 h 30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</a:cxnLst>
                        <a:rect l="0" t="0" r="r" b="b"/>
                        <a:pathLst>
                          <a:path w="557" h="301">
                            <a:moveTo>
                              <a:pt x="434" y="203"/>
                            </a:moveTo>
                            <a:cubicBezTo>
                              <a:pt x="408" y="203"/>
                              <a:pt x="387" y="224"/>
                              <a:pt x="387" y="250"/>
                            </a:cubicBezTo>
                            <a:cubicBezTo>
                              <a:pt x="387" y="276"/>
                              <a:pt x="408" y="297"/>
                              <a:pt x="434" y="297"/>
                            </a:cubicBezTo>
                            <a:cubicBezTo>
                              <a:pt x="460" y="297"/>
                              <a:pt x="481" y="276"/>
                              <a:pt x="481" y="250"/>
                            </a:cubicBezTo>
                            <a:cubicBezTo>
                              <a:pt x="481" y="224"/>
                              <a:pt x="460" y="203"/>
                              <a:pt x="434" y="203"/>
                            </a:cubicBezTo>
                            <a:close/>
                            <a:moveTo>
                              <a:pt x="434" y="271"/>
                            </a:moveTo>
                            <a:cubicBezTo>
                              <a:pt x="423" y="271"/>
                              <a:pt x="414" y="261"/>
                              <a:pt x="414" y="250"/>
                            </a:cubicBezTo>
                            <a:cubicBezTo>
                              <a:pt x="414" y="238"/>
                              <a:pt x="423" y="229"/>
                              <a:pt x="434" y="229"/>
                            </a:cubicBezTo>
                            <a:cubicBezTo>
                              <a:pt x="446" y="229"/>
                              <a:pt x="455" y="238"/>
                              <a:pt x="455" y="250"/>
                            </a:cubicBezTo>
                            <a:cubicBezTo>
                              <a:pt x="455" y="261"/>
                              <a:pt x="446" y="271"/>
                              <a:pt x="434" y="271"/>
                            </a:cubicBezTo>
                            <a:close/>
                            <a:moveTo>
                              <a:pt x="26" y="233"/>
                            </a:moveTo>
                            <a:lnTo>
                              <a:pt x="26" y="233"/>
                            </a:lnTo>
                            <a:lnTo>
                              <a:pt x="26" y="233"/>
                            </a:lnTo>
                            <a:lnTo>
                              <a:pt x="26" y="233"/>
                            </a:lnTo>
                            <a:close/>
                            <a:moveTo>
                              <a:pt x="0" y="233"/>
                            </a:moveTo>
                            <a:lnTo>
                              <a:pt x="26" y="233"/>
                            </a:lnTo>
                            <a:cubicBezTo>
                              <a:pt x="25" y="236"/>
                              <a:pt x="25" y="239"/>
                              <a:pt x="25" y="243"/>
                            </a:cubicBezTo>
                            <a:cubicBezTo>
                              <a:pt x="25" y="246"/>
                              <a:pt x="25" y="249"/>
                              <a:pt x="26" y="252"/>
                            </a:cubicBezTo>
                            <a:lnTo>
                              <a:pt x="0" y="252"/>
                            </a:lnTo>
                            <a:lnTo>
                              <a:pt x="0" y="233"/>
                            </a:lnTo>
                            <a:close/>
                            <a:moveTo>
                              <a:pt x="154" y="233"/>
                            </a:moveTo>
                            <a:lnTo>
                              <a:pt x="173" y="233"/>
                            </a:lnTo>
                            <a:lnTo>
                              <a:pt x="173" y="233"/>
                            </a:lnTo>
                            <a:lnTo>
                              <a:pt x="173" y="252"/>
                            </a:lnTo>
                            <a:lnTo>
                              <a:pt x="154" y="252"/>
                            </a:lnTo>
                            <a:cubicBezTo>
                              <a:pt x="154" y="249"/>
                              <a:pt x="154" y="246"/>
                              <a:pt x="154" y="243"/>
                            </a:cubicBezTo>
                            <a:cubicBezTo>
                              <a:pt x="154" y="239"/>
                              <a:pt x="154" y="236"/>
                              <a:pt x="154" y="233"/>
                            </a:cubicBezTo>
                            <a:close/>
                            <a:moveTo>
                              <a:pt x="377" y="243"/>
                            </a:moveTo>
                            <a:cubicBezTo>
                              <a:pt x="376" y="246"/>
                              <a:pt x="376" y="249"/>
                              <a:pt x="376" y="252"/>
                            </a:cubicBezTo>
                            <a:cubicBezTo>
                              <a:pt x="376" y="253"/>
                              <a:pt x="376" y="255"/>
                              <a:pt x="376" y="257"/>
                            </a:cubicBezTo>
                            <a:lnTo>
                              <a:pt x="179" y="257"/>
                            </a:lnTo>
                            <a:lnTo>
                              <a:pt x="179" y="243"/>
                            </a:lnTo>
                            <a:lnTo>
                              <a:pt x="377" y="243"/>
                            </a:lnTo>
                            <a:close/>
                            <a:moveTo>
                              <a:pt x="183" y="0"/>
                            </a:moveTo>
                            <a:lnTo>
                              <a:pt x="183" y="47"/>
                            </a:lnTo>
                            <a:lnTo>
                              <a:pt x="179" y="47"/>
                            </a:lnTo>
                            <a:lnTo>
                              <a:pt x="179" y="226"/>
                            </a:lnTo>
                            <a:lnTo>
                              <a:pt x="179" y="239"/>
                            </a:lnTo>
                            <a:lnTo>
                              <a:pt x="377" y="239"/>
                            </a:lnTo>
                            <a:cubicBezTo>
                              <a:pt x="383" y="213"/>
                              <a:pt x="407" y="193"/>
                              <a:pt x="435" y="193"/>
                            </a:cubicBezTo>
                            <a:cubicBezTo>
                              <a:pt x="461" y="193"/>
                              <a:pt x="483" y="209"/>
                              <a:pt x="491" y="233"/>
                            </a:cubicBezTo>
                            <a:lnTo>
                              <a:pt x="493" y="234"/>
                            </a:lnTo>
                            <a:lnTo>
                              <a:pt x="542" y="234"/>
                            </a:lnTo>
                            <a:lnTo>
                              <a:pt x="542" y="181"/>
                            </a:lnTo>
                            <a:lnTo>
                              <a:pt x="557" y="181"/>
                            </a:lnTo>
                            <a:lnTo>
                              <a:pt x="557" y="0"/>
                            </a:lnTo>
                            <a:lnTo>
                              <a:pt x="183" y="0"/>
                            </a:lnTo>
                            <a:close/>
                            <a:moveTo>
                              <a:pt x="528" y="210"/>
                            </a:moveTo>
                            <a:lnTo>
                              <a:pt x="521" y="210"/>
                            </a:lnTo>
                            <a:lnTo>
                              <a:pt x="521" y="181"/>
                            </a:lnTo>
                            <a:lnTo>
                              <a:pt x="528" y="181"/>
                            </a:lnTo>
                            <a:lnTo>
                              <a:pt x="528" y="210"/>
                            </a:lnTo>
                            <a:close/>
                            <a:moveTo>
                              <a:pt x="494" y="238"/>
                            </a:moveTo>
                            <a:lnTo>
                              <a:pt x="547" y="238"/>
                            </a:lnTo>
                            <a:lnTo>
                              <a:pt x="547" y="252"/>
                            </a:lnTo>
                            <a:lnTo>
                              <a:pt x="494" y="252"/>
                            </a:lnTo>
                            <a:cubicBezTo>
                              <a:pt x="494" y="250"/>
                              <a:pt x="494" y="248"/>
                              <a:pt x="494" y="247"/>
                            </a:cubicBezTo>
                            <a:cubicBezTo>
                              <a:pt x="494" y="244"/>
                              <a:pt x="494" y="241"/>
                              <a:pt x="494" y="238"/>
                            </a:cubicBezTo>
                            <a:close/>
                            <a:moveTo>
                              <a:pt x="2" y="132"/>
                            </a:moveTo>
                            <a:lnTo>
                              <a:pt x="2" y="152"/>
                            </a:lnTo>
                            <a:lnTo>
                              <a:pt x="2" y="228"/>
                            </a:lnTo>
                            <a:lnTo>
                              <a:pt x="2" y="228"/>
                            </a:lnTo>
                            <a:lnTo>
                              <a:pt x="30" y="228"/>
                            </a:lnTo>
                            <a:cubicBezTo>
                              <a:pt x="37" y="200"/>
                              <a:pt x="62" y="180"/>
                              <a:pt x="91" y="180"/>
                            </a:cubicBezTo>
                            <a:cubicBezTo>
                              <a:pt x="121" y="180"/>
                              <a:pt x="146" y="200"/>
                              <a:pt x="152" y="228"/>
                            </a:cubicBezTo>
                            <a:lnTo>
                              <a:pt x="174" y="228"/>
                            </a:lnTo>
                            <a:lnTo>
                              <a:pt x="174" y="46"/>
                            </a:lnTo>
                            <a:lnTo>
                              <a:pt x="41" y="46"/>
                            </a:lnTo>
                            <a:lnTo>
                              <a:pt x="2" y="132"/>
                            </a:lnTo>
                            <a:close/>
                            <a:moveTo>
                              <a:pt x="159" y="60"/>
                            </a:moveTo>
                            <a:lnTo>
                              <a:pt x="159" y="105"/>
                            </a:lnTo>
                            <a:lnTo>
                              <a:pt x="108" y="105"/>
                            </a:lnTo>
                            <a:lnTo>
                              <a:pt x="70" y="137"/>
                            </a:lnTo>
                            <a:lnTo>
                              <a:pt x="19" y="137"/>
                            </a:lnTo>
                            <a:lnTo>
                              <a:pt x="47" y="60"/>
                            </a:lnTo>
                            <a:lnTo>
                              <a:pt x="159" y="60"/>
                            </a:lnTo>
                            <a:close/>
                            <a:moveTo>
                              <a:pt x="92" y="199"/>
                            </a:moveTo>
                            <a:cubicBezTo>
                              <a:pt x="64" y="199"/>
                              <a:pt x="41" y="222"/>
                              <a:pt x="41" y="250"/>
                            </a:cubicBezTo>
                            <a:cubicBezTo>
                              <a:pt x="41" y="278"/>
                              <a:pt x="64" y="301"/>
                              <a:pt x="92" y="301"/>
                            </a:cubicBezTo>
                            <a:cubicBezTo>
                              <a:pt x="120" y="301"/>
                              <a:pt x="142" y="278"/>
                              <a:pt x="142" y="250"/>
                            </a:cubicBezTo>
                            <a:cubicBezTo>
                              <a:pt x="142" y="222"/>
                              <a:pt x="120" y="199"/>
                              <a:pt x="92" y="199"/>
                            </a:cubicBezTo>
                            <a:close/>
                            <a:moveTo>
                              <a:pt x="92" y="272"/>
                            </a:moveTo>
                            <a:cubicBezTo>
                              <a:pt x="79" y="272"/>
                              <a:pt x="69" y="262"/>
                              <a:pt x="69" y="250"/>
                            </a:cubicBezTo>
                            <a:cubicBezTo>
                              <a:pt x="69" y="238"/>
                              <a:pt x="79" y="228"/>
                              <a:pt x="92" y="228"/>
                            </a:cubicBezTo>
                            <a:cubicBezTo>
                              <a:pt x="104" y="228"/>
                              <a:pt x="114" y="238"/>
                              <a:pt x="114" y="250"/>
                            </a:cubicBezTo>
                            <a:cubicBezTo>
                              <a:pt x="114" y="262"/>
                              <a:pt x="104" y="272"/>
                              <a:pt x="92" y="272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2700" cap="flat">
                        <a:noFill/>
                        <a:miter lim="400000"/>
                      </a:ln>
                      <a:effectLst/>
                    </p:spPr>
                    <p:txBody>
                      <a:bodyPr wrap="square" lIns="91440" tIns="45720" rIns="91440" bIns="45720" anchor="ctr">
                        <a:normAutofit fontScale="32500" lnSpcReduction="20000"/>
                      </a:bodyPr>
                      <a:lstStyle/>
                      <a:p>
                        <a:pPr algn="ctr"/>
                        <a:endParaRPr/>
                      </a:p>
                    </p:txBody>
                  </p:sp>
                  <p:sp>
                    <p:nvSpPr>
                      <p:cNvPr id="52" name="íŝ1íḑé">
                        <a:extLst>
                          <a:ext uri="{FF2B5EF4-FFF2-40B4-BE49-F238E27FC236}">
                            <a16:creationId xmlns:a16="http://schemas.microsoft.com/office/drawing/2014/main" id="{2A5E62FA-DDD0-4613-8370-EFB2DB051F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4272" y="2820469"/>
                        <a:ext cx="619662" cy="619662"/>
                      </a:xfrm>
                      <a:prstGeom prst="ellipse">
                        <a:avLst/>
                      </a:prstGeom>
                      <a:noFill/>
                      <a:ln w="9525" cap="flat" cmpd="sng" algn="ctr">
                        <a:solidFill>
                          <a:schemeClr val="bg1"/>
                        </a:solidFill>
                        <a:prstDash val="solid"/>
                        <a:miter lim="800000"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lIns="91440" tIns="45720" rIns="91440" bIns="45720" anchor="ctr">
                        <a:normAutofit/>
                      </a:bodyPr>
                      <a:lstStyle/>
                      <a:p>
                        <a:pPr algn="ctr"/>
                        <a:endParaRPr/>
                      </a:p>
                    </p:txBody>
                  </p:sp>
                </p:grpSp>
              </p:grpSp>
            </p:grp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6C98C957-5CD7-4685-A334-6AF55086F1E3}"/>
                    </a:ext>
                  </a:extLst>
                </p:cNvPr>
                <p:cNvCxnSpPr/>
                <p:nvPr/>
              </p:nvCxnSpPr>
              <p:spPr>
                <a:xfrm>
                  <a:off x="11472862" y="1212875"/>
                  <a:ext cx="0" cy="2242733"/>
                </a:xfrm>
                <a:prstGeom prst="line">
                  <a:avLst/>
                </a:prstGeom>
                <a:ln cap="rnd">
                  <a:solidFill>
                    <a:schemeClr val="bg1">
                      <a:lumMod val="5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îṧľîďè">
                  <a:extLst>
                    <a:ext uri="{FF2B5EF4-FFF2-40B4-BE49-F238E27FC236}">
                      <a16:creationId xmlns:a16="http://schemas.microsoft.com/office/drawing/2014/main" id="{DEDED851-311D-4003-B18A-A30F9F5CB9B9}"/>
                    </a:ext>
                  </a:extLst>
                </p:cNvPr>
                <p:cNvSpPr/>
                <p:nvPr/>
              </p:nvSpPr>
              <p:spPr>
                <a:xfrm>
                  <a:off x="9518423" y="2206893"/>
                  <a:ext cx="1875359" cy="498531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normAutofit fontScale="92500" lnSpcReduction="10000"/>
                </a:bodyPr>
                <a:lstStyle/>
                <a:p>
                  <a:pPr algn="r"/>
                  <a:r>
                    <a:rPr lang="en-US" altLang="zh-CN" sz="3600" b="1"/>
                    <a:t>2019</a:t>
                  </a:r>
                  <a:endParaRPr lang="en-US" altLang="zh-CN" sz="3600" b="1" dirty="0"/>
                </a:p>
              </p:txBody>
            </p:sp>
            <p:sp>
              <p:nvSpPr>
                <p:cNvPr id="46" name="ïṡlïḋe">
                  <a:extLst>
                    <a:ext uri="{FF2B5EF4-FFF2-40B4-BE49-F238E27FC236}">
                      <a16:creationId xmlns:a16="http://schemas.microsoft.com/office/drawing/2014/main" id="{74867424-6640-464F-B6B0-D3DA4B75D2E1}"/>
                    </a:ext>
                  </a:extLst>
                </p:cNvPr>
                <p:cNvSpPr/>
                <p:nvPr/>
              </p:nvSpPr>
              <p:spPr>
                <a:xfrm>
                  <a:off x="9516306" y="2729291"/>
                  <a:ext cx="1877476" cy="490720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normAutofit fontScale="55000" lnSpcReduction="2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2000" dirty="0"/>
                    <a:t>Copy paste fonts. Choose the only option to retain text.</a:t>
                  </a:r>
                </a:p>
              </p:txBody>
            </p:sp>
          </p:grpSp>
          <p:grpSp>
            <p:nvGrpSpPr>
              <p:cNvPr id="10" name="íṩļíḓé">
                <a:extLst>
                  <a:ext uri="{FF2B5EF4-FFF2-40B4-BE49-F238E27FC236}">
                    <a16:creationId xmlns:a16="http://schemas.microsoft.com/office/drawing/2014/main" id="{4FB89A85-988A-4A16-A747-D96FE4B8C349}"/>
                  </a:ext>
                </a:extLst>
              </p:cNvPr>
              <p:cNvGrpSpPr/>
              <p:nvPr/>
            </p:nvGrpSpPr>
            <p:grpSpPr>
              <a:xfrm>
                <a:off x="5949730" y="1957966"/>
                <a:ext cx="2758532" cy="2242733"/>
                <a:chOff x="6545803" y="2086828"/>
                <a:chExt cx="2758532" cy="2242733"/>
              </a:xfrm>
            </p:grpSpPr>
            <p:grpSp>
              <p:nvGrpSpPr>
                <p:cNvPr id="33" name="îşļíḋè">
                  <a:extLst>
                    <a:ext uri="{FF2B5EF4-FFF2-40B4-BE49-F238E27FC236}">
                      <a16:creationId xmlns:a16="http://schemas.microsoft.com/office/drawing/2014/main" id="{7BFAE29D-4A14-4C92-B1AD-4BDEFE501C20}"/>
                    </a:ext>
                  </a:extLst>
                </p:cNvPr>
                <p:cNvGrpSpPr/>
                <p:nvPr/>
              </p:nvGrpSpPr>
              <p:grpSpPr>
                <a:xfrm>
                  <a:off x="6545803" y="2086828"/>
                  <a:ext cx="2758532" cy="744318"/>
                  <a:chOff x="5753564" y="3061543"/>
                  <a:chExt cx="3202086" cy="864000"/>
                </a:xfrm>
              </p:grpSpPr>
              <p:sp>
                <p:nvSpPr>
                  <p:cNvPr id="37" name="íṥlïďê">
                    <a:extLst>
                      <a:ext uri="{FF2B5EF4-FFF2-40B4-BE49-F238E27FC236}">
                        <a16:creationId xmlns:a16="http://schemas.microsoft.com/office/drawing/2014/main" id="{1880F769-5085-42C8-AAA0-93035E0D16FC}"/>
                      </a:ext>
                    </a:extLst>
                  </p:cNvPr>
                  <p:cNvSpPr/>
                  <p:nvPr/>
                </p:nvSpPr>
                <p:spPr>
                  <a:xfrm>
                    <a:off x="5753564" y="3061543"/>
                    <a:ext cx="3202086" cy="8640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38" name="ïṧ1íḍe">
                    <a:extLst>
                      <a:ext uri="{FF2B5EF4-FFF2-40B4-BE49-F238E27FC236}">
                        <a16:creationId xmlns:a16="http://schemas.microsoft.com/office/drawing/2014/main" id="{2B4CF34E-2799-4A90-AE8E-9D4EB4FB9E5B}"/>
                      </a:ext>
                    </a:extLst>
                  </p:cNvPr>
                  <p:cNvGrpSpPr/>
                  <p:nvPr/>
                </p:nvGrpSpPr>
                <p:grpSpPr>
                  <a:xfrm>
                    <a:off x="6336890" y="3211380"/>
                    <a:ext cx="2459083" cy="619662"/>
                    <a:chOff x="8544272" y="2820469"/>
                    <a:chExt cx="2459083" cy="619662"/>
                  </a:xfrm>
                </p:grpSpPr>
                <p:sp>
                  <p:nvSpPr>
                    <p:cNvPr id="39" name="íş1îḋe">
                      <a:extLst>
                        <a:ext uri="{FF2B5EF4-FFF2-40B4-BE49-F238E27FC236}">
                          <a16:creationId xmlns:a16="http://schemas.microsoft.com/office/drawing/2014/main" id="{A70524A2-6183-40F6-A827-25143A72E01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308442" y="2973413"/>
                      <a:ext cx="1694913" cy="405305"/>
                    </a:xfrm>
                    <a:prstGeom prst="rect">
                      <a:avLst/>
                    </a:prstGeom>
                    <a:noFill/>
                  </p:spPr>
                  <p:txBody>
                    <a:bodyPr wrap="none">
                      <a:normAutofit/>
                    </a:bodyPr>
                    <a:lstStyle/>
                    <a:p>
                      <a:pPr algn="ctr">
                        <a:spcBef>
                          <a:spcPct val="0"/>
                        </a:spcBef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</a:rPr>
                        <a:t>Text here</a:t>
                      </a:r>
                    </a:p>
                  </p:txBody>
                </p:sp>
                <p:grpSp>
                  <p:nvGrpSpPr>
                    <p:cNvPr id="40" name="ïsḷíďé">
                      <a:extLst>
                        <a:ext uri="{FF2B5EF4-FFF2-40B4-BE49-F238E27FC236}">
                          <a16:creationId xmlns:a16="http://schemas.microsoft.com/office/drawing/2014/main" id="{53987B98-745E-4FA9-9AA7-8E0B64C719E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544272" y="2820469"/>
                      <a:ext cx="619662" cy="619662"/>
                      <a:chOff x="8544272" y="2820469"/>
                      <a:chExt cx="619662" cy="619662"/>
                    </a:xfrm>
                  </p:grpSpPr>
                  <p:sp>
                    <p:nvSpPr>
                      <p:cNvPr id="41" name="íSḷidé">
                        <a:extLst>
                          <a:ext uri="{FF2B5EF4-FFF2-40B4-BE49-F238E27FC236}">
                            <a16:creationId xmlns:a16="http://schemas.microsoft.com/office/drawing/2014/main" id="{2356D4ED-831F-4FF6-AE37-2E20616042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661024" y="3010797"/>
                        <a:ext cx="386158" cy="239007"/>
                      </a:xfrm>
                      <a:custGeom>
                        <a:avLst/>
                        <a:gdLst>
                          <a:gd name="connsiteX0" fmla="*/ 503767 w 608133"/>
                          <a:gd name="connsiteY0" fmla="*/ 295105 h 376396"/>
                          <a:gd name="connsiteX1" fmla="*/ 522820 w 608133"/>
                          <a:gd name="connsiteY1" fmla="*/ 314123 h 376396"/>
                          <a:gd name="connsiteX2" fmla="*/ 503767 w 608133"/>
                          <a:gd name="connsiteY2" fmla="*/ 333141 h 376396"/>
                          <a:gd name="connsiteX3" fmla="*/ 484714 w 608133"/>
                          <a:gd name="connsiteY3" fmla="*/ 314123 h 376396"/>
                          <a:gd name="connsiteX4" fmla="*/ 503767 w 608133"/>
                          <a:gd name="connsiteY4" fmla="*/ 295105 h 376396"/>
                          <a:gd name="connsiteX5" fmla="*/ 125466 w 608133"/>
                          <a:gd name="connsiteY5" fmla="*/ 295105 h 376396"/>
                          <a:gd name="connsiteX6" fmla="*/ 144519 w 608133"/>
                          <a:gd name="connsiteY6" fmla="*/ 314123 h 376396"/>
                          <a:gd name="connsiteX7" fmla="*/ 125466 w 608133"/>
                          <a:gd name="connsiteY7" fmla="*/ 333141 h 376396"/>
                          <a:gd name="connsiteX8" fmla="*/ 106413 w 608133"/>
                          <a:gd name="connsiteY8" fmla="*/ 314123 h 376396"/>
                          <a:gd name="connsiteX9" fmla="*/ 125466 w 608133"/>
                          <a:gd name="connsiteY9" fmla="*/ 295105 h 376396"/>
                          <a:gd name="connsiteX10" fmla="*/ 503707 w 608133"/>
                          <a:gd name="connsiteY10" fmla="*/ 271454 h 376396"/>
                          <a:gd name="connsiteX11" fmla="*/ 461050 w 608133"/>
                          <a:gd name="connsiteY11" fmla="*/ 314139 h 376396"/>
                          <a:gd name="connsiteX12" fmla="*/ 503707 w 608133"/>
                          <a:gd name="connsiteY12" fmla="*/ 356726 h 376396"/>
                          <a:gd name="connsiteX13" fmla="*/ 546463 w 608133"/>
                          <a:gd name="connsiteY13" fmla="*/ 314139 h 376396"/>
                          <a:gd name="connsiteX14" fmla="*/ 503707 w 608133"/>
                          <a:gd name="connsiteY14" fmla="*/ 271454 h 376396"/>
                          <a:gd name="connsiteX15" fmla="*/ 125410 w 608133"/>
                          <a:gd name="connsiteY15" fmla="*/ 271454 h 376396"/>
                          <a:gd name="connsiteX16" fmla="*/ 82753 w 608133"/>
                          <a:gd name="connsiteY16" fmla="*/ 314139 h 376396"/>
                          <a:gd name="connsiteX17" fmla="*/ 125410 w 608133"/>
                          <a:gd name="connsiteY17" fmla="*/ 356726 h 376396"/>
                          <a:gd name="connsiteX18" fmla="*/ 168165 w 608133"/>
                          <a:gd name="connsiteY18" fmla="*/ 314139 h 376396"/>
                          <a:gd name="connsiteX19" fmla="*/ 125410 w 608133"/>
                          <a:gd name="connsiteY19" fmla="*/ 271454 h 376396"/>
                          <a:gd name="connsiteX20" fmla="*/ 199035 w 608133"/>
                          <a:gd name="connsiteY20" fmla="*/ 262362 h 376396"/>
                          <a:gd name="connsiteX21" fmla="*/ 430197 w 608133"/>
                          <a:gd name="connsiteY21" fmla="*/ 262362 h 376396"/>
                          <a:gd name="connsiteX22" fmla="*/ 440046 w 608133"/>
                          <a:gd name="connsiteY22" fmla="*/ 272171 h 376396"/>
                          <a:gd name="connsiteX23" fmla="*/ 430197 w 608133"/>
                          <a:gd name="connsiteY23" fmla="*/ 281979 h 376396"/>
                          <a:gd name="connsiteX24" fmla="*/ 199035 w 608133"/>
                          <a:gd name="connsiteY24" fmla="*/ 281979 h 376396"/>
                          <a:gd name="connsiteX25" fmla="*/ 189186 w 608133"/>
                          <a:gd name="connsiteY25" fmla="*/ 272171 h 376396"/>
                          <a:gd name="connsiteX26" fmla="*/ 199035 w 608133"/>
                          <a:gd name="connsiteY26" fmla="*/ 262362 h 376396"/>
                          <a:gd name="connsiteX27" fmla="*/ 582815 w 608133"/>
                          <a:gd name="connsiteY27" fmla="*/ 194148 h 376396"/>
                          <a:gd name="connsiteX28" fmla="*/ 571485 w 608133"/>
                          <a:gd name="connsiteY28" fmla="*/ 201033 h 376396"/>
                          <a:gd name="connsiteX29" fmla="*/ 566166 w 608133"/>
                          <a:gd name="connsiteY29" fmla="*/ 210475 h 376396"/>
                          <a:gd name="connsiteX30" fmla="*/ 566166 w 608133"/>
                          <a:gd name="connsiteY30" fmla="*/ 220310 h 376396"/>
                          <a:gd name="connsiteX31" fmla="*/ 588430 w 608133"/>
                          <a:gd name="connsiteY31" fmla="*/ 220310 h 376396"/>
                          <a:gd name="connsiteX32" fmla="*/ 588430 w 608133"/>
                          <a:gd name="connsiteY32" fmla="*/ 208705 h 376396"/>
                          <a:gd name="connsiteX33" fmla="*/ 582815 w 608133"/>
                          <a:gd name="connsiteY33" fmla="*/ 194148 h 376396"/>
                          <a:gd name="connsiteX34" fmla="*/ 103751 w 608133"/>
                          <a:gd name="connsiteY34" fmla="*/ 114087 h 376396"/>
                          <a:gd name="connsiteX35" fmla="*/ 103751 w 608133"/>
                          <a:gd name="connsiteY35" fmla="*/ 114776 h 376396"/>
                          <a:gd name="connsiteX36" fmla="*/ 114984 w 608133"/>
                          <a:gd name="connsiteY36" fmla="*/ 125891 h 376396"/>
                          <a:gd name="connsiteX37" fmla="*/ 135973 w 608133"/>
                          <a:gd name="connsiteY37" fmla="*/ 125891 h 376396"/>
                          <a:gd name="connsiteX38" fmla="*/ 147108 w 608133"/>
                          <a:gd name="connsiteY38" fmla="*/ 114776 h 376396"/>
                          <a:gd name="connsiteX39" fmla="*/ 147108 w 608133"/>
                          <a:gd name="connsiteY39" fmla="*/ 114087 h 376396"/>
                          <a:gd name="connsiteX40" fmla="*/ 398001 w 608133"/>
                          <a:gd name="connsiteY40" fmla="*/ 72191 h 376396"/>
                          <a:gd name="connsiteX41" fmla="*/ 398001 w 608133"/>
                          <a:gd name="connsiteY41" fmla="*/ 136415 h 376396"/>
                          <a:gd name="connsiteX42" fmla="*/ 488339 w 608133"/>
                          <a:gd name="connsiteY42" fmla="*/ 136415 h 376396"/>
                          <a:gd name="connsiteX43" fmla="*/ 458686 w 608133"/>
                          <a:gd name="connsiteY43" fmla="*/ 72191 h 376396"/>
                          <a:gd name="connsiteX44" fmla="*/ 356624 w 608133"/>
                          <a:gd name="connsiteY44" fmla="*/ 72191 h 376396"/>
                          <a:gd name="connsiteX45" fmla="*/ 355935 w 608133"/>
                          <a:gd name="connsiteY45" fmla="*/ 72781 h 376396"/>
                          <a:gd name="connsiteX46" fmla="*/ 355935 w 608133"/>
                          <a:gd name="connsiteY46" fmla="*/ 114778 h 376396"/>
                          <a:gd name="connsiteX47" fmla="*/ 377608 w 608133"/>
                          <a:gd name="connsiteY47" fmla="*/ 136415 h 376396"/>
                          <a:gd name="connsiteX48" fmla="*/ 378298 w 608133"/>
                          <a:gd name="connsiteY48" fmla="*/ 136415 h 376396"/>
                          <a:gd name="connsiteX49" fmla="*/ 378298 w 608133"/>
                          <a:gd name="connsiteY49" fmla="*/ 72191 h 376396"/>
                          <a:gd name="connsiteX50" fmla="*/ 210451 w 608133"/>
                          <a:gd name="connsiteY50" fmla="*/ 61659 h 376396"/>
                          <a:gd name="connsiteX51" fmla="*/ 208875 w 608133"/>
                          <a:gd name="connsiteY51" fmla="*/ 63134 h 376396"/>
                          <a:gd name="connsiteX52" fmla="*/ 208875 w 608133"/>
                          <a:gd name="connsiteY52" fmla="*/ 167892 h 376396"/>
                          <a:gd name="connsiteX53" fmla="*/ 228663 w 608133"/>
                          <a:gd name="connsiteY53" fmla="*/ 167892 h 376396"/>
                          <a:gd name="connsiteX54" fmla="*/ 229156 w 608133"/>
                          <a:gd name="connsiteY54" fmla="*/ 167695 h 376396"/>
                          <a:gd name="connsiteX55" fmla="*/ 229254 w 608133"/>
                          <a:gd name="connsiteY55" fmla="*/ 167105 h 376396"/>
                          <a:gd name="connsiteX56" fmla="*/ 211927 w 608133"/>
                          <a:gd name="connsiteY56" fmla="*/ 62938 h 376396"/>
                          <a:gd name="connsiteX57" fmla="*/ 210451 w 608133"/>
                          <a:gd name="connsiteY57" fmla="*/ 61659 h 376396"/>
                          <a:gd name="connsiteX58" fmla="*/ 210352 w 608133"/>
                          <a:gd name="connsiteY58" fmla="*/ 41986 h 376396"/>
                          <a:gd name="connsiteX59" fmla="*/ 231321 w 608133"/>
                          <a:gd name="connsiteY59" fmla="*/ 59692 h 376396"/>
                          <a:gd name="connsiteX60" fmla="*/ 248747 w 608133"/>
                          <a:gd name="connsiteY60" fmla="*/ 163859 h 376396"/>
                          <a:gd name="connsiteX61" fmla="*/ 244120 w 608133"/>
                          <a:gd name="connsiteY61" fmla="*/ 180384 h 376396"/>
                          <a:gd name="connsiteX62" fmla="*/ 228663 w 608133"/>
                          <a:gd name="connsiteY62" fmla="*/ 187565 h 376396"/>
                          <a:gd name="connsiteX63" fmla="*/ 208875 w 608133"/>
                          <a:gd name="connsiteY63" fmla="*/ 187565 h 376396"/>
                          <a:gd name="connsiteX64" fmla="*/ 208875 w 608133"/>
                          <a:gd name="connsiteY64" fmla="*/ 230157 h 376396"/>
                          <a:gd name="connsiteX65" fmla="*/ 199031 w 608133"/>
                          <a:gd name="connsiteY65" fmla="*/ 239993 h 376396"/>
                          <a:gd name="connsiteX66" fmla="*/ 189186 w 608133"/>
                          <a:gd name="connsiteY66" fmla="*/ 230157 h 376396"/>
                          <a:gd name="connsiteX67" fmla="*/ 189186 w 608133"/>
                          <a:gd name="connsiteY67" fmla="*/ 63134 h 376396"/>
                          <a:gd name="connsiteX68" fmla="*/ 210352 w 608133"/>
                          <a:gd name="connsiteY68" fmla="*/ 41986 h 376396"/>
                          <a:gd name="connsiteX69" fmla="*/ 93897 w 608133"/>
                          <a:gd name="connsiteY69" fmla="*/ 41986 h 376396"/>
                          <a:gd name="connsiteX70" fmla="*/ 103751 w 608133"/>
                          <a:gd name="connsiteY70" fmla="*/ 51822 h 376396"/>
                          <a:gd name="connsiteX71" fmla="*/ 103751 w 608133"/>
                          <a:gd name="connsiteY71" fmla="*/ 94414 h 376396"/>
                          <a:gd name="connsiteX72" fmla="*/ 115576 w 608133"/>
                          <a:gd name="connsiteY72" fmla="*/ 94414 h 376396"/>
                          <a:gd name="connsiteX73" fmla="*/ 115576 w 608133"/>
                          <a:gd name="connsiteY73" fmla="*/ 51822 h 376396"/>
                          <a:gd name="connsiteX74" fmla="*/ 125430 w 608133"/>
                          <a:gd name="connsiteY74" fmla="*/ 41986 h 376396"/>
                          <a:gd name="connsiteX75" fmla="*/ 135283 w 608133"/>
                          <a:gd name="connsiteY75" fmla="*/ 51822 h 376396"/>
                          <a:gd name="connsiteX76" fmla="*/ 135283 w 608133"/>
                          <a:gd name="connsiteY76" fmla="*/ 94414 h 376396"/>
                          <a:gd name="connsiteX77" fmla="*/ 147108 w 608133"/>
                          <a:gd name="connsiteY77" fmla="*/ 94414 h 376396"/>
                          <a:gd name="connsiteX78" fmla="*/ 147108 w 608133"/>
                          <a:gd name="connsiteY78" fmla="*/ 51822 h 376396"/>
                          <a:gd name="connsiteX79" fmla="*/ 156962 w 608133"/>
                          <a:gd name="connsiteY79" fmla="*/ 41986 h 376396"/>
                          <a:gd name="connsiteX80" fmla="*/ 166816 w 608133"/>
                          <a:gd name="connsiteY80" fmla="*/ 51822 h 376396"/>
                          <a:gd name="connsiteX81" fmla="*/ 166816 w 608133"/>
                          <a:gd name="connsiteY81" fmla="*/ 114776 h 376396"/>
                          <a:gd name="connsiteX82" fmla="*/ 135973 w 608133"/>
                          <a:gd name="connsiteY82" fmla="*/ 145563 h 376396"/>
                          <a:gd name="connsiteX83" fmla="*/ 135283 w 608133"/>
                          <a:gd name="connsiteY83" fmla="*/ 145563 h 376396"/>
                          <a:gd name="connsiteX84" fmla="*/ 135283 w 608133"/>
                          <a:gd name="connsiteY84" fmla="*/ 230157 h 376396"/>
                          <a:gd name="connsiteX85" fmla="*/ 125430 w 608133"/>
                          <a:gd name="connsiteY85" fmla="*/ 239993 h 376396"/>
                          <a:gd name="connsiteX86" fmla="*/ 115576 w 608133"/>
                          <a:gd name="connsiteY86" fmla="*/ 230157 h 376396"/>
                          <a:gd name="connsiteX87" fmla="*/ 115576 w 608133"/>
                          <a:gd name="connsiteY87" fmla="*/ 145563 h 376396"/>
                          <a:gd name="connsiteX88" fmla="*/ 114984 w 608133"/>
                          <a:gd name="connsiteY88" fmla="*/ 145563 h 376396"/>
                          <a:gd name="connsiteX89" fmla="*/ 84043 w 608133"/>
                          <a:gd name="connsiteY89" fmla="*/ 114776 h 376396"/>
                          <a:gd name="connsiteX90" fmla="*/ 84043 w 608133"/>
                          <a:gd name="connsiteY90" fmla="*/ 51822 h 376396"/>
                          <a:gd name="connsiteX91" fmla="*/ 93897 w 608133"/>
                          <a:gd name="connsiteY91" fmla="*/ 41986 h 376396"/>
                          <a:gd name="connsiteX92" fmla="*/ 30835 w 608133"/>
                          <a:gd name="connsiteY92" fmla="*/ 19670 h 376396"/>
                          <a:gd name="connsiteX93" fmla="*/ 19703 w 608133"/>
                          <a:gd name="connsiteY93" fmla="*/ 30883 h 376396"/>
                          <a:gd name="connsiteX94" fmla="*/ 19703 w 608133"/>
                          <a:gd name="connsiteY94" fmla="*/ 262307 h 376396"/>
                          <a:gd name="connsiteX95" fmla="*/ 51917 w 608133"/>
                          <a:gd name="connsiteY95" fmla="*/ 262307 h 376396"/>
                          <a:gd name="connsiteX96" fmla="*/ 61769 w 608133"/>
                          <a:gd name="connsiteY96" fmla="*/ 272142 h 376396"/>
                          <a:gd name="connsiteX97" fmla="*/ 51917 w 608133"/>
                          <a:gd name="connsiteY97" fmla="*/ 281977 h 376396"/>
                          <a:gd name="connsiteX98" fmla="*/ 19703 w 608133"/>
                          <a:gd name="connsiteY98" fmla="*/ 281977 h 376396"/>
                          <a:gd name="connsiteX99" fmla="*/ 19703 w 608133"/>
                          <a:gd name="connsiteY99" fmla="*/ 293091 h 376396"/>
                          <a:gd name="connsiteX100" fmla="*/ 30835 w 608133"/>
                          <a:gd name="connsiteY100" fmla="*/ 304304 h 376396"/>
                          <a:gd name="connsiteX101" fmla="*/ 63838 w 608133"/>
                          <a:gd name="connsiteY101" fmla="*/ 304304 h 376396"/>
                          <a:gd name="connsiteX102" fmla="*/ 125410 w 608133"/>
                          <a:gd name="connsiteY102" fmla="*/ 251783 h 376396"/>
                          <a:gd name="connsiteX103" fmla="*/ 187080 w 608133"/>
                          <a:gd name="connsiteY103" fmla="*/ 304304 h 376396"/>
                          <a:gd name="connsiteX104" fmla="*/ 442135 w 608133"/>
                          <a:gd name="connsiteY104" fmla="*/ 304304 h 376396"/>
                          <a:gd name="connsiteX105" fmla="*/ 503707 w 608133"/>
                          <a:gd name="connsiteY105" fmla="*/ 251783 h 376396"/>
                          <a:gd name="connsiteX106" fmla="*/ 565378 w 608133"/>
                          <a:gd name="connsiteY106" fmla="*/ 304304 h 376396"/>
                          <a:gd name="connsiteX107" fmla="*/ 577298 w 608133"/>
                          <a:gd name="connsiteY107" fmla="*/ 304304 h 376396"/>
                          <a:gd name="connsiteX108" fmla="*/ 588430 w 608133"/>
                          <a:gd name="connsiteY108" fmla="*/ 293091 h 376396"/>
                          <a:gd name="connsiteX109" fmla="*/ 588430 w 608133"/>
                          <a:gd name="connsiteY109" fmla="*/ 281977 h 376396"/>
                          <a:gd name="connsiteX110" fmla="*/ 577298 w 608133"/>
                          <a:gd name="connsiteY110" fmla="*/ 281977 h 376396"/>
                          <a:gd name="connsiteX111" fmla="*/ 567446 w 608133"/>
                          <a:gd name="connsiteY111" fmla="*/ 272142 h 376396"/>
                          <a:gd name="connsiteX112" fmla="*/ 577298 w 608133"/>
                          <a:gd name="connsiteY112" fmla="*/ 262307 h 376396"/>
                          <a:gd name="connsiteX113" fmla="*/ 588430 w 608133"/>
                          <a:gd name="connsiteY113" fmla="*/ 262307 h 376396"/>
                          <a:gd name="connsiteX114" fmla="*/ 588430 w 608133"/>
                          <a:gd name="connsiteY114" fmla="*/ 239981 h 376396"/>
                          <a:gd name="connsiteX115" fmla="*/ 556314 w 608133"/>
                          <a:gd name="connsiteY115" fmla="*/ 239981 h 376396"/>
                          <a:gd name="connsiteX116" fmla="*/ 546463 w 608133"/>
                          <a:gd name="connsiteY116" fmla="*/ 230146 h 376396"/>
                          <a:gd name="connsiteX117" fmla="*/ 546463 w 608133"/>
                          <a:gd name="connsiteY117" fmla="*/ 210475 h 376396"/>
                          <a:gd name="connsiteX118" fmla="*/ 561240 w 608133"/>
                          <a:gd name="connsiteY118" fmla="*/ 184215 h 376396"/>
                          <a:gd name="connsiteX119" fmla="*/ 562816 w 608133"/>
                          <a:gd name="connsiteY119" fmla="*/ 183231 h 376396"/>
                          <a:gd name="connsiteX120" fmla="*/ 501638 w 608133"/>
                          <a:gd name="connsiteY120" fmla="*/ 156086 h 376396"/>
                          <a:gd name="connsiteX121" fmla="*/ 377608 w 608133"/>
                          <a:gd name="connsiteY121" fmla="*/ 156086 h 376396"/>
                          <a:gd name="connsiteX122" fmla="*/ 336232 w 608133"/>
                          <a:gd name="connsiteY122" fmla="*/ 114778 h 376396"/>
                          <a:gd name="connsiteX123" fmla="*/ 336232 w 608133"/>
                          <a:gd name="connsiteY123" fmla="*/ 72781 h 376396"/>
                          <a:gd name="connsiteX124" fmla="*/ 356624 w 608133"/>
                          <a:gd name="connsiteY124" fmla="*/ 52520 h 376396"/>
                          <a:gd name="connsiteX125" fmla="*/ 449524 w 608133"/>
                          <a:gd name="connsiteY125" fmla="*/ 52520 h 376396"/>
                          <a:gd name="connsiteX126" fmla="*/ 440165 w 608133"/>
                          <a:gd name="connsiteY126" fmla="*/ 32260 h 376396"/>
                          <a:gd name="connsiteX127" fmla="*/ 420560 w 608133"/>
                          <a:gd name="connsiteY127" fmla="*/ 19670 h 376396"/>
                          <a:gd name="connsiteX128" fmla="*/ 30835 w 608133"/>
                          <a:gd name="connsiteY128" fmla="*/ 0 h 376396"/>
                          <a:gd name="connsiteX129" fmla="*/ 420560 w 608133"/>
                          <a:gd name="connsiteY129" fmla="*/ 0 h 376396"/>
                          <a:gd name="connsiteX130" fmla="*/ 458095 w 608133"/>
                          <a:gd name="connsiteY130" fmla="*/ 23998 h 376396"/>
                          <a:gd name="connsiteX131" fmla="*/ 511096 w 608133"/>
                          <a:gd name="connsiteY131" fmla="*/ 138776 h 376396"/>
                          <a:gd name="connsiteX132" fmla="*/ 583603 w 608133"/>
                          <a:gd name="connsiteY132" fmla="*/ 170937 h 376396"/>
                          <a:gd name="connsiteX133" fmla="*/ 608133 w 608133"/>
                          <a:gd name="connsiteY133" fmla="*/ 208705 h 376396"/>
                          <a:gd name="connsiteX134" fmla="*/ 608133 w 608133"/>
                          <a:gd name="connsiteY134" fmla="*/ 293091 h 376396"/>
                          <a:gd name="connsiteX135" fmla="*/ 577298 w 608133"/>
                          <a:gd name="connsiteY135" fmla="*/ 323974 h 376396"/>
                          <a:gd name="connsiteX136" fmla="*/ 565378 w 608133"/>
                          <a:gd name="connsiteY136" fmla="*/ 323974 h 376396"/>
                          <a:gd name="connsiteX137" fmla="*/ 503707 w 608133"/>
                          <a:gd name="connsiteY137" fmla="*/ 376396 h 376396"/>
                          <a:gd name="connsiteX138" fmla="*/ 442135 w 608133"/>
                          <a:gd name="connsiteY138" fmla="*/ 323974 h 376396"/>
                          <a:gd name="connsiteX139" fmla="*/ 187080 w 608133"/>
                          <a:gd name="connsiteY139" fmla="*/ 323974 h 376396"/>
                          <a:gd name="connsiteX140" fmla="*/ 125410 w 608133"/>
                          <a:gd name="connsiteY140" fmla="*/ 376396 h 376396"/>
                          <a:gd name="connsiteX141" fmla="*/ 63838 w 608133"/>
                          <a:gd name="connsiteY141" fmla="*/ 323974 h 376396"/>
                          <a:gd name="connsiteX142" fmla="*/ 30835 w 608133"/>
                          <a:gd name="connsiteY142" fmla="*/ 323974 h 376396"/>
                          <a:gd name="connsiteX143" fmla="*/ 0 w 608133"/>
                          <a:gd name="connsiteY143" fmla="*/ 293091 h 376396"/>
                          <a:gd name="connsiteX144" fmla="*/ 0 w 608133"/>
                          <a:gd name="connsiteY144" fmla="*/ 30883 h 376396"/>
                          <a:gd name="connsiteX145" fmla="*/ 30835 w 608133"/>
                          <a:gd name="connsiteY145" fmla="*/ 0 h 376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</a:cxnLst>
                        <a:rect l="l" t="t" r="r" b="b"/>
                        <a:pathLst>
                          <a:path w="608133" h="376396">
                            <a:moveTo>
                              <a:pt x="503767" y="295105"/>
                            </a:moveTo>
                            <a:cubicBezTo>
                              <a:pt x="514290" y="295105"/>
                              <a:pt x="522820" y="303620"/>
                              <a:pt x="522820" y="314123"/>
                            </a:cubicBezTo>
                            <a:cubicBezTo>
                              <a:pt x="522820" y="324626"/>
                              <a:pt x="514290" y="333141"/>
                              <a:pt x="503767" y="333141"/>
                            </a:cubicBezTo>
                            <a:cubicBezTo>
                              <a:pt x="493244" y="333141"/>
                              <a:pt x="484714" y="324626"/>
                              <a:pt x="484714" y="314123"/>
                            </a:cubicBezTo>
                            <a:cubicBezTo>
                              <a:pt x="484714" y="303620"/>
                              <a:pt x="493244" y="295105"/>
                              <a:pt x="503767" y="295105"/>
                            </a:cubicBezTo>
                            <a:close/>
                            <a:moveTo>
                              <a:pt x="125466" y="295105"/>
                            </a:moveTo>
                            <a:cubicBezTo>
                              <a:pt x="135989" y="295105"/>
                              <a:pt x="144519" y="303620"/>
                              <a:pt x="144519" y="314123"/>
                            </a:cubicBezTo>
                            <a:cubicBezTo>
                              <a:pt x="144519" y="324626"/>
                              <a:pt x="135989" y="333141"/>
                              <a:pt x="125466" y="333141"/>
                            </a:cubicBezTo>
                            <a:cubicBezTo>
                              <a:pt x="114943" y="333141"/>
                              <a:pt x="106413" y="324626"/>
                              <a:pt x="106413" y="314123"/>
                            </a:cubicBezTo>
                            <a:cubicBezTo>
                              <a:pt x="106413" y="303620"/>
                              <a:pt x="114943" y="295105"/>
                              <a:pt x="125466" y="295105"/>
                            </a:cubicBezTo>
                            <a:close/>
                            <a:moveTo>
                              <a:pt x="503707" y="271454"/>
                            </a:moveTo>
                            <a:cubicBezTo>
                              <a:pt x="480162" y="271454"/>
                              <a:pt x="461050" y="290632"/>
                              <a:pt x="461050" y="314139"/>
                            </a:cubicBezTo>
                            <a:cubicBezTo>
                              <a:pt x="461050" y="337645"/>
                              <a:pt x="480162" y="356726"/>
                              <a:pt x="503707" y="356726"/>
                            </a:cubicBezTo>
                            <a:cubicBezTo>
                              <a:pt x="527252" y="356726"/>
                              <a:pt x="546463" y="337645"/>
                              <a:pt x="546463" y="314139"/>
                            </a:cubicBezTo>
                            <a:cubicBezTo>
                              <a:pt x="546463" y="290632"/>
                              <a:pt x="527252" y="271454"/>
                              <a:pt x="503707" y="271454"/>
                            </a:cubicBezTo>
                            <a:close/>
                            <a:moveTo>
                              <a:pt x="125410" y="271454"/>
                            </a:moveTo>
                            <a:cubicBezTo>
                              <a:pt x="101864" y="271454"/>
                              <a:pt x="82753" y="290632"/>
                              <a:pt x="82753" y="314139"/>
                            </a:cubicBezTo>
                            <a:cubicBezTo>
                              <a:pt x="82753" y="337645"/>
                              <a:pt x="101864" y="356726"/>
                              <a:pt x="125410" y="356726"/>
                            </a:cubicBezTo>
                            <a:cubicBezTo>
                              <a:pt x="148955" y="356726"/>
                              <a:pt x="168165" y="337645"/>
                              <a:pt x="168165" y="314139"/>
                            </a:cubicBezTo>
                            <a:cubicBezTo>
                              <a:pt x="168165" y="290632"/>
                              <a:pt x="148955" y="271454"/>
                              <a:pt x="125410" y="271454"/>
                            </a:cubicBezTo>
                            <a:close/>
                            <a:moveTo>
                              <a:pt x="199035" y="262362"/>
                            </a:moveTo>
                            <a:lnTo>
                              <a:pt x="430197" y="262362"/>
                            </a:lnTo>
                            <a:cubicBezTo>
                              <a:pt x="435614" y="262362"/>
                              <a:pt x="440046" y="266776"/>
                              <a:pt x="440046" y="272171"/>
                            </a:cubicBezTo>
                            <a:cubicBezTo>
                              <a:pt x="440046" y="277565"/>
                              <a:pt x="435614" y="281979"/>
                              <a:pt x="430197" y="281979"/>
                            </a:cubicBezTo>
                            <a:lnTo>
                              <a:pt x="199035" y="281979"/>
                            </a:lnTo>
                            <a:cubicBezTo>
                              <a:pt x="193618" y="281979"/>
                              <a:pt x="189186" y="277565"/>
                              <a:pt x="189186" y="272171"/>
                            </a:cubicBezTo>
                            <a:cubicBezTo>
                              <a:pt x="189186" y="266776"/>
                              <a:pt x="193618" y="262362"/>
                              <a:pt x="199035" y="262362"/>
                            </a:cubicBezTo>
                            <a:close/>
                            <a:moveTo>
                              <a:pt x="582815" y="194148"/>
                            </a:moveTo>
                            <a:lnTo>
                              <a:pt x="571485" y="201033"/>
                            </a:lnTo>
                            <a:cubicBezTo>
                              <a:pt x="568234" y="203000"/>
                              <a:pt x="566166" y="206639"/>
                              <a:pt x="566166" y="210475"/>
                            </a:cubicBezTo>
                            <a:lnTo>
                              <a:pt x="566166" y="220310"/>
                            </a:lnTo>
                            <a:lnTo>
                              <a:pt x="588430" y="220310"/>
                            </a:lnTo>
                            <a:lnTo>
                              <a:pt x="588430" y="208705"/>
                            </a:lnTo>
                            <a:cubicBezTo>
                              <a:pt x="588430" y="203197"/>
                              <a:pt x="586361" y="198083"/>
                              <a:pt x="582815" y="194148"/>
                            </a:cubicBezTo>
                            <a:close/>
                            <a:moveTo>
                              <a:pt x="103751" y="114087"/>
                            </a:moveTo>
                            <a:lnTo>
                              <a:pt x="103751" y="114776"/>
                            </a:lnTo>
                            <a:cubicBezTo>
                              <a:pt x="103751" y="120874"/>
                              <a:pt x="108776" y="125891"/>
                              <a:pt x="114984" y="125891"/>
                            </a:cubicBezTo>
                            <a:lnTo>
                              <a:pt x="135973" y="125891"/>
                            </a:lnTo>
                            <a:cubicBezTo>
                              <a:pt x="142083" y="125891"/>
                              <a:pt x="147108" y="120874"/>
                              <a:pt x="147108" y="114776"/>
                            </a:cubicBezTo>
                            <a:lnTo>
                              <a:pt x="147108" y="114087"/>
                            </a:lnTo>
                            <a:close/>
                            <a:moveTo>
                              <a:pt x="398001" y="72191"/>
                            </a:moveTo>
                            <a:lnTo>
                              <a:pt x="398001" y="136415"/>
                            </a:lnTo>
                            <a:lnTo>
                              <a:pt x="488339" y="136415"/>
                            </a:lnTo>
                            <a:lnTo>
                              <a:pt x="458686" y="72191"/>
                            </a:lnTo>
                            <a:close/>
                            <a:moveTo>
                              <a:pt x="356624" y="72191"/>
                            </a:moveTo>
                            <a:cubicBezTo>
                              <a:pt x="356230" y="72191"/>
                              <a:pt x="355935" y="72486"/>
                              <a:pt x="355935" y="72781"/>
                            </a:cubicBezTo>
                            <a:lnTo>
                              <a:pt x="355935" y="114778"/>
                            </a:lnTo>
                            <a:cubicBezTo>
                              <a:pt x="355935" y="126678"/>
                              <a:pt x="365688" y="136415"/>
                              <a:pt x="377608" y="136415"/>
                            </a:cubicBezTo>
                            <a:lnTo>
                              <a:pt x="378298" y="136415"/>
                            </a:lnTo>
                            <a:lnTo>
                              <a:pt x="378298" y="72191"/>
                            </a:lnTo>
                            <a:close/>
                            <a:moveTo>
                              <a:pt x="210451" y="61659"/>
                            </a:moveTo>
                            <a:cubicBezTo>
                              <a:pt x="209565" y="61659"/>
                              <a:pt x="208875" y="62347"/>
                              <a:pt x="208875" y="63134"/>
                            </a:cubicBezTo>
                            <a:lnTo>
                              <a:pt x="208875" y="167892"/>
                            </a:lnTo>
                            <a:lnTo>
                              <a:pt x="228663" y="167892"/>
                            </a:lnTo>
                            <a:cubicBezTo>
                              <a:pt x="228762" y="167892"/>
                              <a:pt x="228959" y="167892"/>
                              <a:pt x="229156" y="167695"/>
                            </a:cubicBezTo>
                            <a:cubicBezTo>
                              <a:pt x="229352" y="167400"/>
                              <a:pt x="229254" y="167204"/>
                              <a:pt x="229254" y="167105"/>
                            </a:cubicBezTo>
                            <a:lnTo>
                              <a:pt x="211927" y="62938"/>
                            </a:lnTo>
                            <a:cubicBezTo>
                              <a:pt x="211829" y="62151"/>
                              <a:pt x="211140" y="61659"/>
                              <a:pt x="210451" y="61659"/>
                            </a:cubicBezTo>
                            <a:close/>
                            <a:moveTo>
                              <a:pt x="210352" y="41986"/>
                            </a:moveTo>
                            <a:cubicBezTo>
                              <a:pt x="220788" y="41986"/>
                              <a:pt x="229648" y="49462"/>
                              <a:pt x="231321" y="59692"/>
                            </a:cubicBezTo>
                            <a:lnTo>
                              <a:pt x="248747" y="163859"/>
                            </a:lnTo>
                            <a:cubicBezTo>
                              <a:pt x="249731" y="169761"/>
                              <a:pt x="248057" y="175761"/>
                              <a:pt x="244120" y="180384"/>
                            </a:cubicBezTo>
                            <a:cubicBezTo>
                              <a:pt x="240280" y="184909"/>
                              <a:pt x="234669" y="187565"/>
                              <a:pt x="228663" y="187565"/>
                            </a:cubicBezTo>
                            <a:lnTo>
                              <a:pt x="208875" y="187565"/>
                            </a:lnTo>
                            <a:lnTo>
                              <a:pt x="208875" y="230157"/>
                            </a:lnTo>
                            <a:cubicBezTo>
                              <a:pt x="208875" y="235665"/>
                              <a:pt x="204445" y="239993"/>
                              <a:pt x="199031" y="239993"/>
                            </a:cubicBezTo>
                            <a:cubicBezTo>
                              <a:pt x="193616" y="239993"/>
                              <a:pt x="189186" y="235665"/>
                              <a:pt x="189186" y="230157"/>
                            </a:cubicBezTo>
                            <a:lnTo>
                              <a:pt x="189186" y="63134"/>
                            </a:lnTo>
                            <a:cubicBezTo>
                              <a:pt x="189186" y="51527"/>
                              <a:pt x="198735" y="41986"/>
                              <a:pt x="210352" y="41986"/>
                            </a:cubicBezTo>
                            <a:close/>
                            <a:moveTo>
                              <a:pt x="93897" y="41986"/>
                            </a:moveTo>
                            <a:cubicBezTo>
                              <a:pt x="99415" y="41986"/>
                              <a:pt x="103751" y="46412"/>
                              <a:pt x="103751" y="51822"/>
                            </a:cubicBezTo>
                            <a:lnTo>
                              <a:pt x="103751" y="94414"/>
                            </a:lnTo>
                            <a:lnTo>
                              <a:pt x="115576" y="94414"/>
                            </a:lnTo>
                            <a:lnTo>
                              <a:pt x="115576" y="51822"/>
                            </a:lnTo>
                            <a:cubicBezTo>
                              <a:pt x="115576" y="46412"/>
                              <a:pt x="120010" y="41986"/>
                              <a:pt x="125430" y="41986"/>
                            </a:cubicBezTo>
                            <a:cubicBezTo>
                              <a:pt x="130948" y="41986"/>
                              <a:pt x="135283" y="46412"/>
                              <a:pt x="135283" y="51822"/>
                            </a:cubicBezTo>
                            <a:lnTo>
                              <a:pt x="135283" y="94414"/>
                            </a:lnTo>
                            <a:lnTo>
                              <a:pt x="147108" y="94414"/>
                            </a:lnTo>
                            <a:lnTo>
                              <a:pt x="147108" y="51822"/>
                            </a:lnTo>
                            <a:cubicBezTo>
                              <a:pt x="147108" y="46412"/>
                              <a:pt x="151542" y="41986"/>
                              <a:pt x="156962" y="41986"/>
                            </a:cubicBezTo>
                            <a:cubicBezTo>
                              <a:pt x="162480" y="41986"/>
                              <a:pt x="166816" y="46412"/>
                              <a:pt x="166816" y="51822"/>
                            </a:cubicBezTo>
                            <a:lnTo>
                              <a:pt x="166816" y="114776"/>
                            </a:lnTo>
                            <a:cubicBezTo>
                              <a:pt x="166816" y="131793"/>
                              <a:pt x="153020" y="145563"/>
                              <a:pt x="135973" y="145563"/>
                            </a:cubicBezTo>
                            <a:lnTo>
                              <a:pt x="135283" y="145563"/>
                            </a:lnTo>
                            <a:lnTo>
                              <a:pt x="135283" y="230157"/>
                            </a:lnTo>
                            <a:cubicBezTo>
                              <a:pt x="135283" y="235665"/>
                              <a:pt x="130948" y="239993"/>
                              <a:pt x="125430" y="239993"/>
                            </a:cubicBezTo>
                            <a:cubicBezTo>
                              <a:pt x="120010" y="239993"/>
                              <a:pt x="115576" y="235665"/>
                              <a:pt x="115576" y="230157"/>
                            </a:cubicBezTo>
                            <a:lnTo>
                              <a:pt x="115576" y="145563"/>
                            </a:lnTo>
                            <a:lnTo>
                              <a:pt x="114984" y="145563"/>
                            </a:lnTo>
                            <a:cubicBezTo>
                              <a:pt x="97937" y="145563"/>
                              <a:pt x="84043" y="131793"/>
                              <a:pt x="84043" y="114776"/>
                            </a:cubicBezTo>
                            <a:lnTo>
                              <a:pt x="84043" y="51822"/>
                            </a:lnTo>
                            <a:cubicBezTo>
                              <a:pt x="84043" y="46412"/>
                              <a:pt x="88477" y="41986"/>
                              <a:pt x="93897" y="41986"/>
                            </a:cubicBezTo>
                            <a:close/>
                            <a:moveTo>
                              <a:pt x="30835" y="19670"/>
                            </a:moveTo>
                            <a:cubicBezTo>
                              <a:pt x="24727" y="19670"/>
                              <a:pt x="19703" y="24686"/>
                              <a:pt x="19703" y="30883"/>
                            </a:cubicBezTo>
                            <a:lnTo>
                              <a:pt x="19703" y="262307"/>
                            </a:lnTo>
                            <a:lnTo>
                              <a:pt x="51917" y="262307"/>
                            </a:lnTo>
                            <a:cubicBezTo>
                              <a:pt x="57336" y="262307"/>
                              <a:pt x="61769" y="266733"/>
                              <a:pt x="61769" y="272142"/>
                            </a:cubicBezTo>
                            <a:cubicBezTo>
                              <a:pt x="61769" y="277552"/>
                              <a:pt x="57336" y="281977"/>
                              <a:pt x="51917" y="281977"/>
                            </a:cubicBezTo>
                            <a:lnTo>
                              <a:pt x="19703" y="281977"/>
                            </a:lnTo>
                            <a:lnTo>
                              <a:pt x="19703" y="293091"/>
                            </a:lnTo>
                            <a:cubicBezTo>
                              <a:pt x="19703" y="299288"/>
                              <a:pt x="24727" y="304304"/>
                              <a:pt x="30835" y="304304"/>
                            </a:cubicBezTo>
                            <a:lnTo>
                              <a:pt x="63838" y="304304"/>
                            </a:lnTo>
                            <a:cubicBezTo>
                              <a:pt x="68566" y="274601"/>
                              <a:pt x="94377" y="251783"/>
                              <a:pt x="125410" y="251783"/>
                            </a:cubicBezTo>
                            <a:cubicBezTo>
                              <a:pt x="156540" y="251783"/>
                              <a:pt x="182351" y="274601"/>
                              <a:pt x="187080" y="304304"/>
                            </a:cubicBezTo>
                            <a:lnTo>
                              <a:pt x="442135" y="304304"/>
                            </a:lnTo>
                            <a:cubicBezTo>
                              <a:pt x="446864" y="274601"/>
                              <a:pt x="472675" y="251783"/>
                              <a:pt x="503707" y="251783"/>
                            </a:cubicBezTo>
                            <a:cubicBezTo>
                              <a:pt x="534838" y="251783"/>
                              <a:pt x="560649" y="274601"/>
                              <a:pt x="565378" y="304304"/>
                            </a:cubicBezTo>
                            <a:lnTo>
                              <a:pt x="577298" y="304304"/>
                            </a:lnTo>
                            <a:cubicBezTo>
                              <a:pt x="583406" y="304304"/>
                              <a:pt x="588430" y="299288"/>
                              <a:pt x="588430" y="293091"/>
                            </a:cubicBezTo>
                            <a:lnTo>
                              <a:pt x="588430" y="281977"/>
                            </a:lnTo>
                            <a:lnTo>
                              <a:pt x="577298" y="281977"/>
                            </a:lnTo>
                            <a:cubicBezTo>
                              <a:pt x="571880" y="281977"/>
                              <a:pt x="567446" y="277552"/>
                              <a:pt x="567446" y="272142"/>
                            </a:cubicBezTo>
                            <a:cubicBezTo>
                              <a:pt x="567446" y="266733"/>
                              <a:pt x="571880" y="262307"/>
                              <a:pt x="577298" y="262307"/>
                            </a:cubicBezTo>
                            <a:lnTo>
                              <a:pt x="588430" y="262307"/>
                            </a:lnTo>
                            <a:lnTo>
                              <a:pt x="588430" y="239981"/>
                            </a:lnTo>
                            <a:lnTo>
                              <a:pt x="556314" y="239981"/>
                            </a:lnTo>
                            <a:cubicBezTo>
                              <a:pt x="550797" y="239981"/>
                              <a:pt x="546463" y="235653"/>
                              <a:pt x="546463" y="230146"/>
                            </a:cubicBezTo>
                            <a:lnTo>
                              <a:pt x="546463" y="210475"/>
                            </a:lnTo>
                            <a:cubicBezTo>
                              <a:pt x="546463" y="199853"/>
                              <a:pt x="552078" y="189723"/>
                              <a:pt x="561240" y="184215"/>
                            </a:cubicBezTo>
                            <a:lnTo>
                              <a:pt x="562816" y="183231"/>
                            </a:lnTo>
                            <a:lnTo>
                              <a:pt x="501638" y="156086"/>
                            </a:lnTo>
                            <a:lnTo>
                              <a:pt x="377608" y="156086"/>
                            </a:lnTo>
                            <a:cubicBezTo>
                              <a:pt x="354851" y="156086"/>
                              <a:pt x="336232" y="137596"/>
                              <a:pt x="336232" y="114778"/>
                            </a:cubicBezTo>
                            <a:lnTo>
                              <a:pt x="336232" y="72781"/>
                            </a:lnTo>
                            <a:cubicBezTo>
                              <a:pt x="336232" y="61569"/>
                              <a:pt x="345394" y="52520"/>
                              <a:pt x="356624" y="52520"/>
                            </a:cubicBezTo>
                            <a:lnTo>
                              <a:pt x="449524" y="52520"/>
                            </a:lnTo>
                            <a:lnTo>
                              <a:pt x="440165" y="32260"/>
                            </a:lnTo>
                            <a:cubicBezTo>
                              <a:pt x="436717" y="24686"/>
                              <a:pt x="428934" y="19670"/>
                              <a:pt x="420560" y="19670"/>
                            </a:cubicBezTo>
                            <a:close/>
                            <a:moveTo>
                              <a:pt x="30835" y="0"/>
                            </a:moveTo>
                            <a:lnTo>
                              <a:pt x="420560" y="0"/>
                            </a:lnTo>
                            <a:cubicBezTo>
                              <a:pt x="436618" y="0"/>
                              <a:pt x="451396" y="9442"/>
                              <a:pt x="458095" y="23998"/>
                            </a:cubicBezTo>
                            <a:lnTo>
                              <a:pt x="511096" y="138776"/>
                            </a:lnTo>
                            <a:lnTo>
                              <a:pt x="583603" y="170937"/>
                            </a:lnTo>
                            <a:cubicBezTo>
                              <a:pt x="598479" y="177527"/>
                              <a:pt x="608133" y="192378"/>
                              <a:pt x="608133" y="208705"/>
                            </a:cubicBezTo>
                            <a:lnTo>
                              <a:pt x="608133" y="293091"/>
                            </a:lnTo>
                            <a:cubicBezTo>
                              <a:pt x="608133" y="310106"/>
                              <a:pt x="594341" y="323974"/>
                              <a:pt x="577298" y="323974"/>
                            </a:cubicBezTo>
                            <a:lnTo>
                              <a:pt x="565378" y="323974"/>
                            </a:lnTo>
                            <a:cubicBezTo>
                              <a:pt x="560649" y="353677"/>
                              <a:pt x="534838" y="376396"/>
                              <a:pt x="503707" y="376396"/>
                            </a:cubicBezTo>
                            <a:cubicBezTo>
                              <a:pt x="472675" y="376396"/>
                              <a:pt x="446864" y="353677"/>
                              <a:pt x="442135" y="323974"/>
                            </a:cubicBezTo>
                            <a:lnTo>
                              <a:pt x="187080" y="323974"/>
                            </a:lnTo>
                            <a:cubicBezTo>
                              <a:pt x="182351" y="353677"/>
                              <a:pt x="156540" y="376396"/>
                              <a:pt x="125410" y="376396"/>
                            </a:cubicBezTo>
                            <a:cubicBezTo>
                              <a:pt x="94377" y="376396"/>
                              <a:pt x="68566" y="353677"/>
                              <a:pt x="63838" y="323974"/>
                            </a:cubicBezTo>
                            <a:lnTo>
                              <a:pt x="30835" y="323974"/>
                            </a:lnTo>
                            <a:cubicBezTo>
                              <a:pt x="13891" y="323974"/>
                              <a:pt x="0" y="310106"/>
                              <a:pt x="0" y="293091"/>
                            </a:cubicBezTo>
                            <a:lnTo>
                              <a:pt x="0" y="30883"/>
                            </a:lnTo>
                            <a:cubicBezTo>
                              <a:pt x="0" y="13868"/>
                              <a:pt x="13891" y="0"/>
                              <a:pt x="30835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2700" cap="flat">
                        <a:noFill/>
                        <a:miter lim="400000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  <p:sp>
                    <p:nvSpPr>
                      <p:cNvPr id="42" name="îsľiḑè">
                        <a:extLst>
                          <a:ext uri="{FF2B5EF4-FFF2-40B4-BE49-F238E27FC236}">
                            <a16:creationId xmlns:a16="http://schemas.microsoft.com/office/drawing/2014/main" id="{9B8BA745-054C-408E-9FE6-4CAE951519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4272" y="2820469"/>
                        <a:ext cx="619662" cy="619662"/>
                      </a:xfrm>
                      <a:prstGeom prst="ellipse">
                        <a:avLst/>
                      </a:prstGeom>
                      <a:noFill/>
                      <a:ln w="9525" cap="flat" cmpd="sng" algn="ctr">
                        <a:solidFill>
                          <a:schemeClr val="bg1"/>
                        </a:solidFill>
                        <a:prstDash val="solid"/>
                        <a:miter lim="800000"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</p:grpSp>
              </p:grpSp>
            </p:grp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7DAC2CDD-52CE-4E7B-8AE7-BF40631AF546}"/>
                    </a:ext>
                  </a:extLst>
                </p:cNvPr>
                <p:cNvCxnSpPr/>
                <p:nvPr/>
              </p:nvCxnSpPr>
              <p:spPr>
                <a:xfrm>
                  <a:off x="9304335" y="2086828"/>
                  <a:ext cx="0" cy="2242733"/>
                </a:xfrm>
                <a:prstGeom prst="line">
                  <a:avLst/>
                </a:prstGeom>
                <a:ln cap="rnd">
                  <a:solidFill>
                    <a:schemeClr val="bg1">
                      <a:lumMod val="5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íśḷîḋè">
                  <a:extLst>
                    <a:ext uri="{FF2B5EF4-FFF2-40B4-BE49-F238E27FC236}">
                      <a16:creationId xmlns:a16="http://schemas.microsoft.com/office/drawing/2014/main" id="{DEDED851-311D-4003-B18A-A30F9F5CB9B9}"/>
                    </a:ext>
                  </a:extLst>
                </p:cNvPr>
                <p:cNvSpPr/>
                <p:nvPr/>
              </p:nvSpPr>
              <p:spPr>
                <a:xfrm>
                  <a:off x="7349895" y="3092663"/>
                  <a:ext cx="1875359" cy="498531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normAutofit fontScale="92500" lnSpcReduction="10000"/>
                </a:bodyPr>
                <a:lstStyle/>
                <a:p>
                  <a:pPr algn="r"/>
                  <a:r>
                    <a:rPr lang="en-US" altLang="zh-CN" sz="3600" b="1"/>
                    <a:t>2018</a:t>
                  </a:r>
                  <a:endParaRPr lang="en-US" altLang="zh-CN" sz="3600" b="1" dirty="0"/>
                </a:p>
              </p:txBody>
            </p:sp>
            <p:sp>
              <p:nvSpPr>
                <p:cNvPr id="36" name="išļiḍe">
                  <a:extLst>
                    <a:ext uri="{FF2B5EF4-FFF2-40B4-BE49-F238E27FC236}">
                      <a16:creationId xmlns:a16="http://schemas.microsoft.com/office/drawing/2014/main" id="{77468F4C-F867-4FCF-AE43-0B77326A4FA1}"/>
                    </a:ext>
                  </a:extLst>
                </p:cNvPr>
                <p:cNvSpPr/>
                <p:nvPr/>
              </p:nvSpPr>
              <p:spPr>
                <a:xfrm>
                  <a:off x="7347778" y="3615061"/>
                  <a:ext cx="1877476" cy="490720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normAutofit fontScale="55000" lnSpcReduction="2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2000" dirty="0"/>
                    <a:t>Copy paste fonts. Choose the only option to retain text.</a:t>
                  </a:r>
                </a:p>
              </p:txBody>
            </p:sp>
          </p:grpSp>
          <p:grpSp>
            <p:nvGrpSpPr>
              <p:cNvPr id="11" name="îṩľiḓè">
                <a:extLst>
                  <a:ext uri="{FF2B5EF4-FFF2-40B4-BE49-F238E27FC236}">
                    <a16:creationId xmlns:a16="http://schemas.microsoft.com/office/drawing/2014/main" id="{856CD681-B541-4253-A9D0-28D116F909EC}"/>
                  </a:ext>
                </a:extLst>
              </p:cNvPr>
              <p:cNvGrpSpPr/>
              <p:nvPr/>
            </p:nvGrpSpPr>
            <p:grpSpPr>
              <a:xfrm>
                <a:off x="3185130" y="2703057"/>
                <a:ext cx="2758532" cy="2242733"/>
                <a:chOff x="4377275" y="2960781"/>
                <a:chExt cx="2758532" cy="2242733"/>
              </a:xfrm>
            </p:grpSpPr>
            <p:grpSp>
              <p:nvGrpSpPr>
                <p:cNvPr id="23" name="ïṣḻïďé">
                  <a:extLst>
                    <a:ext uri="{FF2B5EF4-FFF2-40B4-BE49-F238E27FC236}">
                      <a16:creationId xmlns:a16="http://schemas.microsoft.com/office/drawing/2014/main" id="{2D216852-D5DB-46C2-A920-5A67A1E50661}"/>
                    </a:ext>
                  </a:extLst>
                </p:cNvPr>
                <p:cNvGrpSpPr/>
                <p:nvPr/>
              </p:nvGrpSpPr>
              <p:grpSpPr>
                <a:xfrm>
                  <a:off x="4377275" y="2960781"/>
                  <a:ext cx="2758532" cy="744318"/>
                  <a:chOff x="8270777" y="2670632"/>
                  <a:chExt cx="3202086" cy="864000"/>
                </a:xfrm>
              </p:grpSpPr>
              <p:sp>
                <p:nvSpPr>
                  <p:cNvPr id="27" name="iṣḷiďé">
                    <a:extLst>
                      <a:ext uri="{FF2B5EF4-FFF2-40B4-BE49-F238E27FC236}">
                        <a16:creationId xmlns:a16="http://schemas.microsoft.com/office/drawing/2014/main" id="{220A5D75-4C10-46C3-BBFB-1527EB0F4C52}"/>
                      </a:ext>
                    </a:extLst>
                  </p:cNvPr>
                  <p:cNvSpPr/>
                  <p:nvPr/>
                </p:nvSpPr>
                <p:spPr>
                  <a:xfrm>
                    <a:off x="8270777" y="2670632"/>
                    <a:ext cx="3202086" cy="86400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28" name="îṥľïḓé">
                    <a:extLst>
                      <a:ext uri="{FF2B5EF4-FFF2-40B4-BE49-F238E27FC236}">
                        <a16:creationId xmlns:a16="http://schemas.microsoft.com/office/drawing/2014/main" id="{B9DFDD67-7892-426A-BC71-C08597849075}"/>
                      </a:ext>
                    </a:extLst>
                  </p:cNvPr>
                  <p:cNvGrpSpPr/>
                  <p:nvPr/>
                </p:nvGrpSpPr>
                <p:grpSpPr>
                  <a:xfrm>
                    <a:off x="8854103" y="2820469"/>
                    <a:ext cx="2459083" cy="619662"/>
                    <a:chOff x="8544272" y="2820469"/>
                    <a:chExt cx="2459083" cy="619662"/>
                  </a:xfrm>
                </p:grpSpPr>
                <p:sp>
                  <p:nvSpPr>
                    <p:cNvPr id="29" name="íşļidê">
                      <a:extLst>
                        <a:ext uri="{FF2B5EF4-FFF2-40B4-BE49-F238E27FC236}">
                          <a16:creationId xmlns:a16="http://schemas.microsoft.com/office/drawing/2014/main" id="{0692C219-B332-4D24-AE90-30DF3AD9F72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308442" y="2973413"/>
                      <a:ext cx="1694913" cy="405305"/>
                    </a:xfrm>
                    <a:prstGeom prst="rect">
                      <a:avLst/>
                    </a:prstGeom>
                    <a:noFill/>
                  </p:spPr>
                  <p:txBody>
                    <a:bodyPr wrap="none">
                      <a:normAutofit/>
                    </a:bodyPr>
                    <a:lstStyle/>
                    <a:p>
                      <a:pPr algn="ctr">
                        <a:spcBef>
                          <a:spcPct val="0"/>
                        </a:spcBef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</a:rPr>
                        <a:t>Text here</a:t>
                      </a:r>
                    </a:p>
                  </p:txBody>
                </p:sp>
                <p:grpSp>
                  <p:nvGrpSpPr>
                    <p:cNvPr id="30" name="îS1idê">
                      <a:extLst>
                        <a:ext uri="{FF2B5EF4-FFF2-40B4-BE49-F238E27FC236}">
                          <a16:creationId xmlns:a16="http://schemas.microsoft.com/office/drawing/2014/main" id="{FF707869-1B9D-4663-9002-7B6F8D0060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544272" y="2820469"/>
                      <a:ext cx="619662" cy="619662"/>
                      <a:chOff x="8544272" y="2820469"/>
                      <a:chExt cx="619662" cy="619662"/>
                    </a:xfrm>
                  </p:grpSpPr>
                  <p:sp>
                    <p:nvSpPr>
                      <p:cNvPr id="31" name="íšlïḋe">
                        <a:extLst>
                          <a:ext uri="{FF2B5EF4-FFF2-40B4-BE49-F238E27FC236}">
                            <a16:creationId xmlns:a16="http://schemas.microsoft.com/office/drawing/2014/main" id="{F30D659A-0E3E-48E3-ADED-0BB2DBF38A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661024" y="2937513"/>
                        <a:ext cx="386158" cy="385575"/>
                      </a:xfrm>
                      <a:custGeom>
                        <a:avLst/>
                        <a:gdLst>
                          <a:gd name="connsiteX0" fmla="*/ 497095 w 607639"/>
                          <a:gd name="connsiteY0" fmla="*/ 261992 h 606722"/>
                          <a:gd name="connsiteX1" fmla="*/ 497095 w 607639"/>
                          <a:gd name="connsiteY1" fmla="*/ 468794 h 606722"/>
                          <a:gd name="connsiteX2" fmla="*/ 524775 w 607639"/>
                          <a:gd name="connsiteY2" fmla="*/ 468794 h 606722"/>
                          <a:gd name="connsiteX3" fmla="*/ 524775 w 607639"/>
                          <a:gd name="connsiteY3" fmla="*/ 261992 h 606722"/>
                          <a:gd name="connsiteX4" fmla="*/ 414320 w 607639"/>
                          <a:gd name="connsiteY4" fmla="*/ 261992 h 606722"/>
                          <a:gd name="connsiteX5" fmla="*/ 414320 w 607639"/>
                          <a:gd name="connsiteY5" fmla="*/ 468794 h 606722"/>
                          <a:gd name="connsiteX6" fmla="*/ 469503 w 607639"/>
                          <a:gd name="connsiteY6" fmla="*/ 468794 h 606722"/>
                          <a:gd name="connsiteX7" fmla="*/ 469503 w 607639"/>
                          <a:gd name="connsiteY7" fmla="*/ 261992 h 606722"/>
                          <a:gd name="connsiteX8" fmla="*/ 359047 w 607639"/>
                          <a:gd name="connsiteY8" fmla="*/ 261992 h 606722"/>
                          <a:gd name="connsiteX9" fmla="*/ 359047 w 607639"/>
                          <a:gd name="connsiteY9" fmla="*/ 468794 h 606722"/>
                          <a:gd name="connsiteX10" fmla="*/ 386639 w 607639"/>
                          <a:gd name="connsiteY10" fmla="*/ 468794 h 606722"/>
                          <a:gd name="connsiteX11" fmla="*/ 386639 w 607639"/>
                          <a:gd name="connsiteY11" fmla="*/ 261992 h 606722"/>
                          <a:gd name="connsiteX12" fmla="*/ 276183 w 607639"/>
                          <a:gd name="connsiteY12" fmla="*/ 261992 h 606722"/>
                          <a:gd name="connsiteX13" fmla="*/ 276183 w 607639"/>
                          <a:gd name="connsiteY13" fmla="*/ 468794 h 606722"/>
                          <a:gd name="connsiteX14" fmla="*/ 331456 w 607639"/>
                          <a:gd name="connsiteY14" fmla="*/ 468794 h 606722"/>
                          <a:gd name="connsiteX15" fmla="*/ 331456 w 607639"/>
                          <a:gd name="connsiteY15" fmla="*/ 261992 h 606722"/>
                          <a:gd name="connsiteX16" fmla="*/ 220911 w 607639"/>
                          <a:gd name="connsiteY16" fmla="*/ 261992 h 606722"/>
                          <a:gd name="connsiteX17" fmla="*/ 220911 w 607639"/>
                          <a:gd name="connsiteY17" fmla="*/ 468794 h 606722"/>
                          <a:gd name="connsiteX18" fmla="*/ 248592 w 607639"/>
                          <a:gd name="connsiteY18" fmla="*/ 468794 h 606722"/>
                          <a:gd name="connsiteX19" fmla="*/ 248592 w 607639"/>
                          <a:gd name="connsiteY19" fmla="*/ 261992 h 606722"/>
                          <a:gd name="connsiteX20" fmla="*/ 138136 w 607639"/>
                          <a:gd name="connsiteY20" fmla="*/ 261992 h 606722"/>
                          <a:gd name="connsiteX21" fmla="*/ 138136 w 607639"/>
                          <a:gd name="connsiteY21" fmla="*/ 468794 h 606722"/>
                          <a:gd name="connsiteX22" fmla="*/ 193319 w 607639"/>
                          <a:gd name="connsiteY22" fmla="*/ 468794 h 606722"/>
                          <a:gd name="connsiteX23" fmla="*/ 193319 w 607639"/>
                          <a:gd name="connsiteY23" fmla="*/ 261992 h 606722"/>
                          <a:gd name="connsiteX24" fmla="*/ 82864 w 607639"/>
                          <a:gd name="connsiteY24" fmla="*/ 261992 h 606722"/>
                          <a:gd name="connsiteX25" fmla="*/ 82864 w 607639"/>
                          <a:gd name="connsiteY25" fmla="*/ 468794 h 606722"/>
                          <a:gd name="connsiteX26" fmla="*/ 110455 w 607639"/>
                          <a:gd name="connsiteY26" fmla="*/ 468794 h 606722"/>
                          <a:gd name="connsiteX27" fmla="*/ 110455 w 607639"/>
                          <a:gd name="connsiteY27" fmla="*/ 261992 h 606722"/>
                          <a:gd name="connsiteX28" fmla="*/ 303820 w 607639"/>
                          <a:gd name="connsiteY28" fmla="*/ 110294 h 606722"/>
                          <a:gd name="connsiteX29" fmla="*/ 331447 w 607639"/>
                          <a:gd name="connsiteY29" fmla="*/ 137885 h 606722"/>
                          <a:gd name="connsiteX30" fmla="*/ 303820 w 607639"/>
                          <a:gd name="connsiteY30" fmla="*/ 165476 h 606722"/>
                          <a:gd name="connsiteX31" fmla="*/ 276193 w 607639"/>
                          <a:gd name="connsiteY31" fmla="*/ 137885 h 606722"/>
                          <a:gd name="connsiteX32" fmla="*/ 303820 w 607639"/>
                          <a:gd name="connsiteY32" fmla="*/ 110294 h 606722"/>
                          <a:gd name="connsiteX33" fmla="*/ 303775 w 607639"/>
                          <a:gd name="connsiteY33" fmla="*/ 27550 h 606722"/>
                          <a:gd name="connsiteX34" fmla="*/ 174005 w 607639"/>
                          <a:gd name="connsiteY34" fmla="*/ 103446 h 606722"/>
                          <a:gd name="connsiteX35" fmla="*/ 299681 w 607639"/>
                          <a:gd name="connsiteY35" fmla="*/ 56522 h 606722"/>
                          <a:gd name="connsiteX36" fmla="*/ 309293 w 607639"/>
                          <a:gd name="connsiteY36" fmla="*/ 55189 h 606722"/>
                          <a:gd name="connsiteX37" fmla="*/ 434969 w 607639"/>
                          <a:gd name="connsiteY37" fmla="*/ 102024 h 606722"/>
                          <a:gd name="connsiteX38" fmla="*/ 303775 w 607639"/>
                          <a:gd name="connsiteY38" fmla="*/ 27550 h 606722"/>
                          <a:gd name="connsiteX39" fmla="*/ 303775 w 607639"/>
                          <a:gd name="connsiteY39" fmla="*/ 0 h 606722"/>
                          <a:gd name="connsiteX40" fmla="*/ 470927 w 607639"/>
                          <a:gd name="connsiteY40" fmla="*/ 115799 h 606722"/>
                          <a:gd name="connsiteX41" fmla="*/ 570346 w 607639"/>
                          <a:gd name="connsiteY41" fmla="*/ 153036 h 606722"/>
                          <a:gd name="connsiteX42" fmla="*/ 579958 w 607639"/>
                          <a:gd name="connsiteY42" fmla="*/ 165478 h 606722"/>
                          <a:gd name="connsiteX43" fmla="*/ 579958 w 607639"/>
                          <a:gd name="connsiteY43" fmla="*/ 193028 h 606722"/>
                          <a:gd name="connsiteX44" fmla="*/ 579958 w 607639"/>
                          <a:gd name="connsiteY44" fmla="*/ 248217 h 606722"/>
                          <a:gd name="connsiteX45" fmla="*/ 566163 w 607639"/>
                          <a:gd name="connsiteY45" fmla="*/ 261992 h 606722"/>
                          <a:gd name="connsiteX46" fmla="*/ 552367 w 607639"/>
                          <a:gd name="connsiteY46" fmla="*/ 261992 h 606722"/>
                          <a:gd name="connsiteX47" fmla="*/ 552367 w 607639"/>
                          <a:gd name="connsiteY47" fmla="*/ 468794 h 606722"/>
                          <a:gd name="connsiteX48" fmla="*/ 566163 w 607639"/>
                          <a:gd name="connsiteY48" fmla="*/ 468794 h 606722"/>
                          <a:gd name="connsiteX49" fmla="*/ 579958 w 607639"/>
                          <a:gd name="connsiteY49" fmla="*/ 482569 h 606722"/>
                          <a:gd name="connsiteX50" fmla="*/ 566163 w 607639"/>
                          <a:gd name="connsiteY50" fmla="*/ 496344 h 606722"/>
                          <a:gd name="connsiteX51" fmla="*/ 538571 w 607639"/>
                          <a:gd name="connsiteY51" fmla="*/ 496344 h 606722"/>
                          <a:gd name="connsiteX52" fmla="*/ 483299 w 607639"/>
                          <a:gd name="connsiteY52" fmla="*/ 496344 h 606722"/>
                          <a:gd name="connsiteX53" fmla="*/ 400435 w 607639"/>
                          <a:gd name="connsiteY53" fmla="*/ 496344 h 606722"/>
                          <a:gd name="connsiteX54" fmla="*/ 345252 w 607639"/>
                          <a:gd name="connsiteY54" fmla="*/ 496344 h 606722"/>
                          <a:gd name="connsiteX55" fmla="*/ 262387 w 607639"/>
                          <a:gd name="connsiteY55" fmla="*/ 496344 h 606722"/>
                          <a:gd name="connsiteX56" fmla="*/ 207115 w 607639"/>
                          <a:gd name="connsiteY56" fmla="*/ 496344 h 606722"/>
                          <a:gd name="connsiteX57" fmla="*/ 124251 w 607639"/>
                          <a:gd name="connsiteY57" fmla="*/ 496344 h 606722"/>
                          <a:gd name="connsiteX58" fmla="*/ 69068 w 607639"/>
                          <a:gd name="connsiteY58" fmla="*/ 496344 h 606722"/>
                          <a:gd name="connsiteX59" fmla="*/ 55272 w 607639"/>
                          <a:gd name="connsiteY59" fmla="*/ 496344 h 606722"/>
                          <a:gd name="connsiteX60" fmla="*/ 55272 w 607639"/>
                          <a:gd name="connsiteY60" fmla="*/ 537758 h 606722"/>
                          <a:gd name="connsiteX61" fmla="*/ 41387 w 607639"/>
                          <a:gd name="connsiteY61" fmla="*/ 551533 h 606722"/>
                          <a:gd name="connsiteX62" fmla="*/ 27592 w 607639"/>
                          <a:gd name="connsiteY62" fmla="*/ 551533 h 606722"/>
                          <a:gd name="connsiteX63" fmla="*/ 27592 w 607639"/>
                          <a:gd name="connsiteY63" fmla="*/ 579083 h 606722"/>
                          <a:gd name="connsiteX64" fmla="*/ 579958 w 607639"/>
                          <a:gd name="connsiteY64" fmla="*/ 579083 h 606722"/>
                          <a:gd name="connsiteX65" fmla="*/ 579958 w 607639"/>
                          <a:gd name="connsiteY65" fmla="*/ 551533 h 606722"/>
                          <a:gd name="connsiteX66" fmla="*/ 96660 w 607639"/>
                          <a:gd name="connsiteY66" fmla="*/ 551533 h 606722"/>
                          <a:gd name="connsiteX67" fmla="*/ 82864 w 607639"/>
                          <a:gd name="connsiteY67" fmla="*/ 537758 h 606722"/>
                          <a:gd name="connsiteX68" fmla="*/ 96660 w 607639"/>
                          <a:gd name="connsiteY68" fmla="*/ 523983 h 606722"/>
                          <a:gd name="connsiteX69" fmla="*/ 593843 w 607639"/>
                          <a:gd name="connsiteY69" fmla="*/ 523983 h 606722"/>
                          <a:gd name="connsiteX70" fmla="*/ 607639 w 607639"/>
                          <a:gd name="connsiteY70" fmla="*/ 537758 h 606722"/>
                          <a:gd name="connsiteX71" fmla="*/ 607639 w 607639"/>
                          <a:gd name="connsiteY71" fmla="*/ 592947 h 606722"/>
                          <a:gd name="connsiteX72" fmla="*/ 593843 w 607639"/>
                          <a:gd name="connsiteY72" fmla="*/ 606722 h 606722"/>
                          <a:gd name="connsiteX73" fmla="*/ 13796 w 607639"/>
                          <a:gd name="connsiteY73" fmla="*/ 606722 h 606722"/>
                          <a:gd name="connsiteX74" fmla="*/ 0 w 607639"/>
                          <a:gd name="connsiteY74" fmla="*/ 592947 h 606722"/>
                          <a:gd name="connsiteX75" fmla="*/ 0 w 607639"/>
                          <a:gd name="connsiteY75" fmla="*/ 537758 h 606722"/>
                          <a:gd name="connsiteX76" fmla="*/ 13796 w 607639"/>
                          <a:gd name="connsiteY76" fmla="*/ 523983 h 606722"/>
                          <a:gd name="connsiteX77" fmla="*/ 27592 w 607639"/>
                          <a:gd name="connsiteY77" fmla="*/ 523983 h 606722"/>
                          <a:gd name="connsiteX78" fmla="*/ 27592 w 607639"/>
                          <a:gd name="connsiteY78" fmla="*/ 482569 h 606722"/>
                          <a:gd name="connsiteX79" fmla="*/ 41387 w 607639"/>
                          <a:gd name="connsiteY79" fmla="*/ 468794 h 606722"/>
                          <a:gd name="connsiteX80" fmla="*/ 55272 w 607639"/>
                          <a:gd name="connsiteY80" fmla="*/ 468794 h 606722"/>
                          <a:gd name="connsiteX81" fmla="*/ 55272 w 607639"/>
                          <a:gd name="connsiteY81" fmla="*/ 261992 h 606722"/>
                          <a:gd name="connsiteX82" fmla="*/ 41387 w 607639"/>
                          <a:gd name="connsiteY82" fmla="*/ 261992 h 606722"/>
                          <a:gd name="connsiteX83" fmla="*/ 27592 w 607639"/>
                          <a:gd name="connsiteY83" fmla="*/ 248217 h 606722"/>
                          <a:gd name="connsiteX84" fmla="*/ 41387 w 607639"/>
                          <a:gd name="connsiteY84" fmla="*/ 234442 h 606722"/>
                          <a:gd name="connsiteX85" fmla="*/ 69068 w 607639"/>
                          <a:gd name="connsiteY85" fmla="*/ 234442 h 606722"/>
                          <a:gd name="connsiteX86" fmla="*/ 124251 w 607639"/>
                          <a:gd name="connsiteY86" fmla="*/ 234442 h 606722"/>
                          <a:gd name="connsiteX87" fmla="*/ 207115 w 607639"/>
                          <a:gd name="connsiteY87" fmla="*/ 234442 h 606722"/>
                          <a:gd name="connsiteX88" fmla="*/ 262387 w 607639"/>
                          <a:gd name="connsiteY88" fmla="*/ 234442 h 606722"/>
                          <a:gd name="connsiteX89" fmla="*/ 345252 w 607639"/>
                          <a:gd name="connsiteY89" fmla="*/ 234442 h 606722"/>
                          <a:gd name="connsiteX90" fmla="*/ 400435 w 607639"/>
                          <a:gd name="connsiteY90" fmla="*/ 234442 h 606722"/>
                          <a:gd name="connsiteX91" fmla="*/ 483299 w 607639"/>
                          <a:gd name="connsiteY91" fmla="*/ 234442 h 606722"/>
                          <a:gd name="connsiteX92" fmla="*/ 538571 w 607639"/>
                          <a:gd name="connsiteY92" fmla="*/ 234442 h 606722"/>
                          <a:gd name="connsiteX93" fmla="*/ 552367 w 607639"/>
                          <a:gd name="connsiteY93" fmla="*/ 234442 h 606722"/>
                          <a:gd name="connsiteX94" fmla="*/ 552367 w 607639"/>
                          <a:gd name="connsiteY94" fmla="*/ 193028 h 606722"/>
                          <a:gd name="connsiteX95" fmla="*/ 552367 w 607639"/>
                          <a:gd name="connsiteY95" fmla="*/ 175076 h 606722"/>
                          <a:gd name="connsiteX96" fmla="*/ 303775 w 607639"/>
                          <a:gd name="connsiteY96" fmla="*/ 84072 h 606722"/>
                          <a:gd name="connsiteX97" fmla="*/ 55272 w 607639"/>
                          <a:gd name="connsiteY97" fmla="*/ 175076 h 606722"/>
                          <a:gd name="connsiteX98" fmla="*/ 55272 w 607639"/>
                          <a:gd name="connsiteY98" fmla="*/ 179253 h 606722"/>
                          <a:gd name="connsiteX99" fmla="*/ 510979 w 607639"/>
                          <a:gd name="connsiteY99" fmla="*/ 179253 h 606722"/>
                          <a:gd name="connsiteX100" fmla="*/ 524775 w 607639"/>
                          <a:gd name="connsiteY100" fmla="*/ 193028 h 606722"/>
                          <a:gd name="connsiteX101" fmla="*/ 510979 w 607639"/>
                          <a:gd name="connsiteY101" fmla="*/ 206803 h 606722"/>
                          <a:gd name="connsiteX102" fmla="*/ 41387 w 607639"/>
                          <a:gd name="connsiteY102" fmla="*/ 206803 h 606722"/>
                          <a:gd name="connsiteX103" fmla="*/ 27592 w 607639"/>
                          <a:gd name="connsiteY103" fmla="*/ 193028 h 606722"/>
                          <a:gd name="connsiteX104" fmla="*/ 27592 w 607639"/>
                          <a:gd name="connsiteY104" fmla="*/ 165478 h 606722"/>
                          <a:gd name="connsiteX105" fmla="*/ 37293 w 607639"/>
                          <a:gd name="connsiteY105" fmla="*/ 153036 h 606722"/>
                          <a:gd name="connsiteX106" fmla="*/ 136712 w 607639"/>
                          <a:gd name="connsiteY106" fmla="*/ 115799 h 606722"/>
                          <a:gd name="connsiteX107" fmla="*/ 303775 w 607639"/>
                          <a:gd name="connsiteY107" fmla="*/ 0 h 6067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</a:cxnLst>
                        <a:rect l="l" t="t" r="r" b="b"/>
                        <a:pathLst>
                          <a:path w="607639" h="606722">
                            <a:moveTo>
                              <a:pt x="497095" y="261992"/>
                            </a:moveTo>
                            <a:lnTo>
                              <a:pt x="497095" y="468794"/>
                            </a:lnTo>
                            <a:lnTo>
                              <a:pt x="524775" y="468794"/>
                            </a:lnTo>
                            <a:lnTo>
                              <a:pt x="524775" y="261992"/>
                            </a:lnTo>
                            <a:close/>
                            <a:moveTo>
                              <a:pt x="414320" y="261992"/>
                            </a:moveTo>
                            <a:lnTo>
                              <a:pt x="414320" y="468794"/>
                            </a:lnTo>
                            <a:lnTo>
                              <a:pt x="469503" y="468794"/>
                            </a:lnTo>
                            <a:lnTo>
                              <a:pt x="469503" y="261992"/>
                            </a:lnTo>
                            <a:close/>
                            <a:moveTo>
                              <a:pt x="359047" y="261992"/>
                            </a:moveTo>
                            <a:lnTo>
                              <a:pt x="359047" y="468794"/>
                            </a:lnTo>
                            <a:lnTo>
                              <a:pt x="386639" y="468794"/>
                            </a:lnTo>
                            <a:lnTo>
                              <a:pt x="386639" y="261992"/>
                            </a:lnTo>
                            <a:close/>
                            <a:moveTo>
                              <a:pt x="276183" y="261992"/>
                            </a:moveTo>
                            <a:lnTo>
                              <a:pt x="276183" y="468794"/>
                            </a:lnTo>
                            <a:lnTo>
                              <a:pt x="331456" y="468794"/>
                            </a:lnTo>
                            <a:lnTo>
                              <a:pt x="331456" y="261992"/>
                            </a:lnTo>
                            <a:close/>
                            <a:moveTo>
                              <a:pt x="220911" y="261992"/>
                            </a:moveTo>
                            <a:lnTo>
                              <a:pt x="220911" y="468794"/>
                            </a:lnTo>
                            <a:lnTo>
                              <a:pt x="248592" y="468794"/>
                            </a:lnTo>
                            <a:lnTo>
                              <a:pt x="248592" y="261992"/>
                            </a:lnTo>
                            <a:close/>
                            <a:moveTo>
                              <a:pt x="138136" y="261992"/>
                            </a:moveTo>
                            <a:lnTo>
                              <a:pt x="138136" y="468794"/>
                            </a:lnTo>
                            <a:lnTo>
                              <a:pt x="193319" y="468794"/>
                            </a:lnTo>
                            <a:lnTo>
                              <a:pt x="193319" y="261992"/>
                            </a:lnTo>
                            <a:close/>
                            <a:moveTo>
                              <a:pt x="82864" y="261992"/>
                            </a:moveTo>
                            <a:lnTo>
                              <a:pt x="82864" y="468794"/>
                            </a:lnTo>
                            <a:lnTo>
                              <a:pt x="110455" y="468794"/>
                            </a:lnTo>
                            <a:lnTo>
                              <a:pt x="110455" y="261992"/>
                            </a:lnTo>
                            <a:close/>
                            <a:moveTo>
                              <a:pt x="303820" y="110294"/>
                            </a:moveTo>
                            <a:cubicBezTo>
                              <a:pt x="319078" y="110294"/>
                              <a:pt x="331447" y="122647"/>
                              <a:pt x="331447" y="137885"/>
                            </a:cubicBezTo>
                            <a:cubicBezTo>
                              <a:pt x="331447" y="153123"/>
                              <a:pt x="319078" y="165476"/>
                              <a:pt x="303820" y="165476"/>
                            </a:cubicBezTo>
                            <a:cubicBezTo>
                              <a:pt x="288562" y="165476"/>
                              <a:pt x="276193" y="153123"/>
                              <a:pt x="276193" y="137885"/>
                            </a:cubicBezTo>
                            <a:cubicBezTo>
                              <a:pt x="276193" y="122647"/>
                              <a:pt x="288562" y="110294"/>
                              <a:pt x="303820" y="110294"/>
                            </a:cubicBezTo>
                            <a:close/>
                            <a:moveTo>
                              <a:pt x="303775" y="27550"/>
                            </a:moveTo>
                            <a:cubicBezTo>
                              <a:pt x="248592" y="27550"/>
                              <a:pt x="198838" y="57944"/>
                              <a:pt x="174005" y="103446"/>
                            </a:cubicBezTo>
                            <a:lnTo>
                              <a:pt x="299681" y="56522"/>
                            </a:lnTo>
                            <a:cubicBezTo>
                              <a:pt x="302440" y="55189"/>
                              <a:pt x="305199" y="55189"/>
                              <a:pt x="309293" y="55189"/>
                            </a:cubicBezTo>
                            <a:lnTo>
                              <a:pt x="434969" y="102024"/>
                            </a:lnTo>
                            <a:cubicBezTo>
                              <a:pt x="408712" y="57944"/>
                              <a:pt x="359047" y="27550"/>
                              <a:pt x="303775" y="27550"/>
                            </a:cubicBezTo>
                            <a:close/>
                            <a:moveTo>
                              <a:pt x="303775" y="0"/>
                            </a:moveTo>
                            <a:cubicBezTo>
                              <a:pt x="379786" y="0"/>
                              <a:pt x="446006" y="48257"/>
                              <a:pt x="470927" y="115799"/>
                            </a:cubicBezTo>
                            <a:lnTo>
                              <a:pt x="570346" y="153036"/>
                            </a:lnTo>
                            <a:cubicBezTo>
                              <a:pt x="575864" y="154458"/>
                              <a:pt x="579958" y="159968"/>
                              <a:pt x="579958" y="165478"/>
                            </a:cubicBezTo>
                            <a:lnTo>
                              <a:pt x="579958" y="193028"/>
                            </a:lnTo>
                            <a:lnTo>
                              <a:pt x="579958" y="248217"/>
                            </a:lnTo>
                            <a:cubicBezTo>
                              <a:pt x="579958" y="256482"/>
                              <a:pt x="574440" y="261992"/>
                              <a:pt x="566163" y="261992"/>
                            </a:cubicBezTo>
                            <a:lnTo>
                              <a:pt x="552367" y="261992"/>
                            </a:lnTo>
                            <a:lnTo>
                              <a:pt x="552367" y="468794"/>
                            </a:lnTo>
                            <a:lnTo>
                              <a:pt x="566163" y="468794"/>
                            </a:lnTo>
                            <a:cubicBezTo>
                              <a:pt x="574440" y="468794"/>
                              <a:pt x="579958" y="474304"/>
                              <a:pt x="579958" y="482569"/>
                            </a:cubicBezTo>
                            <a:cubicBezTo>
                              <a:pt x="579958" y="490834"/>
                              <a:pt x="574440" y="496344"/>
                              <a:pt x="566163" y="496344"/>
                            </a:cubicBezTo>
                            <a:lnTo>
                              <a:pt x="538571" y="496344"/>
                            </a:lnTo>
                            <a:lnTo>
                              <a:pt x="483299" y="496344"/>
                            </a:lnTo>
                            <a:lnTo>
                              <a:pt x="400435" y="496344"/>
                            </a:lnTo>
                            <a:lnTo>
                              <a:pt x="345252" y="496344"/>
                            </a:lnTo>
                            <a:lnTo>
                              <a:pt x="262387" y="496344"/>
                            </a:lnTo>
                            <a:lnTo>
                              <a:pt x="207115" y="496344"/>
                            </a:lnTo>
                            <a:lnTo>
                              <a:pt x="124251" y="496344"/>
                            </a:lnTo>
                            <a:lnTo>
                              <a:pt x="69068" y="496344"/>
                            </a:lnTo>
                            <a:lnTo>
                              <a:pt x="55272" y="496344"/>
                            </a:lnTo>
                            <a:lnTo>
                              <a:pt x="55272" y="537758"/>
                            </a:lnTo>
                            <a:cubicBezTo>
                              <a:pt x="55272" y="546023"/>
                              <a:pt x="49754" y="551533"/>
                              <a:pt x="41387" y="551533"/>
                            </a:cubicBezTo>
                            <a:lnTo>
                              <a:pt x="27592" y="551533"/>
                            </a:lnTo>
                            <a:lnTo>
                              <a:pt x="27592" y="579083"/>
                            </a:lnTo>
                            <a:lnTo>
                              <a:pt x="579958" y="579083"/>
                            </a:lnTo>
                            <a:lnTo>
                              <a:pt x="579958" y="551533"/>
                            </a:lnTo>
                            <a:lnTo>
                              <a:pt x="96660" y="551533"/>
                            </a:lnTo>
                            <a:cubicBezTo>
                              <a:pt x="88382" y="551533"/>
                              <a:pt x="82864" y="546023"/>
                              <a:pt x="82864" y="537758"/>
                            </a:cubicBezTo>
                            <a:cubicBezTo>
                              <a:pt x="82864" y="529493"/>
                              <a:pt x="88382" y="523983"/>
                              <a:pt x="96660" y="523983"/>
                            </a:cubicBezTo>
                            <a:lnTo>
                              <a:pt x="593843" y="523983"/>
                            </a:lnTo>
                            <a:cubicBezTo>
                              <a:pt x="602121" y="523983"/>
                              <a:pt x="607639" y="529493"/>
                              <a:pt x="607639" y="537758"/>
                            </a:cubicBezTo>
                            <a:lnTo>
                              <a:pt x="607639" y="592947"/>
                            </a:lnTo>
                            <a:cubicBezTo>
                              <a:pt x="607639" y="601212"/>
                              <a:pt x="602121" y="606722"/>
                              <a:pt x="593843" y="606722"/>
                            </a:cubicBezTo>
                            <a:lnTo>
                              <a:pt x="13796" y="606722"/>
                            </a:lnTo>
                            <a:cubicBezTo>
                              <a:pt x="5518" y="606722"/>
                              <a:pt x="0" y="601212"/>
                              <a:pt x="0" y="592947"/>
                            </a:cubicBezTo>
                            <a:lnTo>
                              <a:pt x="0" y="537758"/>
                            </a:lnTo>
                            <a:cubicBezTo>
                              <a:pt x="0" y="529493"/>
                              <a:pt x="5518" y="523983"/>
                              <a:pt x="13796" y="523983"/>
                            </a:cubicBezTo>
                            <a:lnTo>
                              <a:pt x="27592" y="523983"/>
                            </a:lnTo>
                            <a:lnTo>
                              <a:pt x="27592" y="482569"/>
                            </a:lnTo>
                            <a:cubicBezTo>
                              <a:pt x="27592" y="474304"/>
                              <a:pt x="33110" y="468794"/>
                              <a:pt x="41387" y="468794"/>
                            </a:cubicBezTo>
                            <a:lnTo>
                              <a:pt x="55272" y="468794"/>
                            </a:lnTo>
                            <a:lnTo>
                              <a:pt x="55272" y="261992"/>
                            </a:lnTo>
                            <a:lnTo>
                              <a:pt x="41387" y="261992"/>
                            </a:lnTo>
                            <a:cubicBezTo>
                              <a:pt x="33110" y="261992"/>
                              <a:pt x="27592" y="256482"/>
                              <a:pt x="27592" y="248217"/>
                            </a:cubicBezTo>
                            <a:cubicBezTo>
                              <a:pt x="27592" y="239952"/>
                              <a:pt x="33110" y="234442"/>
                              <a:pt x="41387" y="234442"/>
                            </a:cubicBezTo>
                            <a:lnTo>
                              <a:pt x="69068" y="234442"/>
                            </a:lnTo>
                            <a:lnTo>
                              <a:pt x="124251" y="234442"/>
                            </a:lnTo>
                            <a:lnTo>
                              <a:pt x="207115" y="234442"/>
                            </a:lnTo>
                            <a:lnTo>
                              <a:pt x="262387" y="234442"/>
                            </a:lnTo>
                            <a:lnTo>
                              <a:pt x="345252" y="234442"/>
                            </a:lnTo>
                            <a:lnTo>
                              <a:pt x="400435" y="234442"/>
                            </a:lnTo>
                            <a:lnTo>
                              <a:pt x="483299" y="234442"/>
                            </a:lnTo>
                            <a:lnTo>
                              <a:pt x="538571" y="234442"/>
                            </a:lnTo>
                            <a:lnTo>
                              <a:pt x="552367" y="234442"/>
                            </a:lnTo>
                            <a:lnTo>
                              <a:pt x="552367" y="193028"/>
                            </a:lnTo>
                            <a:lnTo>
                              <a:pt x="552367" y="175076"/>
                            </a:lnTo>
                            <a:lnTo>
                              <a:pt x="303775" y="84072"/>
                            </a:lnTo>
                            <a:lnTo>
                              <a:pt x="55272" y="175076"/>
                            </a:lnTo>
                            <a:lnTo>
                              <a:pt x="55272" y="179253"/>
                            </a:lnTo>
                            <a:lnTo>
                              <a:pt x="510979" y="179253"/>
                            </a:lnTo>
                            <a:cubicBezTo>
                              <a:pt x="519257" y="179253"/>
                              <a:pt x="524775" y="184763"/>
                              <a:pt x="524775" y="193028"/>
                            </a:cubicBezTo>
                            <a:cubicBezTo>
                              <a:pt x="524775" y="201293"/>
                              <a:pt x="519257" y="206803"/>
                              <a:pt x="510979" y="206803"/>
                            </a:cubicBezTo>
                            <a:lnTo>
                              <a:pt x="41387" y="206803"/>
                            </a:lnTo>
                            <a:cubicBezTo>
                              <a:pt x="33110" y="206803"/>
                              <a:pt x="27592" y="201293"/>
                              <a:pt x="27592" y="193028"/>
                            </a:cubicBezTo>
                            <a:lnTo>
                              <a:pt x="27592" y="165478"/>
                            </a:lnTo>
                            <a:cubicBezTo>
                              <a:pt x="27592" y="159968"/>
                              <a:pt x="31775" y="154458"/>
                              <a:pt x="37293" y="153036"/>
                            </a:cubicBezTo>
                            <a:lnTo>
                              <a:pt x="136712" y="115799"/>
                            </a:lnTo>
                            <a:cubicBezTo>
                              <a:pt x="161545" y="48257"/>
                              <a:pt x="227853" y="0"/>
                              <a:pt x="303775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2700" cap="flat">
                        <a:noFill/>
                        <a:miter lim="400000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  <p:sp>
                    <p:nvSpPr>
                      <p:cNvPr id="32" name="ï$ḻïḍé">
                        <a:extLst>
                          <a:ext uri="{FF2B5EF4-FFF2-40B4-BE49-F238E27FC236}">
                            <a16:creationId xmlns:a16="http://schemas.microsoft.com/office/drawing/2014/main" id="{04B255F4-7FA1-44D2-9190-5701B99E4A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4272" y="2820469"/>
                        <a:ext cx="619662" cy="619662"/>
                      </a:xfrm>
                      <a:prstGeom prst="ellipse">
                        <a:avLst/>
                      </a:prstGeom>
                      <a:noFill/>
                      <a:ln w="9525" cap="flat" cmpd="sng" algn="ctr">
                        <a:solidFill>
                          <a:schemeClr val="bg1"/>
                        </a:solidFill>
                        <a:prstDash val="solid"/>
                        <a:miter lim="800000"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</p:grpSp>
              </p:grpSp>
            </p:grp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DD68B428-1522-4CB9-BA6C-06BA0B847834}"/>
                    </a:ext>
                  </a:extLst>
                </p:cNvPr>
                <p:cNvCxnSpPr/>
                <p:nvPr/>
              </p:nvCxnSpPr>
              <p:spPr>
                <a:xfrm>
                  <a:off x="7135807" y="2960781"/>
                  <a:ext cx="0" cy="2242733"/>
                </a:xfrm>
                <a:prstGeom prst="line">
                  <a:avLst/>
                </a:prstGeom>
                <a:ln cap="rnd">
                  <a:solidFill>
                    <a:schemeClr val="bg1">
                      <a:lumMod val="5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išḷïḍè">
                  <a:extLst>
                    <a:ext uri="{FF2B5EF4-FFF2-40B4-BE49-F238E27FC236}">
                      <a16:creationId xmlns:a16="http://schemas.microsoft.com/office/drawing/2014/main" id="{DEDED851-311D-4003-B18A-A30F9F5CB9B9}"/>
                    </a:ext>
                  </a:extLst>
                </p:cNvPr>
                <p:cNvSpPr/>
                <p:nvPr/>
              </p:nvSpPr>
              <p:spPr>
                <a:xfrm>
                  <a:off x="5181368" y="3978433"/>
                  <a:ext cx="1875359" cy="498531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normAutofit fontScale="92500" lnSpcReduction="10000"/>
                </a:bodyPr>
                <a:lstStyle/>
                <a:p>
                  <a:pPr algn="r"/>
                  <a:r>
                    <a:rPr lang="en-US" altLang="zh-CN" sz="3600" b="1"/>
                    <a:t>2017</a:t>
                  </a:r>
                  <a:endParaRPr lang="en-US" altLang="zh-CN" sz="3600" b="1" dirty="0"/>
                </a:p>
              </p:txBody>
            </p:sp>
            <p:sp>
              <p:nvSpPr>
                <p:cNvPr id="26" name="îṡļîďé">
                  <a:extLst>
                    <a:ext uri="{FF2B5EF4-FFF2-40B4-BE49-F238E27FC236}">
                      <a16:creationId xmlns:a16="http://schemas.microsoft.com/office/drawing/2014/main" id="{6F74A09E-8E22-473C-BC36-38167226F502}"/>
                    </a:ext>
                  </a:extLst>
                </p:cNvPr>
                <p:cNvSpPr/>
                <p:nvPr/>
              </p:nvSpPr>
              <p:spPr>
                <a:xfrm>
                  <a:off x="5179251" y="4500830"/>
                  <a:ext cx="1877476" cy="490720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normAutofit fontScale="55000" lnSpcReduction="2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2000" dirty="0"/>
                    <a:t>Copy paste fonts. Choose the only option to retain text.</a:t>
                  </a:r>
                </a:p>
              </p:txBody>
            </p:sp>
          </p:grpSp>
          <p:grpSp>
            <p:nvGrpSpPr>
              <p:cNvPr id="12" name="iṡļïďé">
                <a:extLst>
                  <a:ext uri="{FF2B5EF4-FFF2-40B4-BE49-F238E27FC236}">
                    <a16:creationId xmlns:a16="http://schemas.microsoft.com/office/drawing/2014/main" id="{CF41AF50-7FF5-4F5C-82F0-4358085B9A49}"/>
                  </a:ext>
                </a:extLst>
              </p:cNvPr>
              <p:cNvGrpSpPr/>
              <p:nvPr/>
            </p:nvGrpSpPr>
            <p:grpSpPr>
              <a:xfrm>
                <a:off x="420530" y="3448149"/>
                <a:ext cx="2758532" cy="2242733"/>
                <a:chOff x="2208748" y="3832387"/>
                <a:chExt cx="2758532" cy="2242733"/>
              </a:xfrm>
            </p:grpSpPr>
            <p:grpSp>
              <p:nvGrpSpPr>
                <p:cNvPr id="13" name="iṧľiďè">
                  <a:extLst>
                    <a:ext uri="{FF2B5EF4-FFF2-40B4-BE49-F238E27FC236}">
                      <a16:creationId xmlns:a16="http://schemas.microsoft.com/office/drawing/2014/main" id="{97A71B99-CA20-40D3-A449-FBB76A86815C}"/>
                    </a:ext>
                  </a:extLst>
                </p:cNvPr>
                <p:cNvGrpSpPr/>
                <p:nvPr/>
              </p:nvGrpSpPr>
              <p:grpSpPr>
                <a:xfrm>
                  <a:off x="2208748" y="3832387"/>
                  <a:ext cx="2758532" cy="744318"/>
                  <a:chOff x="719138" y="1341669"/>
                  <a:chExt cx="3202086" cy="864000"/>
                </a:xfrm>
              </p:grpSpPr>
              <p:sp>
                <p:nvSpPr>
                  <p:cNvPr id="17" name="ïṣlïḓé">
                    <a:extLst>
                      <a:ext uri="{FF2B5EF4-FFF2-40B4-BE49-F238E27FC236}">
                        <a16:creationId xmlns:a16="http://schemas.microsoft.com/office/drawing/2014/main" id="{0EE66B8A-75F0-4973-8670-A2C20BE30035}"/>
                      </a:ext>
                    </a:extLst>
                  </p:cNvPr>
                  <p:cNvSpPr/>
                  <p:nvPr/>
                </p:nvSpPr>
                <p:spPr>
                  <a:xfrm>
                    <a:off x="719138" y="1341669"/>
                    <a:ext cx="3202086" cy="8640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18" name="íṩliḍé">
                    <a:extLst>
                      <a:ext uri="{FF2B5EF4-FFF2-40B4-BE49-F238E27FC236}">
                        <a16:creationId xmlns:a16="http://schemas.microsoft.com/office/drawing/2014/main" id="{217ED4A1-617F-49E9-ABA8-4581A40EF5CC}"/>
                      </a:ext>
                    </a:extLst>
                  </p:cNvPr>
                  <p:cNvGrpSpPr/>
                  <p:nvPr/>
                </p:nvGrpSpPr>
                <p:grpSpPr>
                  <a:xfrm>
                    <a:off x="1302464" y="1491506"/>
                    <a:ext cx="2459083" cy="619662"/>
                    <a:chOff x="8544272" y="2820469"/>
                    <a:chExt cx="2459083" cy="619662"/>
                  </a:xfrm>
                </p:grpSpPr>
                <p:sp>
                  <p:nvSpPr>
                    <p:cNvPr id="19" name="îs1ïdè">
                      <a:extLst>
                        <a:ext uri="{FF2B5EF4-FFF2-40B4-BE49-F238E27FC236}">
                          <a16:creationId xmlns:a16="http://schemas.microsoft.com/office/drawing/2014/main" id="{29BA022A-6B27-4784-A1EB-AEF8DEE735D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308442" y="2973413"/>
                      <a:ext cx="1694913" cy="405305"/>
                    </a:xfrm>
                    <a:prstGeom prst="rect">
                      <a:avLst/>
                    </a:prstGeom>
                    <a:noFill/>
                  </p:spPr>
                  <p:txBody>
                    <a:bodyPr wrap="none">
                      <a:normAutofit/>
                    </a:bodyPr>
                    <a:lstStyle/>
                    <a:p>
                      <a:pPr algn="ctr">
                        <a:spcBef>
                          <a:spcPct val="0"/>
                        </a:spcBef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</a:rPr>
                        <a:t>Text here</a:t>
                      </a:r>
                    </a:p>
                  </p:txBody>
                </p:sp>
                <p:grpSp>
                  <p:nvGrpSpPr>
                    <p:cNvPr id="20" name="ísḻîḓê">
                      <a:extLst>
                        <a:ext uri="{FF2B5EF4-FFF2-40B4-BE49-F238E27FC236}">
                          <a16:creationId xmlns:a16="http://schemas.microsoft.com/office/drawing/2014/main" id="{5207D83F-B6B2-47C6-AADB-FCAC869A32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544272" y="2820469"/>
                      <a:ext cx="619662" cy="619662"/>
                      <a:chOff x="8544272" y="2820469"/>
                      <a:chExt cx="619662" cy="619662"/>
                    </a:xfrm>
                  </p:grpSpPr>
                  <p:sp>
                    <p:nvSpPr>
                      <p:cNvPr id="21" name="iṩḷîde">
                        <a:extLst>
                          <a:ext uri="{FF2B5EF4-FFF2-40B4-BE49-F238E27FC236}">
                            <a16:creationId xmlns:a16="http://schemas.microsoft.com/office/drawing/2014/main" id="{0B945944-732B-4D6E-ACB4-718889B06F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661024" y="2973413"/>
                        <a:ext cx="386158" cy="31377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wd2" y="hd2"/>
                          </a:cxn>
                          <a:cxn ang="5400000">
                            <a:pos x="wd2" y="hd2"/>
                          </a:cxn>
                          <a:cxn ang="10800000">
                            <a:pos x="wd2" y="hd2"/>
                          </a:cxn>
                          <a:cxn ang="16200000">
                            <a:pos x="wd2" y="hd2"/>
                          </a:cxn>
                        </a:cxnLst>
                        <a:rect l="0" t="0" r="r" b="b"/>
                        <a:pathLst>
                          <a:path w="21600" h="21600" extrusionOk="0">
                            <a:moveTo>
                              <a:pt x="2024" y="0"/>
                            </a:moveTo>
                            <a:cubicBezTo>
                              <a:pt x="912" y="0"/>
                              <a:pt x="0" y="1122"/>
                              <a:pt x="0" y="2491"/>
                            </a:cubicBezTo>
                            <a:lnTo>
                              <a:pt x="0" y="11634"/>
                            </a:lnTo>
                            <a:cubicBezTo>
                              <a:pt x="0" y="13008"/>
                              <a:pt x="912" y="14134"/>
                              <a:pt x="2024" y="14134"/>
                            </a:cubicBezTo>
                            <a:lnTo>
                              <a:pt x="2024" y="16617"/>
                            </a:lnTo>
                            <a:cubicBezTo>
                              <a:pt x="2024" y="17994"/>
                              <a:pt x="2935" y="19109"/>
                              <a:pt x="4049" y="19109"/>
                            </a:cubicBezTo>
                            <a:lnTo>
                              <a:pt x="4822" y="19109"/>
                            </a:lnTo>
                            <a:cubicBezTo>
                              <a:pt x="5125" y="20540"/>
                              <a:pt x="6166" y="21600"/>
                              <a:pt x="7423" y="21600"/>
                            </a:cubicBezTo>
                            <a:cubicBezTo>
                              <a:pt x="8673" y="21600"/>
                              <a:pt x="9726" y="20540"/>
                              <a:pt x="10030" y="19109"/>
                            </a:cubicBezTo>
                            <a:lnTo>
                              <a:pt x="13594" y="19109"/>
                            </a:lnTo>
                            <a:cubicBezTo>
                              <a:pt x="13897" y="20540"/>
                              <a:pt x="14942" y="21600"/>
                              <a:pt x="16202" y="21600"/>
                            </a:cubicBezTo>
                            <a:cubicBezTo>
                              <a:pt x="17449" y="21600"/>
                              <a:pt x="18498" y="20540"/>
                              <a:pt x="18803" y="19109"/>
                            </a:cubicBezTo>
                            <a:lnTo>
                              <a:pt x="19576" y="19109"/>
                            </a:lnTo>
                            <a:cubicBezTo>
                              <a:pt x="20692" y="19109"/>
                              <a:pt x="21600" y="17994"/>
                              <a:pt x="21600" y="16617"/>
                            </a:cubicBezTo>
                            <a:lnTo>
                              <a:pt x="21600" y="11634"/>
                            </a:lnTo>
                            <a:cubicBezTo>
                              <a:pt x="21600" y="11142"/>
                              <a:pt x="21482" y="10663"/>
                              <a:pt x="21259" y="10248"/>
                            </a:cubicBezTo>
                            <a:lnTo>
                              <a:pt x="18554" y="5265"/>
                            </a:lnTo>
                            <a:cubicBezTo>
                              <a:pt x="18182" y="4566"/>
                              <a:pt x="17557" y="4160"/>
                              <a:pt x="16876" y="4160"/>
                            </a:cubicBezTo>
                            <a:lnTo>
                              <a:pt x="14177" y="4160"/>
                            </a:lnTo>
                            <a:lnTo>
                              <a:pt x="14177" y="2491"/>
                            </a:lnTo>
                            <a:cubicBezTo>
                              <a:pt x="14177" y="1122"/>
                              <a:pt x="13265" y="0"/>
                              <a:pt x="12146" y="0"/>
                            </a:cubicBezTo>
                            <a:lnTo>
                              <a:pt x="2024" y="0"/>
                            </a:lnTo>
                            <a:close/>
                            <a:moveTo>
                              <a:pt x="2024" y="1669"/>
                            </a:moveTo>
                            <a:lnTo>
                              <a:pt x="12146" y="1669"/>
                            </a:lnTo>
                            <a:cubicBezTo>
                              <a:pt x="12524" y="1669"/>
                              <a:pt x="12821" y="2034"/>
                              <a:pt x="12821" y="2491"/>
                            </a:cubicBezTo>
                            <a:lnTo>
                              <a:pt x="12821" y="11634"/>
                            </a:lnTo>
                            <a:cubicBezTo>
                              <a:pt x="12821" y="12090"/>
                              <a:pt x="12524" y="12465"/>
                              <a:pt x="12146" y="12465"/>
                            </a:cubicBezTo>
                            <a:cubicBezTo>
                              <a:pt x="12146" y="12465"/>
                              <a:pt x="2024" y="12465"/>
                              <a:pt x="2024" y="12465"/>
                            </a:cubicBezTo>
                            <a:cubicBezTo>
                              <a:pt x="1649" y="12465"/>
                              <a:pt x="1350" y="12090"/>
                              <a:pt x="1350" y="11634"/>
                            </a:cubicBezTo>
                            <a:lnTo>
                              <a:pt x="1350" y="2491"/>
                            </a:lnTo>
                            <a:cubicBezTo>
                              <a:pt x="1350" y="2034"/>
                              <a:pt x="1649" y="1669"/>
                              <a:pt x="2024" y="1669"/>
                            </a:cubicBezTo>
                            <a:close/>
                            <a:moveTo>
                              <a:pt x="14177" y="5821"/>
                            </a:moveTo>
                            <a:lnTo>
                              <a:pt x="16876" y="5821"/>
                            </a:lnTo>
                            <a:cubicBezTo>
                              <a:pt x="17102" y="5821"/>
                              <a:pt x="17311" y="5958"/>
                              <a:pt x="17440" y="6184"/>
                            </a:cubicBezTo>
                            <a:lnTo>
                              <a:pt x="20132" y="11175"/>
                            </a:lnTo>
                            <a:cubicBezTo>
                              <a:pt x="20206" y="11307"/>
                              <a:pt x="20250" y="11475"/>
                              <a:pt x="20250" y="11634"/>
                            </a:cubicBezTo>
                            <a:cubicBezTo>
                              <a:pt x="20250" y="11634"/>
                              <a:pt x="20250" y="16617"/>
                              <a:pt x="20250" y="16617"/>
                            </a:cubicBezTo>
                            <a:cubicBezTo>
                              <a:pt x="20250" y="17074"/>
                              <a:pt x="19946" y="17448"/>
                              <a:pt x="19576" y="17448"/>
                            </a:cubicBezTo>
                            <a:lnTo>
                              <a:pt x="18803" y="17448"/>
                            </a:lnTo>
                            <a:cubicBezTo>
                              <a:pt x="18498" y="16016"/>
                              <a:pt x="17455" y="14956"/>
                              <a:pt x="16202" y="14956"/>
                            </a:cubicBezTo>
                            <a:cubicBezTo>
                              <a:pt x="14942" y="14956"/>
                              <a:pt x="13897" y="16016"/>
                              <a:pt x="13594" y="17448"/>
                            </a:cubicBezTo>
                            <a:lnTo>
                              <a:pt x="10030" y="17448"/>
                            </a:lnTo>
                            <a:cubicBezTo>
                              <a:pt x="9729" y="16016"/>
                              <a:pt x="8678" y="14956"/>
                              <a:pt x="7423" y="14956"/>
                            </a:cubicBezTo>
                            <a:cubicBezTo>
                              <a:pt x="6166" y="14956"/>
                              <a:pt x="5125" y="16016"/>
                              <a:pt x="4822" y="17448"/>
                            </a:cubicBezTo>
                            <a:lnTo>
                              <a:pt x="4049" y="17448"/>
                            </a:lnTo>
                            <a:cubicBezTo>
                              <a:pt x="3676" y="17448"/>
                              <a:pt x="3374" y="17074"/>
                              <a:pt x="3374" y="16617"/>
                            </a:cubicBezTo>
                            <a:lnTo>
                              <a:pt x="3374" y="14134"/>
                            </a:lnTo>
                            <a:lnTo>
                              <a:pt x="12146" y="14134"/>
                            </a:lnTo>
                            <a:cubicBezTo>
                              <a:pt x="13265" y="14134"/>
                              <a:pt x="14177" y="13008"/>
                              <a:pt x="14177" y="11634"/>
                            </a:cubicBezTo>
                            <a:lnTo>
                              <a:pt x="14177" y="5821"/>
                            </a:lnTo>
                            <a:close/>
                            <a:moveTo>
                              <a:pt x="15553" y="6450"/>
                            </a:moveTo>
                            <a:cubicBezTo>
                              <a:pt x="15182" y="6450"/>
                              <a:pt x="14885" y="6824"/>
                              <a:pt x="14885" y="7281"/>
                            </a:cubicBezTo>
                            <a:lnTo>
                              <a:pt x="14885" y="12263"/>
                            </a:lnTo>
                            <a:cubicBezTo>
                              <a:pt x="14885" y="12721"/>
                              <a:pt x="15182" y="13102"/>
                              <a:pt x="15553" y="13102"/>
                            </a:cubicBezTo>
                            <a:lnTo>
                              <a:pt x="18259" y="13102"/>
                            </a:lnTo>
                            <a:cubicBezTo>
                              <a:pt x="18629" y="13102"/>
                              <a:pt x="18934" y="12721"/>
                              <a:pt x="18934" y="12263"/>
                            </a:cubicBezTo>
                            <a:lnTo>
                              <a:pt x="18934" y="11022"/>
                            </a:lnTo>
                            <a:cubicBezTo>
                              <a:pt x="18934" y="10857"/>
                              <a:pt x="18888" y="10694"/>
                              <a:pt x="18816" y="10554"/>
                            </a:cubicBezTo>
                            <a:cubicBezTo>
                              <a:pt x="18816" y="10554"/>
                              <a:pt x="16798" y="6829"/>
                              <a:pt x="16798" y="6829"/>
                            </a:cubicBezTo>
                            <a:cubicBezTo>
                              <a:pt x="16673" y="6592"/>
                              <a:pt x="16460" y="6450"/>
                              <a:pt x="16234" y="6450"/>
                            </a:cubicBezTo>
                            <a:lnTo>
                              <a:pt x="15553" y="6450"/>
                            </a:lnTo>
                            <a:close/>
                            <a:moveTo>
                              <a:pt x="15553" y="7281"/>
                            </a:moveTo>
                            <a:lnTo>
                              <a:pt x="16234" y="7281"/>
                            </a:lnTo>
                            <a:lnTo>
                              <a:pt x="18259" y="11022"/>
                            </a:lnTo>
                            <a:cubicBezTo>
                              <a:pt x="18259" y="11022"/>
                              <a:pt x="18259" y="12263"/>
                              <a:pt x="18259" y="12263"/>
                            </a:cubicBezTo>
                            <a:lnTo>
                              <a:pt x="15553" y="12263"/>
                            </a:lnTo>
                            <a:lnTo>
                              <a:pt x="15553" y="7281"/>
                            </a:lnTo>
                            <a:close/>
                            <a:moveTo>
                              <a:pt x="7423" y="16617"/>
                            </a:moveTo>
                            <a:cubicBezTo>
                              <a:pt x="8167" y="16617"/>
                              <a:pt x="8772" y="17365"/>
                              <a:pt x="8772" y="18278"/>
                            </a:cubicBezTo>
                            <a:cubicBezTo>
                              <a:pt x="8772" y="19191"/>
                              <a:pt x="8167" y="19939"/>
                              <a:pt x="7423" y="19939"/>
                            </a:cubicBezTo>
                            <a:cubicBezTo>
                              <a:pt x="6677" y="19939"/>
                              <a:pt x="6073" y="19191"/>
                              <a:pt x="6073" y="18278"/>
                            </a:cubicBezTo>
                            <a:cubicBezTo>
                              <a:pt x="6073" y="17365"/>
                              <a:pt x="6677" y="16617"/>
                              <a:pt x="7423" y="16617"/>
                            </a:cubicBezTo>
                            <a:close/>
                            <a:moveTo>
                              <a:pt x="16202" y="16617"/>
                            </a:moveTo>
                            <a:cubicBezTo>
                              <a:pt x="16943" y="16617"/>
                              <a:pt x="17551" y="17365"/>
                              <a:pt x="17551" y="18278"/>
                            </a:cubicBezTo>
                            <a:cubicBezTo>
                              <a:pt x="17551" y="19191"/>
                              <a:pt x="16943" y="19939"/>
                              <a:pt x="16202" y="19939"/>
                            </a:cubicBezTo>
                            <a:cubicBezTo>
                              <a:pt x="15454" y="19939"/>
                              <a:pt x="14852" y="19191"/>
                              <a:pt x="14852" y="18278"/>
                            </a:cubicBezTo>
                            <a:cubicBezTo>
                              <a:pt x="14852" y="17365"/>
                              <a:pt x="15454" y="16617"/>
                              <a:pt x="16202" y="16617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2700" cap="flat">
                        <a:noFill/>
                        <a:miter lim="400000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  <p:sp>
                    <p:nvSpPr>
                      <p:cNvPr id="22" name="í$1iďe">
                        <a:extLst>
                          <a:ext uri="{FF2B5EF4-FFF2-40B4-BE49-F238E27FC236}">
                            <a16:creationId xmlns:a16="http://schemas.microsoft.com/office/drawing/2014/main" id="{03518B09-69F9-4A75-A24C-1FEAF913F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4272" y="2820469"/>
                        <a:ext cx="619662" cy="619662"/>
                      </a:xfrm>
                      <a:prstGeom prst="ellipse">
                        <a:avLst/>
                      </a:prstGeom>
                      <a:noFill/>
                      <a:ln w="9525" cap="flat" cmpd="sng" algn="ctr">
                        <a:solidFill>
                          <a:schemeClr val="bg1"/>
                        </a:solidFill>
                        <a:prstDash val="solid"/>
                        <a:miter lim="800000"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/>
                        <a:endParaRPr/>
                      </a:p>
                    </p:txBody>
                  </p:sp>
                </p:grpSp>
              </p:grpSp>
            </p:grp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69019971-6AD4-4AD1-AE7C-CEA2C93E99C7}"/>
                    </a:ext>
                  </a:extLst>
                </p:cNvPr>
                <p:cNvCxnSpPr/>
                <p:nvPr/>
              </p:nvCxnSpPr>
              <p:spPr>
                <a:xfrm>
                  <a:off x="4967280" y="3832387"/>
                  <a:ext cx="0" cy="2242733"/>
                </a:xfrm>
                <a:prstGeom prst="line">
                  <a:avLst/>
                </a:prstGeom>
                <a:ln cap="rnd">
                  <a:solidFill>
                    <a:schemeClr val="bg1">
                      <a:lumMod val="5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" name="ïṩļíḑê">
                  <a:extLst>
                    <a:ext uri="{FF2B5EF4-FFF2-40B4-BE49-F238E27FC236}">
                      <a16:creationId xmlns:a16="http://schemas.microsoft.com/office/drawing/2014/main" id="{DEDED851-311D-4003-B18A-A30F9F5CB9B9}"/>
                    </a:ext>
                  </a:extLst>
                </p:cNvPr>
                <p:cNvSpPr/>
                <p:nvPr/>
              </p:nvSpPr>
              <p:spPr>
                <a:xfrm>
                  <a:off x="3012840" y="4864202"/>
                  <a:ext cx="1875359" cy="498531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normAutofit fontScale="92500" lnSpcReduction="10000"/>
                </a:bodyPr>
                <a:lstStyle/>
                <a:p>
                  <a:pPr algn="r"/>
                  <a:r>
                    <a:rPr lang="en-US" altLang="zh-CN" sz="3600" b="1"/>
                    <a:t>2016</a:t>
                  </a:r>
                  <a:endParaRPr lang="en-US" altLang="zh-CN" sz="3600" b="1" dirty="0"/>
                </a:p>
              </p:txBody>
            </p:sp>
            <p:sp>
              <p:nvSpPr>
                <p:cNvPr id="16" name="íšḻîdé">
                  <a:extLst>
                    <a:ext uri="{FF2B5EF4-FFF2-40B4-BE49-F238E27FC236}">
                      <a16:creationId xmlns:a16="http://schemas.microsoft.com/office/drawing/2014/main" id="{00D0715D-1CF0-4EF6-A934-F169478A42D7}"/>
                    </a:ext>
                  </a:extLst>
                </p:cNvPr>
                <p:cNvSpPr/>
                <p:nvPr/>
              </p:nvSpPr>
              <p:spPr>
                <a:xfrm>
                  <a:off x="3010723" y="5386600"/>
                  <a:ext cx="1877476" cy="490720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normAutofit fontScale="55000" lnSpcReduction="2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2000" dirty="0"/>
                    <a:t>Copy paste fonts. Choose the only option to retain text.</a:t>
                  </a:r>
                </a:p>
              </p:txBody>
            </p:sp>
          </p:grpSp>
        </p:grpSp>
        <p:sp>
          <p:nvSpPr>
            <p:cNvPr id="7" name="ïSļíḋè">
              <a:extLst>
                <a:ext uri="{FF2B5EF4-FFF2-40B4-BE49-F238E27FC236}">
                  <a16:creationId xmlns:a16="http://schemas.microsoft.com/office/drawing/2014/main" id="{8BB434C3-7BDF-4D94-8F72-65854170735D}"/>
                </a:ext>
              </a:extLst>
            </p:cNvPr>
            <p:cNvSpPr/>
            <p:nvPr/>
          </p:nvSpPr>
          <p:spPr>
            <a:xfrm>
              <a:off x="756316" y="1225011"/>
              <a:ext cx="3620959" cy="907840"/>
            </a:xfrm>
            <a:prstGeom prst="rect">
              <a:avLst/>
            </a:prstGeom>
          </p:spPr>
          <p:txBody>
            <a:bodyPr wrap="square" lIns="117208" tIns="58604" rIns="117208" bIns="58604">
              <a:normAutofit/>
            </a:bodyPr>
            <a:lstStyle/>
            <a:p>
              <a:pPr>
                <a:buSzPct val="25000"/>
              </a:pPr>
              <a:r>
                <a:rPr lang="en-US" altLang="zh-CN" sz="2400" b="1" dirty="0"/>
                <a:t>Unified fonts make</a:t>
              </a:r>
            </a:p>
            <a:p>
              <a:pPr>
                <a:buSzPct val="25000"/>
              </a:pPr>
              <a:r>
                <a:rPr lang="en-US" altLang="zh-CN" sz="2400" b="1" dirty="0"/>
                <a:t>reading more fluent.</a:t>
              </a:r>
            </a:p>
          </p:txBody>
        </p:sp>
        <p:sp>
          <p:nvSpPr>
            <p:cNvPr id="8" name="í$ḷíďe">
              <a:extLst>
                <a:ext uri="{FF2B5EF4-FFF2-40B4-BE49-F238E27FC236}">
                  <a16:creationId xmlns:a16="http://schemas.microsoft.com/office/drawing/2014/main" id="{D5C98A74-E454-4BCF-BA92-35502FE5BDBA}"/>
                </a:ext>
              </a:extLst>
            </p:cNvPr>
            <p:cNvSpPr/>
            <p:nvPr/>
          </p:nvSpPr>
          <p:spPr>
            <a:xfrm>
              <a:off x="746677" y="2099817"/>
              <a:ext cx="3630597" cy="894204"/>
            </a:xfrm>
            <a:prstGeom prst="rect">
              <a:avLst/>
            </a:prstGeom>
          </p:spPr>
          <p:txBody>
            <a:bodyPr wrap="square" lIns="117208" tIns="58604" rIns="117208" bIns="58604" anchor="ctr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/>
                <a:t>Adjust the spacing to adapt to Chinese typesetting, use the reference line in PP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19755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502A3E-4BB4-4528-90D1-9EE426B28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9411DE4-8CD2-4BCA-8D14-558A11833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grpSp>
        <p:nvGrpSpPr>
          <p:cNvPr id="5" name="42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0491345-B473-4A57-B257-2CB18384F35C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651503"/>
            <a:ext cx="10862200" cy="3961394"/>
            <a:chOff x="660400" y="1651503"/>
            <a:chExt cx="10862200" cy="3961394"/>
          </a:xfrm>
        </p:grpSpPr>
        <p:sp>
          <p:nvSpPr>
            <p:cNvPr id="6" name="ïşľîde">
              <a:extLst>
                <a:ext uri="{FF2B5EF4-FFF2-40B4-BE49-F238E27FC236}">
                  <a16:creationId xmlns:a16="http://schemas.microsoft.com/office/drawing/2014/main" id="{848EFD3A-0EC7-49B1-A5BB-292AAF687EC2}"/>
                </a:ext>
              </a:extLst>
            </p:cNvPr>
            <p:cNvSpPr/>
            <p:nvPr/>
          </p:nvSpPr>
          <p:spPr>
            <a:xfrm>
              <a:off x="4276661" y="2789899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íślïḍè">
              <a:extLst>
                <a:ext uri="{FF2B5EF4-FFF2-40B4-BE49-F238E27FC236}">
                  <a16:creationId xmlns:a16="http://schemas.microsoft.com/office/drawing/2014/main" id="{665B8F28-F9BD-44BC-844E-39DC6B86DE6A}"/>
                </a:ext>
              </a:extLst>
            </p:cNvPr>
            <p:cNvSpPr/>
            <p:nvPr/>
          </p:nvSpPr>
          <p:spPr>
            <a:xfrm flipV="1">
              <a:off x="6088482" y="2775945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isḻíḋè">
              <a:extLst>
                <a:ext uri="{FF2B5EF4-FFF2-40B4-BE49-F238E27FC236}">
                  <a16:creationId xmlns:a16="http://schemas.microsoft.com/office/drawing/2014/main" id="{C87B53B2-FB7D-4316-9C4E-3197FE15A0BF}"/>
                </a:ext>
              </a:extLst>
            </p:cNvPr>
            <p:cNvSpPr/>
            <p:nvPr/>
          </p:nvSpPr>
          <p:spPr>
            <a:xfrm>
              <a:off x="7900855" y="2789899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išlïḓê">
              <a:extLst>
                <a:ext uri="{FF2B5EF4-FFF2-40B4-BE49-F238E27FC236}">
                  <a16:creationId xmlns:a16="http://schemas.microsoft.com/office/drawing/2014/main" id="{C7670E55-07AC-4CB5-A26D-5C4BAEEA0990}"/>
                </a:ext>
              </a:extLst>
            </p:cNvPr>
            <p:cNvSpPr/>
            <p:nvPr/>
          </p:nvSpPr>
          <p:spPr>
            <a:xfrm flipV="1">
              <a:off x="9710779" y="2775945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iSlíḍé">
              <a:extLst>
                <a:ext uri="{FF2B5EF4-FFF2-40B4-BE49-F238E27FC236}">
                  <a16:creationId xmlns:a16="http://schemas.microsoft.com/office/drawing/2014/main" id="{1EFD2257-D1DE-4AD7-9611-1F4BE3CA62E4}"/>
                </a:ext>
              </a:extLst>
            </p:cNvPr>
            <p:cNvSpPr/>
            <p:nvPr/>
          </p:nvSpPr>
          <p:spPr>
            <a:xfrm>
              <a:off x="4470213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1" name="ïṩḻïḓé">
              <a:extLst>
                <a:ext uri="{FF2B5EF4-FFF2-40B4-BE49-F238E27FC236}">
                  <a16:creationId xmlns:a16="http://schemas.microsoft.com/office/drawing/2014/main" id="{898583A0-0B47-4AC3-927F-89889B5A11FA}"/>
                </a:ext>
              </a:extLst>
            </p:cNvPr>
            <p:cNvSpPr/>
            <p:nvPr/>
          </p:nvSpPr>
          <p:spPr>
            <a:xfrm>
              <a:off x="6298872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2" name="ïṣľïḑè">
              <a:extLst>
                <a:ext uri="{FF2B5EF4-FFF2-40B4-BE49-F238E27FC236}">
                  <a16:creationId xmlns:a16="http://schemas.microsoft.com/office/drawing/2014/main" id="{029B4098-EE75-4EC7-86E2-33F01695A46E}"/>
                </a:ext>
              </a:extLst>
            </p:cNvPr>
            <p:cNvSpPr/>
            <p:nvPr/>
          </p:nvSpPr>
          <p:spPr>
            <a:xfrm>
              <a:off x="8114998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iSḷîďè">
              <a:extLst>
                <a:ext uri="{FF2B5EF4-FFF2-40B4-BE49-F238E27FC236}">
                  <a16:creationId xmlns:a16="http://schemas.microsoft.com/office/drawing/2014/main" id="{7B62C5F1-6B43-43DD-962B-E60D75493574}"/>
                </a:ext>
              </a:extLst>
            </p:cNvPr>
            <p:cNvSpPr/>
            <p:nvPr/>
          </p:nvSpPr>
          <p:spPr>
            <a:xfrm>
              <a:off x="9931123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4" name="îṥlîḋê">
              <a:extLst>
                <a:ext uri="{FF2B5EF4-FFF2-40B4-BE49-F238E27FC236}">
                  <a16:creationId xmlns:a16="http://schemas.microsoft.com/office/drawing/2014/main" id="{98FBD3C5-377C-4C36-9217-EA4ED456DB2D}"/>
                </a:ext>
              </a:extLst>
            </p:cNvPr>
            <p:cNvSpPr/>
            <p:nvPr/>
          </p:nvSpPr>
          <p:spPr>
            <a:xfrm>
              <a:off x="660400" y="2789899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" name="îş1îḑe">
              <a:extLst>
                <a:ext uri="{FF2B5EF4-FFF2-40B4-BE49-F238E27FC236}">
                  <a16:creationId xmlns:a16="http://schemas.microsoft.com/office/drawing/2014/main" id="{D1A992AC-AC65-462A-B824-5B1E4AEC2C18}"/>
                </a:ext>
              </a:extLst>
            </p:cNvPr>
            <p:cNvSpPr/>
            <p:nvPr/>
          </p:nvSpPr>
          <p:spPr>
            <a:xfrm flipV="1">
              <a:off x="2472221" y="2775945"/>
              <a:ext cx="1811821" cy="1811821"/>
            </a:xfrm>
            <a:prstGeom prst="arc">
              <a:avLst>
                <a:gd name="adj1" fmla="val 10828259"/>
                <a:gd name="adj2" fmla="val 21558603"/>
              </a:avLst>
            </a:prstGeom>
            <a:noFill/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 type="none" w="med" len="med"/>
              <a:tailEnd type="triangle" w="med" len="med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" name="ïSḷíďê">
              <a:extLst>
                <a:ext uri="{FF2B5EF4-FFF2-40B4-BE49-F238E27FC236}">
                  <a16:creationId xmlns:a16="http://schemas.microsoft.com/office/drawing/2014/main" id="{FDA46505-2649-499B-BFD6-81E92A167CD4}"/>
                </a:ext>
              </a:extLst>
            </p:cNvPr>
            <p:cNvSpPr/>
            <p:nvPr/>
          </p:nvSpPr>
          <p:spPr>
            <a:xfrm>
              <a:off x="853952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7" name="îśľíḓé">
              <a:extLst>
                <a:ext uri="{FF2B5EF4-FFF2-40B4-BE49-F238E27FC236}">
                  <a16:creationId xmlns:a16="http://schemas.microsoft.com/office/drawing/2014/main" id="{5BE98317-C69A-4888-8E55-C6D2ADD845D7}"/>
                </a:ext>
              </a:extLst>
            </p:cNvPr>
            <p:cNvSpPr/>
            <p:nvPr/>
          </p:nvSpPr>
          <p:spPr>
            <a:xfrm>
              <a:off x="2682611" y="2981378"/>
              <a:ext cx="1424719" cy="1424718"/>
            </a:xfrm>
            <a:prstGeom prst="donut">
              <a:avLst>
                <a:gd name="adj" fmla="val 8728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ext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8" name="ïṡlïḑé">
              <a:extLst>
                <a:ext uri="{FF2B5EF4-FFF2-40B4-BE49-F238E27FC236}">
                  <a16:creationId xmlns:a16="http://schemas.microsoft.com/office/drawing/2014/main" id="{BE9251DB-C8F3-4518-B40F-6A0DE58A0BAD}"/>
                </a:ext>
              </a:extLst>
            </p:cNvPr>
            <p:cNvSpPr/>
            <p:nvPr/>
          </p:nvSpPr>
          <p:spPr bwMode="auto">
            <a:xfrm>
              <a:off x="1367320" y="2226215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" name="ïṩ1îḓê">
              <a:extLst>
                <a:ext uri="{FF2B5EF4-FFF2-40B4-BE49-F238E27FC236}">
                  <a16:creationId xmlns:a16="http://schemas.microsoft.com/office/drawing/2014/main" id="{ADC8C35B-E0C5-4DCC-A460-A33B5A03DE0B}"/>
                </a:ext>
              </a:extLst>
            </p:cNvPr>
            <p:cNvSpPr/>
            <p:nvPr/>
          </p:nvSpPr>
          <p:spPr bwMode="auto">
            <a:xfrm>
              <a:off x="3195980" y="4780800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" name="îslidé">
              <a:extLst>
                <a:ext uri="{FF2B5EF4-FFF2-40B4-BE49-F238E27FC236}">
                  <a16:creationId xmlns:a16="http://schemas.microsoft.com/office/drawing/2014/main" id="{22135D95-32AC-4A2B-99E8-BDAA48C58A48}"/>
                </a:ext>
              </a:extLst>
            </p:cNvPr>
            <p:cNvSpPr/>
            <p:nvPr/>
          </p:nvSpPr>
          <p:spPr bwMode="auto">
            <a:xfrm>
              <a:off x="4983582" y="2226215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1" name="îs1íďé">
              <a:extLst>
                <a:ext uri="{FF2B5EF4-FFF2-40B4-BE49-F238E27FC236}">
                  <a16:creationId xmlns:a16="http://schemas.microsoft.com/office/drawing/2014/main" id="{A04691A6-750C-4CE9-998D-FEAA0D59E974}"/>
                </a:ext>
              </a:extLst>
            </p:cNvPr>
            <p:cNvSpPr/>
            <p:nvPr/>
          </p:nvSpPr>
          <p:spPr bwMode="auto">
            <a:xfrm>
              <a:off x="6812241" y="4780800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" name="îṧ1ïdé">
              <a:extLst>
                <a:ext uri="{FF2B5EF4-FFF2-40B4-BE49-F238E27FC236}">
                  <a16:creationId xmlns:a16="http://schemas.microsoft.com/office/drawing/2014/main" id="{191558BA-BC47-474B-946D-ED0770095B62}"/>
                </a:ext>
              </a:extLst>
            </p:cNvPr>
            <p:cNvSpPr/>
            <p:nvPr/>
          </p:nvSpPr>
          <p:spPr bwMode="auto">
            <a:xfrm>
              <a:off x="8628367" y="2226215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" name="iṡḻîďê">
              <a:extLst>
                <a:ext uri="{FF2B5EF4-FFF2-40B4-BE49-F238E27FC236}">
                  <a16:creationId xmlns:a16="http://schemas.microsoft.com/office/drawing/2014/main" id="{D1CC869B-0FDE-4052-9BDC-5A70E4BFDF4A}"/>
                </a:ext>
              </a:extLst>
            </p:cNvPr>
            <p:cNvSpPr/>
            <p:nvPr/>
          </p:nvSpPr>
          <p:spPr bwMode="auto">
            <a:xfrm>
              <a:off x="10444492" y="4780800"/>
              <a:ext cx="397980" cy="439616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" name="íšľíḓe">
              <a:extLst>
                <a:ext uri="{FF2B5EF4-FFF2-40B4-BE49-F238E27FC236}">
                  <a16:creationId xmlns:a16="http://schemas.microsoft.com/office/drawing/2014/main" id="{4D65FADC-FC6E-4A8B-A793-926AF6B79F44}"/>
                </a:ext>
              </a:extLst>
            </p:cNvPr>
            <p:cNvSpPr/>
            <p:nvPr/>
          </p:nvSpPr>
          <p:spPr bwMode="auto">
            <a:xfrm>
              <a:off x="700808" y="4985174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5" name="ïsľïďé">
              <a:extLst>
                <a:ext uri="{FF2B5EF4-FFF2-40B4-BE49-F238E27FC236}">
                  <a16:creationId xmlns:a16="http://schemas.microsoft.com/office/drawing/2014/main" id="{D3E4287F-3FF5-45B2-8428-93FB4E404D72}"/>
                </a:ext>
              </a:extLst>
            </p:cNvPr>
            <p:cNvSpPr txBox="1"/>
            <p:nvPr/>
          </p:nvSpPr>
          <p:spPr bwMode="auto">
            <a:xfrm>
              <a:off x="700806" y="4597577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26" name="ïṡlîḓé">
              <a:extLst>
                <a:ext uri="{FF2B5EF4-FFF2-40B4-BE49-F238E27FC236}">
                  <a16:creationId xmlns:a16="http://schemas.microsoft.com/office/drawing/2014/main" id="{619520FA-29DC-49BB-890B-A48F8AC40C7C}"/>
                </a:ext>
              </a:extLst>
            </p:cNvPr>
            <p:cNvSpPr/>
            <p:nvPr/>
          </p:nvSpPr>
          <p:spPr bwMode="auto">
            <a:xfrm>
              <a:off x="4321774" y="4985174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7" name="îṡľïḋê">
              <a:extLst>
                <a:ext uri="{FF2B5EF4-FFF2-40B4-BE49-F238E27FC236}">
                  <a16:creationId xmlns:a16="http://schemas.microsoft.com/office/drawing/2014/main" id="{017E801D-0E85-4085-A51C-324F713A59F5}"/>
                </a:ext>
              </a:extLst>
            </p:cNvPr>
            <p:cNvSpPr txBox="1"/>
            <p:nvPr/>
          </p:nvSpPr>
          <p:spPr bwMode="auto">
            <a:xfrm>
              <a:off x="4321772" y="4597577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28" name="îslíḑè">
              <a:extLst>
                <a:ext uri="{FF2B5EF4-FFF2-40B4-BE49-F238E27FC236}">
                  <a16:creationId xmlns:a16="http://schemas.microsoft.com/office/drawing/2014/main" id="{615BE912-314F-4E8C-A7AC-84DDC2943401}"/>
                </a:ext>
              </a:extLst>
            </p:cNvPr>
            <p:cNvSpPr/>
            <p:nvPr/>
          </p:nvSpPr>
          <p:spPr bwMode="auto">
            <a:xfrm>
              <a:off x="7942740" y="4985174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9" name="işliḓè">
              <a:extLst>
                <a:ext uri="{FF2B5EF4-FFF2-40B4-BE49-F238E27FC236}">
                  <a16:creationId xmlns:a16="http://schemas.microsoft.com/office/drawing/2014/main" id="{3D752712-B105-4C24-B0A0-5F03EF7C4CDC}"/>
                </a:ext>
              </a:extLst>
            </p:cNvPr>
            <p:cNvSpPr txBox="1"/>
            <p:nvPr/>
          </p:nvSpPr>
          <p:spPr bwMode="auto">
            <a:xfrm>
              <a:off x="7942738" y="4597577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30" name="ísľïḑê">
              <a:extLst>
                <a:ext uri="{FF2B5EF4-FFF2-40B4-BE49-F238E27FC236}">
                  <a16:creationId xmlns:a16="http://schemas.microsoft.com/office/drawing/2014/main" id="{BC9007B5-0D94-498B-BEF4-A861B3FFF0F5}"/>
                </a:ext>
              </a:extLst>
            </p:cNvPr>
            <p:cNvSpPr/>
            <p:nvPr/>
          </p:nvSpPr>
          <p:spPr bwMode="auto">
            <a:xfrm>
              <a:off x="2545576" y="2039100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1" name="iŝḷídê">
              <a:extLst>
                <a:ext uri="{FF2B5EF4-FFF2-40B4-BE49-F238E27FC236}">
                  <a16:creationId xmlns:a16="http://schemas.microsoft.com/office/drawing/2014/main" id="{2A7961C9-8811-4D88-9BBD-51FCD4D2A800}"/>
                </a:ext>
              </a:extLst>
            </p:cNvPr>
            <p:cNvSpPr txBox="1"/>
            <p:nvPr/>
          </p:nvSpPr>
          <p:spPr bwMode="auto">
            <a:xfrm>
              <a:off x="2545574" y="1651503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32" name="íṡļídé">
              <a:extLst>
                <a:ext uri="{FF2B5EF4-FFF2-40B4-BE49-F238E27FC236}">
                  <a16:creationId xmlns:a16="http://schemas.microsoft.com/office/drawing/2014/main" id="{D73420E7-23F4-4F41-963A-1E49D5846022}"/>
                </a:ext>
              </a:extLst>
            </p:cNvPr>
            <p:cNvSpPr/>
            <p:nvPr/>
          </p:nvSpPr>
          <p:spPr bwMode="auto">
            <a:xfrm>
              <a:off x="6196074" y="2039100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3" name="îŝļîḓé">
              <a:extLst>
                <a:ext uri="{FF2B5EF4-FFF2-40B4-BE49-F238E27FC236}">
                  <a16:creationId xmlns:a16="http://schemas.microsoft.com/office/drawing/2014/main" id="{CC3114C4-B3E9-45F6-B62F-4EA9AC5132F0}"/>
                </a:ext>
              </a:extLst>
            </p:cNvPr>
            <p:cNvSpPr txBox="1"/>
            <p:nvPr/>
          </p:nvSpPr>
          <p:spPr bwMode="auto">
            <a:xfrm>
              <a:off x="6196072" y="1651503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34" name="ïṩľïḑê">
              <a:extLst>
                <a:ext uri="{FF2B5EF4-FFF2-40B4-BE49-F238E27FC236}">
                  <a16:creationId xmlns:a16="http://schemas.microsoft.com/office/drawing/2014/main" id="{690ED78B-2B37-4E28-8E3C-0077DB2CD9BB}"/>
                </a:ext>
              </a:extLst>
            </p:cNvPr>
            <p:cNvSpPr/>
            <p:nvPr/>
          </p:nvSpPr>
          <p:spPr bwMode="auto">
            <a:xfrm>
              <a:off x="9775934" y="2039100"/>
              <a:ext cx="1746666" cy="62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35" name="íṥḷïḍé">
              <a:extLst>
                <a:ext uri="{FF2B5EF4-FFF2-40B4-BE49-F238E27FC236}">
                  <a16:creationId xmlns:a16="http://schemas.microsoft.com/office/drawing/2014/main" id="{C3518EE8-E230-47F2-9BB5-AB65B80006BE}"/>
                </a:ext>
              </a:extLst>
            </p:cNvPr>
            <p:cNvSpPr txBox="1"/>
            <p:nvPr/>
          </p:nvSpPr>
          <p:spPr bwMode="auto">
            <a:xfrm>
              <a:off x="9775932" y="1651503"/>
              <a:ext cx="1746666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7881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61904" y="1478011"/>
            <a:ext cx="2434096" cy="21163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BCB40E-DBC4-4CF5-A07C-B05756F9D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8260018-3142-400C-80C2-FE2493386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grpSp>
        <p:nvGrpSpPr>
          <p:cNvPr id="5" name="20754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8545988-C5EE-48E0-9DAC-DC1C1C79953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51202"/>
            <a:ext cx="10845799" cy="4782898"/>
            <a:chOff x="673100" y="1351202"/>
            <a:chExt cx="10845799" cy="4782898"/>
          </a:xfrm>
        </p:grpSpPr>
        <p:grpSp>
          <p:nvGrpSpPr>
            <p:cNvPr id="6" name="íš1íḍe">
              <a:extLst>
                <a:ext uri="{FF2B5EF4-FFF2-40B4-BE49-F238E27FC236}">
                  <a16:creationId xmlns:a16="http://schemas.microsoft.com/office/drawing/2014/main" id="{74EAC8A8-F135-4674-BF1D-6F032A0E919B}"/>
                </a:ext>
              </a:extLst>
            </p:cNvPr>
            <p:cNvGrpSpPr/>
            <p:nvPr/>
          </p:nvGrpSpPr>
          <p:grpSpPr>
            <a:xfrm>
              <a:off x="4303433" y="5041939"/>
              <a:ext cx="3572434" cy="1092161"/>
              <a:chOff x="4303433" y="4869855"/>
              <a:chExt cx="3572434" cy="1092161"/>
            </a:xfrm>
          </p:grpSpPr>
          <p:sp>
            <p:nvSpPr>
              <p:cNvPr id="24" name="ïṡḻïḋe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4303435" y="5311660"/>
                <a:ext cx="3572432" cy="6503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5" name="is1ïď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4303433" y="4869855"/>
                <a:ext cx="357243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7" name="îš1iḍé">
              <a:extLst>
                <a:ext uri="{FF2B5EF4-FFF2-40B4-BE49-F238E27FC236}">
                  <a16:creationId xmlns:a16="http://schemas.microsoft.com/office/drawing/2014/main" id="{82B69C3F-5461-4E27-B65F-EBE25280F563}"/>
                </a:ext>
              </a:extLst>
            </p:cNvPr>
            <p:cNvSpPr/>
            <p:nvPr/>
          </p:nvSpPr>
          <p:spPr>
            <a:xfrm>
              <a:off x="6995473" y="1351202"/>
              <a:ext cx="859652" cy="859652"/>
            </a:xfrm>
            <a:custGeom>
              <a:avLst/>
              <a:gdLst>
                <a:gd name="connsiteX0" fmla="*/ 0 w 859652"/>
                <a:gd name="connsiteY0" fmla="*/ 143278 h 859652"/>
                <a:gd name="connsiteX1" fmla="*/ 143278 w 859652"/>
                <a:gd name="connsiteY1" fmla="*/ 0 h 859652"/>
                <a:gd name="connsiteX2" fmla="*/ 716374 w 859652"/>
                <a:gd name="connsiteY2" fmla="*/ 0 h 859652"/>
                <a:gd name="connsiteX3" fmla="*/ 859652 w 859652"/>
                <a:gd name="connsiteY3" fmla="*/ 143278 h 859652"/>
                <a:gd name="connsiteX4" fmla="*/ 859652 w 859652"/>
                <a:gd name="connsiteY4" fmla="*/ 716374 h 859652"/>
                <a:gd name="connsiteX5" fmla="*/ 716374 w 859652"/>
                <a:gd name="connsiteY5" fmla="*/ 859652 h 859652"/>
                <a:gd name="connsiteX6" fmla="*/ 143278 w 859652"/>
                <a:gd name="connsiteY6" fmla="*/ 859652 h 859652"/>
                <a:gd name="connsiteX7" fmla="*/ 0 w 859652"/>
                <a:gd name="connsiteY7" fmla="*/ 716374 h 859652"/>
                <a:gd name="connsiteX8" fmla="*/ 0 w 859652"/>
                <a:gd name="connsiteY8" fmla="*/ 143278 h 859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9652" h="859652">
                  <a:moveTo>
                    <a:pt x="0" y="143278"/>
                  </a:moveTo>
                  <a:cubicBezTo>
                    <a:pt x="0" y="64148"/>
                    <a:pt x="64148" y="0"/>
                    <a:pt x="143278" y="0"/>
                  </a:cubicBezTo>
                  <a:lnTo>
                    <a:pt x="716374" y="0"/>
                  </a:lnTo>
                  <a:cubicBezTo>
                    <a:pt x="795504" y="0"/>
                    <a:pt x="859652" y="64148"/>
                    <a:pt x="859652" y="143278"/>
                  </a:cubicBezTo>
                  <a:lnTo>
                    <a:pt x="859652" y="716374"/>
                  </a:lnTo>
                  <a:cubicBezTo>
                    <a:pt x="859652" y="795504"/>
                    <a:pt x="795504" y="859652"/>
                    <a:pt x="716374" y="859652"/>
                  </a:cubicBezTo>
                  <a:lnTo>
                    <a:pt x="143278" y="859652"/>
                  </a:lnTo>
                  <a:cubicBezTo>
                    <a:pt x="64148" y="859652"/>
                    <a:pt x="0" y="795504"/>
                    <a:pt x="0" y="716374"/>
                  </a:cubicBezTo>
                  <a:lnTo>
                    <a:pt x="0" y="1432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600" kern="1200" dirty="0"/>
            </a:p>
          </p:txBody>
        </p:sp>
        <p:sp>
          <p:nvSpPr>
            <p:cNvPr id="8" name="išļïḑè">
              <a:extLst>
                <a:ext uri="{FF2B5EF4-FFF2-40B4-BE49-F238E27FC236}">
                  <a16:creationId xmlns:a16="http://schemas.microsoft.com/office/drawing/2014/main" id="{2524B6AD-433F-459E-B15F-C6933F1B9DC1}"/>
                </a:ext>
              </a:extLst>
            </p:cNvPr>
            <p:cNvSpPr/>
            <p:nvPr/>
          </p:nvSpPr>
          <p:spPr>
            <a:xfrm>
              <a:off x="7177271" y="1556602"/>
              <a:ext cx="496056" cy="448852"/>
            </a:xfrm>
            <a:custGeom>
              <a:avLst/>
              <a:gdLst>
                <a:gd name="connsiteX0" fmla="*/ 407586 w 606580"/>
                <a:gd name="connsiteY0" fmla="*/ 252695 h 548858"/>
                <a:gd name="connsiteX1" fmla="*/ 502285 w 606580"/>
                <a:gd name="connsiteY1" fmla="*/ 252695 h 548858"/>
                <a:gd name="connsiteX2" fmla="*/ 502285 w 606580"/>
                <a:gd name="connsiteY2" fmla="*/ 346759 h 548858"/>
                <a:gd name="connsiteX3" fmla="*/ 407586 w 606580"/>
                <a:gd name="connsiteY3" fmla="*/ 346759 h 548858"/>
                <a:gd name="connsiteX4" fmla="*/ 104296 w 606580"/>
                <a:gd name="connsiteY4" fmla="*/ 205698 h 548858"/>
                <a:gd name="connsiteX5" fmla="*/ 199065 w 606580"/>
                <a:gd name="connsiteY5" fmla="*/ 205698 h 548858"/>
                <a:gd name="connsiteX6" fmla="*/ 199065 w 606580"/>
                <a:gd name="connsiteY6" fmla="*/ 346758 h 548858"/>
                <a:gd name="connsiteX7" fmla="*/ 104296 w 606580"/>
                <a:gd name="connsiteY7" fmla="*/ 346758 h 548858"/>
                <a:gd name="connsiteX8" fmla="*/ 255870 w 606580"/>
                <a:gd name="connsiteY8" fmla="*/ 96040 h 548858"/>
                <a:gd name="connsiteX9" fmla="*/ 350710 w 606580"/>
                <a:gd name="connsiteY9" fmla="*/ 96040 h 548858"/>
                <a:gd name="connsiteX10" fmla="*/ 350710 w 606580"/>
                <a:gd name="connsiteY10" fmla="*/ 346759 h 548858"/>
                <a:gd name="connsiteX11" fmla="*/ 255870 w 606580"/>
                <a:gd name="connsiteY11" fmla="*/ 346759 h 548858"/>
                <a:gd name="connsiteX12" fmla="*/ 37882 w 606580"/>
                <a:gd name="connsiteY12" fmla="*/ 37913 h 548858"/>
                <a:gd name="connsiteX13" fmla="*/ 37882 w 606580"/>
                <a:gd name="connsiteY13" fmla="*/ 405363 h 548858"/>
                <a:gd name="connsiteX14" fmla="*/ 568698 w 606580"/>
                <a:gd name="connsiteY14" fmla="*/ 405363 h 548858"/>
                <a:gd name="connsiteX15" fmla="*/ 568698 w 606580"/>
                <a:gd name="connsiteY15" fmla="*/ 37913 h 548858"/>
                <a:gd name="connsiteX16" fmla="*/ 18941 w 606580"/>
                <a:gd name="connsiteY16" fmla="*/ 0 h 548858"/>
                <a:gd name="connsiteX17" fmla="*/ 587639 w 606580"/>
                <a:gd name="connsiteY17" fmla="*/ 0 h 548858"/>
                <a:gd name="connsiteX18" fmla="*/ 606580 w 606580"/>
                <a:gd name="connsiteY18" fmla="*/ 18910 h 548858"/>
                <a:gd name="connsiteX19" fmla="*/ 606580 w 606580"/>
                <a:gd name="connsiteY19" fmla="*/ 424274 h 548858"/>
                <a:gd name="connsiteX20" fmla="*/ 587639 w 606580"/>
                <a:gd name="connsiteY20" fmla="*/ 443184 h 548858"/>
                <a:gd name="connsiteX21" fmla="*/ 322278 w 606580"/>
                <a:gd name="connsiteY21" fmla="*/ 443184 h 548858"/>
                <a:gd name="connsiteX22" fmla="*/ 322278 w 606580"/>
                <a:gd name="connsiteY22" fmla="*/ 511038 h 548858"/>
                <a:gd name="connsiteX23" fmla="*/ 450223 w 606580"/>
                <a:gd name="connsiteY23" fmla="*/ 511038 h 548858"/>
                <a:gd name="connsiteX24" fmla="*/ 450223 w 606580"/>
                <a:gd name="connsiteY24" fmla="*/ 548858 h 548858"/>
                <a:gd name="connsiteX25" fmla="*/ 156357 w 606580"/>
                <a:gd name="connsiteY25" fmla="*/ 548858 h 548858"/>
                <a:gd name="connsiteX26" fmla="*/ 156357 w 606580"/>
                <a:gd name="connsiteY26" fmla="*/ 511038 h 548858"/>
                <a:gd name="connsiteX27" fmla="*/ 284302 w 606580"/>
                <a:gd name="connsiteY27" fmla="*/ 511038 h 548858"/>
                <a:gd name="connsiteX28" fmla="*/ 284302 w 606580"/>
                <a:gd name="connsiteY28" fmla="*/ 443184 h 548858"/>
                <a:gd name="connsiteX29" fmla="*/ 18941 w 606580"/>
                <a:gd name="connsiteY29" fmla="*/ 443184 h 548858"/>
                <a:gd name="connsiteX30" fmla="*/ 0 w 606580"/>
                <a:gd name="connsiteY30" fmla="*/ 424274 h 548858"/>
                <a:gd name="connsiteX31" fmla="*/ 0 w 606580"/>
                <a:gd name="connsiteY31" fmla="*/ 18910 h 548858"/>
                <a:gd name="connsiteX32" fmla="*/ 18941 w 606580"/>
                <a:gd name="connsiteY32" fmla="*/ 0 h 5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6580" h="548858">
                  <a:moveTo>
                    <a:pt x="407586" y="252695"/>
                  </a:moveTo>
                  <a:lnTo>
                    <a:pt x="502285" y="252695"/>
                  </a:lnTo>
                  <a:lnTo>
                    <a:pt x="502285" y="346759"/>
                  </a:lnTo>
                  <a:lnTo>
                    <a:pt x="407586" y="346759"/>
                  </a:lnTo>
                  <a:close/>
                  <a:moveTo>
                    <a:pt x="104296" y="205698"/>
                  </a:moveTo>
                  <a:lnTo>
                    <a:pt x="199065" y="205698"/>
                  </a:lnTo>
                  <a:lnTo>
                    <a:pt x="199065" y="346758"/>
                  </a:lnTo>
                  <a:lnTo>
                    <a:pt x="104296" y="346758"/>
                  </a:lnTo>
                  <a:close/>
                  <a:moveTo>
                    <a:pt x="255870" y="96040"/>
                  </a:moveTo>
                  <a:lnTo>
                    <a:pt x="350710" y="96040"/>
                  </a:lnTo>
                  <a:lnTo>
                    <a:pt x="350710" y="346759"/>
                  </a:lnTo>
                  <a:lnTo>
                    <a:pt x="255870" y="346759"/>
                  </a:lnTo>
                  <a:close/>
                  <a:moveTo>
                    <a:pt x="37882" y="37913"/>
                  </a:moveTo>
                  <a:lnTo>
                    <a:pt x="37882" y="405363"/>
                  </a:lnTo>
                  <a:lnTo>
                    <a:pt x="568698" y="405363"/>
                  </a:lnTo>
                  <a:lnTo>
                    <a:pt x="568698" y="37913"/>
                  </a:lnTo>
                  <a:close/>
                  <a:moveTo>
                    <a:pt x="18941" y="0"/>
                  </a:moveTo>
                  <a:lnTo>
                    <a:pt x="587639" y="0"/>
                  </a:lnTo>
                  <a:cubicBezTo>
                    <a:pt x="598038" y="0"/>
                    <a:pt x="606580" y="8528"/>
                    <a:pt x="606580" y="18910"/>
                  </a:cubicBezTo>
                  <a:lnTo>
                    <a:pt x="606580" y="424274"/>
                  </a:lnTo>
                  <a:cubicBezTo>
                    <a:pt x="606580" y="434656"/>
                    <a:pt x="598038" y="443184"/>
                    <a:pt x="587639" y="443184"/>
                  </a:cubicBezTo>
                  <a:lnTo>
                    <a:pt x="322278" y="443184"/>
                  </a:lnTo>
                  <a:lnTo>
                    <a:pt x="322278" y="511038"/>
                  </a:lnTo>
                  <a:lnTo>
                    <a:pt x="450223" y="511038"/>
                  </a:lnTo>
                  <a:lnTo>
                    <a:pt x="450223" y="548858"/>
                  </a:lnTo>
                  <a:lnTo>
                    <a:pt x="156357" y="548858"/>
                  </a:lnTo>
                  <a:lnTo>
                    <a:pt x="156357" y="511038"/>
                  </a:lnTo>
                  <a:lnTo>
                    <a:pt x="284302" y="511038"/>
                  </a:lnTo>
                  <a:lnTo>
                    <a:pt x="284302" y="443184"/>
                  </a:lnTo>
                  <a:lnTo>
                    <a:pt x="18941" y="443184"/>
                  </a:lnTo>
                  <a:cubicBezTo>
                    <a:pt x="8542" y="443184"/>
                    <a:pt x="0" y="434656"/>
                    <a:pt x="0" y="424274"/>
                  </a:cubicBezTo>
                  <a:lnTo>
                    <a:pt x="0" y="18910"/>
                  </a:lnTo>
                  <a:cubicBezTo>
                    <a:pt x="0" y="8528"/>
                    <a:pt x="8542" y="0"/>
                    <a:pt x="1894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9" name="îṧlíḑè">
              <a:extLst>
                <a:ext uri="{FF2B5EF4-FFF2-40B4-BE49-F238E27FC236}">
                  <a16:creationId xmlns:a16="http://schemas.microsoft.com/office/drawing/2014/main" id="{DAA27C2B-F79A-4FC4-A9A1-AE9B877F9986}"/>
                </a:ext>
              </a:extLst>
            </p:cNvPr>
            <p:cNvSpPr/>
            <p:nvPr/>
          </p:nvSpPr>
          <p:spPr>
            <a:xfrm>
              <a:off x="5454469" y="2105620"/>
              <a:ext cx="1283062" cy="1283062"/>
            </a:xfrm>
            <a:custGeom>
              <a:avLst/>
              <a:gdLst>
                <a:gd name="connsiteX0" fmla="*/ 0 w 1283062"/>
                <a:gd name="connsiteY0" fmla="*/ 213848 h 1283062"/>
                <a:gd name="connsiteX1" fmla="*/ 213848 w 1283062"/>
                <a:gd name="connsiteY1" fmla="*/ 0 h 1283062"/>
                <a:gd name="connsiteX2" fmla="*/ 1069214 w 1283062"/>
                <a:gd name="connsiteY2" fmla="*/ 0 h 1283062"/>
                <a:gd name="connsiteX3" fmla="*/ 1283062 w 1283062"/>
                <a:gd name="connsiteY3" fmla="*/ 213848 h 1283062"/>
                <a:gd name="connsiteX4" fmla="*/ 1283062 w 1283062"/>
                <a:gd name="connsiteY4" fmla="*/ 1069214 h 1283062"/>
                <a:gd name="connsiteX5" fmla="*/ 1069214 w 1283062"/>
                <a:gd name="connsiteY5" fmla="*/ 1283062 h 1283062"/>
                <a:gd name="connsiteX6" fmla="*/ 213848 w 1283062"/>
                <a:gd name="connsiteY6" fmla="*/ 1283062 h 1283062"/>
                <a:gd name="connsiteX7" fmla="*/ 0 w 1283062"/>
                <a:gd name="connsiteY7" fmla="*/ 1069214 h 1283062"/>
                <a:gd name="connsiteX8" fmla="*/ 0 w 1283062"/>
                <a:gd name="connsiteY8" fmla="*/ 213848 h 128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3062" h="1283062">
                  <a:moveTo>
                    <a:pt x="0" y="213848"/>
                  </a:moveTo>
                  <a:cubicBezTo>
                    <a:pt x="0" y="95743"/>
                    <a:pt x="95743" y="0"/>
                    <a:pt x="213848" y="0"/>
                  </a:cubicBezTo>
                  <a:lnTo>
                    <a:pt x="1069214" y="0"/>
                  </a:lnTo>
                  <a:cubicBezTo>
                    <a:pt x="1187319" y="0"/>
                    <a:pt x="1283062" y="95743"/>
                    <a:pt x="1283062" y="213848"/>
                  </a:cubicBezTo>
                  <a:lnTo>
                    <a:pt x="1283062" y="1069214"/>
                  </a:lnTo>
                  <a:cubicBezTo>
                    <a:pt x="1283062" y="1187319"/>
                    <a:pt x="1187319" y="1283062"/>
                    <a:pt x="1069214" y="1283062"/>
                  </a:cubicBezTo>
                  <a:lnTo>
                    <a:pt x="213848" y="1283062"/>
                  </a:lnTo>
                  <a:cubicBezTo>
                    <a:pt x="95743" y="1283062"/>
                    <a:pt x="0" y="1187319"/>
                    <a:pt x="0" y="1069214"/>
                  </a:cubicBezTo>
                  <a:lnTo>
                    <a:pt x="0" y="213848"/>
                  </a:lnTo>
                  <a:close/>
                </a:path>
              </a:pathLst>
            </a:custGeom>
            <a:blipFill>
              <a:blip r:embed="rId2"/>
              <a:stretch>
                <a:fillRect l="-39274" r="-38504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ru-RU" dirty="0"/>
            </a:p>
          </p:txBody>
        </p:sp>
        <p:grpSp>
          <p:nvGrpSpPr>
            <p:cNvPr id="10" name="ïṣ1îďé">
              <a:extLst>
                <a:ext uri="{FF2B5EF4-FFF2-40B4-BE49-F238E27FC236}">
                  <a16:creationId xmlns:a16="http://schemas.microsoft.com/office/drawing/2014/main" id="{7D3AEF9D-BE6A-4BFE-9F2C-CD0107F73B59}"/>
                </a:ext>
              </a:extLst>
            </p:cNvPr>
            <p:cNvGrpSpPr/>
            <p:nvPr/>
          </p:nvGrpSpPr>
          <p:grpSpPr>
            <a:xfrm>
              <a:off x="5577403" y="3830487"/>
              <a:ext cx="1037194" cy="1037194"/>
              <a:chOff x="5666174" y="3793996"/>
              <a:chExt cx="859652" cy="859652"/>
            </a:xfrm>
          </p:grpSpPr>
          <p:sp>
            <p:nvSpPr>
              <p:cNvPr id="22" name="îslîḑè">
                <a:extLst>
                  <a:ext uri="{FF2B5EF4-FFF2-40B4-BE49-F238E27FC236}">
                    <a16:creationId xmlns:a16="http://schemas.microsoft.com/office/drawing/2014/main" id="{20E24A48-23C6-438B-A7FE-E70B7776BC57}"/>
                  </a:ext>
                </a:extLst>
              </p:cNvPr>
              <p:cNvSpPr/>
              <p:nvPr/>
            </p:nvSpPr>
            <p:spPr>
              <a:xfrm>
                <a:off x="5666174" y="3793996"/>
                <a:ext cx="859652" cy="859652"/>
              </a:xfrm>
              <a:custGeom>
                <a:avLst/>
                <a:gdLst>
                  <a:gd name="connsiteX0" fmla="*/ 0 w 859652"/>
                  <a:gd name="connsiteY0" fmla="*/ 143278 h 859652"/>
                  <a:gd name="connsiteX1" fmla="*/ 143278 w 859652"/>
                  <a:gd name="connsiteY1" fmla="*/ 0 h 859652"/>
                  <a:gd name="connsiteX2" fmla="*/ 716374 w 859652"/>
                  <a:gd name="connsiteY2" fmla="*/ 0 h 859652"/>
                  <a:gd name="connsiteX3" fmla="*/ 859652 w 859652"/>
                  <a:gd name="connsiteY3" fmla="*/ 143278 h 859652"/>
                  <a:gd name="connsiteX4" fmla="*/ 859652 w 859652"/>
                  <a:gd name="connsiteY4" fmla="*/ 716374 h 859652"/>
                  <a:gd name="connsiteX5" fmla="*/ 716374 w 859652"/>
                  <a:gd name="connsiteY5" fmla="*/ 859652 h 859652"/>
                  <a:gd name="connsiteX6" fmla="*/ 143278 w 859652"/>
                  <a:gd name="connsiteY6" fmla="*/ 859652 h 859652"/>
                  <a:gd name="connsiteX7" fmla="*/ 0 w 859652"/>
                  <a:gd name="connsiteY7" fmla="*/ 716374 h 859652"/>
                  <a:gd name="connsiteX8" fmla="*/ 0 w 859652"/>
                  <a:gd name="connsiteY8" fmla="*/ 143278 h 85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9652" h="859652">
                    <a:moveTo>
                      <a:pt x="0" y="143278"/>
                    </a:moveTo>
                    <a:cubicBezTo>
                      <a:pt x="0" y="64148"/>
                      <a:pt x="64148" y="0"/>
                      <a:pt x="143278" y="0"/>
                    </a:cubicBezTo>
                    <a:lnTo>
                      <a:pt x="716374" y="0"/>
                    </a:lnTo>
                    <a:cubicBezTo>
                      <a:pt x="795504" y="0"/>
                      <a:pt x="859652" y="64148"/>
                      <a:pt x="859652" y="143278"/>
                    </a:cubicBezTo>
                    <a:lnTo>
                      <a:pt x="859652" y="716374"/>
                    </a:lnTo>
                    <a:cubicBezTo>
                      <a:pt x="859652" y="795504"/>
                      <a:pt x="795504" y="859652"/>
                      <a:pt x="716374" y="859652"/>
                    </a:cubicBezTo>
                    <a:lnTo>
                      <a:pt x="143278" y="859652"/>
                    </a:lnTo>
                    <a:cubicBezTo>
                      <a:pt x="64148" y="859652"/>
                      <a:pt x="0" y="795504"/>
                      <a:pt x="0" y="716374"/>
                    </a:cubicBezTo>
                    <a:lnTo>
                      <a:pt x="0" y="143278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45720" rIns="91440" bIns="45720" numCol="1" spcCol="1270" anchor="ctr" anchorCtr="0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lvl="0" indent="0" algn="ctr" defTabSz="1600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3600" kern="1200" dirty="0"/>
              </a:p>
            </p:txBody>
          </p:sp>
          <p:sp>
            <p:nvSpPr>
              <p:cNvPr id="23" name="ïṣḷïde">
                <a:extLst>
                  <a:ext uri="{FF2B5EF4-FFF2-40B4-BE49-F238E27FC236}">
                    <a16:creationId xmlns:a16="http://schemas.microsoft.com/office/drawing/2014/main" id="{543E1FC8-0BF7-4253-9429-5E58CF8E7A1E}"/>
                  </a:ext>
                </a:extLst>
              </p:cNvPr>
              <p:cNvSpPr/>
              <p:nvPr/>
            </p:nvSpPr>
            <p:spPr>
              <a:xfrm>
                <a:off x="5810981" y="3966802"/>
                <a:ext cx="570038" cy="514040"/>
              </a:xfrm>
              <a:custGeom>
                <a:avLst/>
                <a:gdLst>
                  <a:gd name="connsiteX0" fmla="*/ 521432 w 608344"/>
                  <a:gd name="connsiteY0" fmla="*/ 370453 h 548582"/>
                  <a:gd name="connsiteX1" fmla="*/ 465737 w 608344"/>
                  <a:gd name="connsiteY1" fmla="*/ 425787 h 548582"/>
                  <a:gd name="connsiteX2" fmla="*/ 442491 w 608344"/>
                  <a:gd name="connsiteY2" fmla="*/ 402479 h 548582"/>
                  <a:gd name="connsiteX3" fmla="*/ 418201 w 608344"/>
                  <a:gd name="connsiteY3" fmla="*/ 426545 h 548582"/>
                  <a:gd name="connsiteX4" fmla="*/ 441447 w 608344"/>
                  <a:gd name="connsiteY4" fmla="*/ 449948 h 548582"/>
                  <a:gd name="connsiteX5" fmla="*/ 465642 w 608344"/>
                  <a:gd name="connsiteY5" fmla="*/ 474204 h 548582"/>
                  <a:gd name="connsiteX6" fmla="*/ 489932 w 608344"/>
                  <a:gd name="connsiteY6" fmla="*/ 450043 h 548582"/>
                  <a:gd name="connsiteX7" fmla="*/ 545532 w 608344"/>
                  <a:gd name="connsiteY7" fmla="*/ 394709 h 548582"/>
                  <a:gd name="connsiteX8" fmla="*/ 481962 w 608344"/>
                  <a:gd name="connsiteY8" fmla="*/ 296170 h 548582"/>
                  <a:gd name="connsiteX9" fmla="*/ 608344 w 608344"/>
                  <a:gd name="connsiteY9" fmla="*/ 422376 h 548582"/>
                  <a:gd name="connsiteX10" fmla="*/ 481962 w 608344"/>
                  <a:gd name="connsiteY10" fmla="*/ 548582 h 548582"/>
                  <a:gd name="connsiteX11" fmla="*/ 355579 w 608344"/>
                  <a:gd name="connsiteY11" fmla="*/ 422376 h 548582"/>
                  <a:gd name="connsiteX12" fmla="*/ 481962 w 608344"/>
                  <a:gd name="connsiteY12" fmla="*/ 296170 h 548582"/>
                  <a:gd name="connsiteX13" fmla="*/ 255835 w 608344"/>
                  <a:gd name="connsiteY13" fmla="*/ 446 h 548582"/>
                  <a:gd name="connsiteX14" fmla="*/ 317801 w 608344"/>
                  <a:gd name="connsiteY14" fmla="*/ 13616 h 548582"/>
                  <a:gd name="connsiteX15" fmla="*/ 348072 w 608344"/>
                  <a:gd name="connsiteY15" fmla="*/ 41661 h 548582"/>
                  <a:gd name="connsiteX16" fmla="*/ 381190 w 608344"/>
                  <a:gd name="connsiteY16" fmla="*/ 146831 h 548582"/>
                  <a:gd name="connsiteX17" fmla="*/ 378913 w 608344"/>
                  <a:gd name="connsiteY17" fmla="*/ 156211 h 548582"/>
                  <a:gd name="connsiteX18" fmla="*/ 387833 w 608344"/>
                  <a:gd name="connsiteY18" fmla="*/ 200458 h 548582"/>
                  <a:gd name="connsiteX19" fmla="*/ 366387 w 608344"/>
                  <a:gd name="connsiteY19" fmla="*/ 237694 h 548582"/>
                  <a:gd name="connsiteX20" fmla="*/ 351393 w 608344"/>
                  <a:gd name="connsiteY20" fmla="*/ 278720 h 548582"/>
                  <a:gd name="connsiteX21" fmla="*/ 351393 w 608344"/>
                  <a:gd name="connsiteY21" fmla="*/ 322873 h 548582"/>
                  <a:gd name="connsiteX22" fmla="*/ 317611 w 608344"/>
                  <a:gd name="connsiteY22" fmla="*/ 422358 h 548582"/>
                  <a:gd name="connsiteX23" fmla="*/ 376635 w 608344"/>
                  <a:gd name="connsiteY23" fmla="*/ 548088 h 548582"/>
                  <a:gd name="connsiteX24" fmla="*/ 26855 w 608344"/>
                  <a:gd name="connsiteY24" fmla="*/ 548088 h 548582"/>
                  <a:gd name="connsiteX25" fmla="*/ 0 w 608344"/>
                  <a:gd name="connsiteY25" fmla="*/ 521274 h 548582"/>
                  <a:gd name="connsiteX26" fmla="*/ 0 w 608344"/>
                  <a:gd name="connsiteY26" fmla="*/ 473806 h 548582"/>
                  <a:gd name="connsiteX27" fmla="*/ 19453 w 608344"/>
                  <a:gd name="connsiteY27" fmla="*/ 432969 h 548582"/>
                  <a:gd name="connsiteX28" fmla="*/ 173751 w 608344"/>
                  <a:gd name="connsiteY28" fmla="*/ 334242 h 548582"/>
                  <a:gd name="connsiteX29" fmla="*/ 176408 w 608344"/>
                  <a:gd name="connsiteY29" fmla="*/ 329884 h 548582"/>
                  <a:gd name="connsiteX30" fmla="*/ 176408 w 608344"/>
                  <a:gd name="connsiteY30" fmla="*/ 278720 h 548582"/>
                  <a:gd name="connsiteX31" fmla="*/ 161320 w 608344"/>
                  <a:gd name="connsiteY31" fmla="*/ 237694 h 548582"/>
                  <a:gd name="connsiteX32" fmla="*/ 139969 w 608344"/>
                  <a:gd name="connsiteY32" fmla="*/ 200458 h 548582"/>
                  <a:gd name="connsiteX33" fmla="*/ 148320 w 608344"/>
                  <a:gd name="connsiteY33" fmla="*/ 156211 h 548582"/>
                  <a:gd name="connsiteX34" fmla="*/ 146042 w 608344"/>
                  <a:gd name="connsiteY34" fmla="*/ 146736 h 548582"/>
                  <a:gd name="connsiteX35" fmla="*/ 145758 w 608344"/>
                  <a:gd name="connsiteY35" fmla="*/ 95099 h 548582"/>
                  <a:gd name="connsiteX36" fmla="*/ 176029 w 608344"/>
                  <a:gd name="connsiteY36" fmla="*/ 42135 h 548582"/>
                  <a:gd name="connsiteX37" fmla="*/ 203928 w 608344"/>
                  <a:gd name="connsiteY37" fmla="*/ 19017 h 548582"/>
                  <a:gd name="connsiteX38" fmla="*/ 231162 w 608344"/>
                  <a:gd name="connsiteY38" fmla="*/ 5089 h 548582"/>
                  <a:gd name="connsiteX39" fmla="*/ 255835 w 608344"/>
                  <a:gd name="connsiteY39" fmla="*/ 446 h 548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608344" h="548582">
                    <a:moveTo>
                      <a:pt x="521432" y="370453"/>
                    </a:moveTo>
                    <a:lnTo>
                      <a:pt x="465737" y="425787"/>
                    </a:lnTo>
                    <a:lnTo>
                      <a:pt x="442491" y="402479"/>
                    </a:lnTo>
                    <a:lnTo>
                      <a:pt x="418201" y="426545"/>
                    </a:lnTo>
                    <a:lnTo>
                      <a:pt x="441447" y="449948"/>
                    </a:lnTo>
                    <a:lnTo>
                      <a:pt x="465642" y="474204"/>
                    </a:lnTo>
                    <a:lnTo>
                      <a:pt x="489932" y="450043"/>
                    </a:lnTo>
                    <a:lnTo>
                      <a:pt x="545532" y="394709"/>
                    </a:lnTo>
                    <a:close/>
                    <a:moveTo>
                      <a:pt x="481962" y="296170"/>
                    </a:moveTo>
                    <a:cubicBezTo>
                      <a:pt x="551795" y="296170"/>
                      <a:pt x="608344" y="352641"/>
                      <a:pt x="608344" y="422376"/>
                    </a:cubicBezTo>
                    <a:cubicBezTo>
                      <a:pt x="608344" y="492111"/>
                      <a:pt x="551795" y="548582"/>
                      <a:pt x="481962" y="548582"/>
                    </a:cubicBezTo>
                    <a:cubicBezTo>
                      <a:pt x="412129" y="548582"/>
                      <a:pt x="355579" y="492111"/>
                      <a:pt x="355579" y="422376"/>
                    </a:cubicBezTo>
                    <a:cubicBezTo>
                      <a:pt x="355579" y="352641"/>
                      <a:pt x="412129" y="296170"/>
                      <a:pt x="481962" y="296170"/>
                    </a:cubicBezTo>
                    <a:close/>
                    <a:moveTo>
                      <a:pt x="255835" y="446"/>
                    </a:moveTo>
                    <a:cubicBezTo>
                      <a:pt x="282785" y="-1828"/>
                      <a:pt x="303187" y="4899"/>
                      <a:pt x="317801" y="13616"/>
                    </a:cubicBezTo>
                    <a:cubicBezTo>
                      <a:pt x="339721" y="25744"/>
                      <a:pt x="348072" y="41661"/>
                      <a:pt x="348072" y="41661"/>
                    </a:cubicBezTo>
                    <a:cubicBezTo>
                      <a:pt x="348072" y="41661"/>
                      <a:pt x="398176" y="45167"/>
                      <a:pt x="381190" y="146831"/>
                    </a:cubicBezTo>
                    <a:cubicBezTo>
                      <a:pt x="380621" y="149863"/>
                      <a:pt x="379862" y="153085"/>
                      <a:pt x="378913" y="156211"/>
                    </a:cubicBezTo>
                    <a:cubicBezTo>
                      <a:pt x="388592" y="156211"/>
                      <a:pt x="398271" y="163507"/>
                      <a:pt x="387833" y="200458"/>
                    </a:cubicBezTo>
                    <a:cubicBezTo>
                      <a:pt x="379672" y="229262"/>
                      <a:pt x="372080" y="237221"/>
                      <a:pt x="366387" y="237694"/>
                    </a:cubicBezTo>
                    <a:cubicBezTo>
                      <a:pt x="364394" y="250675"/>
                      <a:pt x="359175" y="265076"/>
                      <a:pt x="351393" y="278720"/>
                    </a:cubicBezTo>
                    <a:lnTo>
                      <a:pt x="351393" y="322873"/>
                    </a:lnTo>
                    <a:cubicBezTo>
                      <a:pt x="330232" y="350539"/>
                      <a:pt x="317611" y="385027"/>
                      <a:pt x="317611" y="422358"/>
                    </a:cubicBezTo>
                    <a:cubicBezTo>
                      <a:pt x="317611" y="472764"/>
                      <a:pt x="340480" y="518053"/>
                      <a:pt x="376635" y="548088"/>
                    </a:cubicBezTo>
                    <a:lnTo>
                      <a:pt x="26855" y="548088"/>
                    </a:lnTo>
                    <a:cubicBezTo>
                      <a:pt x="12052" y="548088"/>
                      <a:pt x="0" y="536055"/>
                      <a:pt x="0" y="521274"/>
                    </a:cubicBezTo>
                    <a:lnTo>
                      <a:pt x="0" y="473806"/>
                    </a:lnTo>
                    <a:cubicBezTo>
                      <a:pt x="0" y="457983"/>
                      <a:pt x="7212" y="443013"/>
                      <a:pt x="19453" y="432969"/>
                    </a:cubicBezTo>
                    <a:cubicBezTo>
                      <a:pt x="86638" y="377921"/>
                      <a:pt x="159043" y="341443"/>
                      <a:pt x="173751" y="334242"/>
                    </a:cubicBezTo>
                    <a:cubicBezTo>
                      <a:pt x="175365" y="333484"/>
                      <a:pt x="176408" y="331779"/>
                      <a:pt x="176408" y="329884"/>
                    </a:cubicBezTo>
                    <a:lnTo>
                      <a:pt x="176408" y="278720"/>
                    </a:lnTo>
                    <a:cubicBezTo>
                      <a:pt x="168437" y="265076"/>
                      <a:pt x="163313" y="250675"/>
                      <a:pt x="161320" y="237694"/>
                    </a:cubicBezTo>
                    <a:cubicBezTo>
                      <a:pt x="155627" y="237221"/>
                      <a:pt x="148035" y="229072"/>
                      <a:pt x="139969" y="200458"/>
                    </a:cubicBezTo>
                    <a:cubicBezTo>
                      <a:pt x="129531" y="164170"/>
                      <a:pt x="138925" y="156496"/>
                      <a:pt x="148320" y="156211"/>
                    </a:cubicBezTo>
                    <a:cubicBezTo>
                      <a:pt x="147371" y="153085"/>
                      <a:pt x="146612" y="149863"/>
                      <a:pt x="146042" y="146736"/>
                    </a:cubicBezTo>
                    <a:cubicBezTo>
                      <a:pt x="142436" y="128450"/>
                      <a:pt x="141487" y="111396"/>
                      <a:pt x="145758" y="95099"/>
                    </a:cubicBezTo>
                    <a:cubicBezTo>
                      <a:pt x="150787" y="73212"/>
                      <a:pt x="162744" y="55684"/>
                      <a:pt x="176029" y="42135"/>
                    </a:cubicBezTo>
                    <a:cubicBezTo>
                      <a:pt x="184379" y="33134"/>
                      <a:pt x="193869" y="25459"/>
                      <a:pt x="203928" y="19017"/>
                    </a:cubicBezTo>
                    <a:cubicBezTo>
                      <a:pt x="212183" y="13332"/>
                      <a:pt x="221293" y="8405"/>
                      <a:pt x="231162" y="5089"/>
                    </a:cubicBezTo>
                    <a:cubicBezTo>
                      <a:pt x="238849" y="2625"/>
                      <a:pt x="247105" y="825"/>
                      <a:pt x="255835" y="44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45720" rIns="91440" bIns="45720" numCol="1" spcCol="127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 defTabSz="9779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200" kern="1200"/>
              </a:p>
            </p:txBody>
          </p:sp>
        </p:grpSp>
        <p:sp>
          <p:nvSpPr>
            <p:cNvPr id="11" name="iSlîḓê">
              <a:extLst>
                <a:ext uri="{FF2B5EF4-FFF2-40B4-BE49-F238E27FC236}">
                  <a16:creationId xmlns:a16="http://schemas.microsoft.com/office/drawing/2014/main" id="{43DC79CA-26F2-4449-8E5B-B5D9ECF4E686}"/>
                </a:ext>
              </a:extLst>
            </p:cNvPr>
            <p:cNvSpPr/>
            <p:nvPr/>
          </p:nvSpPr>
          <p:spPr>
            <a:xfrm>
              <a:off x="4336875" y="1351202"/>
              <a:ext cx="859652" cy="859652"/>
            </a:xfrm>
            <a:custGeom>
              <a:avLst/>
              <a:gdLst>
                <a:gd name="connsiteX0" fmla="*/ 0 w 859652"/>
                <a:gd name="connsiteY0" fmla="*/ 143278 h 859652"/>
                <a:gd name="connsiteX1" fmla="*/ 143278 w 859652"/>
                <a:gd name="connsiteY1" fmla="*/ 0 h 859652"/>
                <a:gd name="connsiteX2" fmla="*/ 716374 w 859652"/>
                <a:gd name="connsiteY2" fmla="*/ 0 h 859652"/>
                <a:gd name="connsiteX3" fmla="*/ 859652 w 859652"/>
                <a:gd name="connsiteY3" fmla="*/ 143278 h 859652"/>
                <a:gd name="connsiteX4" fmla="*/ 859652 w 859652"/>
                <a:gd name="connsiteY4" fmla="*/ 716374 h 859652"/>
                <a:gd name="connsiteX5" fmla="*/ 716374 w 859652"/>
                <a:gd name="connsiteY5" fmla="*/ 859652 h 859652"/>
                <a:gd name="connsiteX6" fmla="*/ 143278 w 859652"/>
                <a:gd name="connsiteY6" fmla="*/ 859652 h 859652"/>
                <a:gd name="connsiteX7" fmla="*/ 0 w 859652"/>
                <a:gd name="connsiteY7" fmla="*/ 716374 h 859652"/>
                <a:gd name="connsiteX8" fmla="*/ 0 w 859652"/>
                <a:gd name="connsiteY8" fmla="*/ 143278 h 859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9652" h="859652">
                  <a:moveTo>
                    <a:pt x="0" y="143278"/>
                  </a:moveTo>
                  <a:cubicBezTo>
                    <a:pt x="0" y="64148"/>
                    <a:pt x="64148" y="0"/>
                    <a:pt x="143278" y="0"/>
                  </a:cubicBezTo>
                  <a:lnTo>
                    <a:pt x="716374" y="0"/>
                  </a:lnTo>
                  <a:cubicBezTo>
                    <a:pt x="795504" y="0"/>
                    <a:pt x="859652" y="64148"/>
                    <a:pt x="859652" y="143278"/>
                  </a:cubicBezTo>
                  <a:lnTo>
                    <a:pt x="859652" y="716374"/>
                  </a:lnTo>
                  <a:cubicBezTo>
                    <a:pt x="859652" y="795504"/>
                    <a:pt x="795504" y="859652"/>
                    <a:pt x="716374" y="859652"/>
                  </a:cubicBezTo>
                  <a:lnTo>
                    <a:pt x="143278" y="859652"/>
                  </a:lnTo>
                  <a:cubicBezTo>
                    <a:pt x="64148" y="859652"/>
                    <a:pt x="0" y="795504"/>
                    <a:pt x="0" y="716374"/>
                  </a:cubicBezTo>
                  <a:lnTo>
                    <a:pt x="0" y="1432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600" kern="1200" dirty="0"/>
            </a:p>
          </p:txBody>
        </p:sp>
        <p:sp>
          <p:nvSpPr>
            <p:cNvPr id="12" name="iṣľïdé">
              <a:extLst>
                <a:ext uri="{FF2B5EF4-FFF2-40B4-BE49-F238E27FC236}">
                  <a16:creationId xmlns:a16="http://schemas.microsoft.com/office/drawing/2014/main" id="{2F62AD53-A1D5-4FC6-98FB-B84A746F8D9B}"/>
                </a:ext>
              </a:extLst>
            </p:cNvPr>
            <p:cNvSpPr/>
            <p:nvPr/>
          </p:nvSpPr>
          <p:spPr bwMode="auto">
            <a:xfrm>
              <a:off x="4546497" y="1561158"/>
              <a:ext cx="440408" cy="43974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8649" h="594741">
                  <a:moveTo>
                    <a:pt x="411175" y="315251"/>
                  </a:moveTo>
                  <a:cubicBezTo>
                    <a:pt x="392328" y="315251"/>
                    <a:pt x="373301" y="322420"/>
                    <a:pt x="358940" y="336757"/>
                  </a:cubicBezTo>
                  <a:cubicBezTo>
                    <a:pt x="330220" y="365432"/>
                    <a:pt x="330220" y="411311"/>
                    <a:pt x="358940" y="439986"/>
                  </a:cubicBezTo>
                  <a:cubicBezTo>
                    <a:pt x="387661" y="468660"/>
                    <a:pt x="435049" y="468660"/>
                    <a:pt x="462333" y="439986"/>
                  </a:cubicBezTo>
                  <a:cubicBezTo>
                    <a:pt x="491053" y="411311"/>
                    <a:pt x="491053" y="365432"/>
                    <a:pt x="462333" y="336757"/>
                  </a:cubicBezTo>
                  <a:cubicBezTo>
                    <a:pt x="448691" y="322420"/>
                    <a:pt x="430023" y="315251"/>
                    <a:pt x="411175" y="315251"/>
                  </a:cubicBezTo>
                  <a:close/>
                  <a:moveTo>
                    <a:pt x="410816" y="276182"/>
                  </a:moveTo>
                  <a:cubicBezTo>
                    <a:pt x="439716" y="276182"/>
                    <a:pt x="468795" y="287293"/>
                    <a:pt x="491053" y="309516"/>
                  </a:cubicBezTo>
                  <a:cubicBezTo>
                    <a:pt x="525517" y="342492"/>
                    <a:pt x="532697" y="394106"/>
                    <a:pt x="514029" y="435685"/>
                  </a:cubicBezTo>
                  <a:lnTo>
                    <a:pt x="578649" y="500203"/>
                  </a:lnTo>
                  <a:lnTo>
                    <a:pt x="522645" y="556118"/>
                  </a:lnTo>
                  <a:lnTo>
                    <a:pt x="458025" y="491600"/>
                  </a:lnTo>
                  <a:cubicBezTo>
                    <a:pt x="416381" y="510239"/>
                    <a:pt x="366121" y="503070"/>
                    <a:pt x="331656" y="468660"/>
                  </a:cubicBezTo>
                  <a:cubicBezTo>
                    <a:pt x="287140" y="424215"/>
                    <a:pt x="287140" y="352528"/>
                    <a:pt x="331656" y="309516"/>
                  </a:cubicBezTo>
                  <a:cubicBezTo>
                    <a:pt x="353197" y="287293"/>
                    <a:pt x="381917" y="276182"/>
                    <a:pt x="410816" y="276182"/>
                  </a:cubicBezTo>
                  <a:close/>
                  <a:moveTo>
                    <a:pt x="134949" y="20001"/>
                  </a:moveTo>
                  <a:lnTo>
                    <a:pt x="134949" y="144835"/>
                  </a:lnTo>
                  <a:lnTo>
                    <a:pt x="17242" y="144835"/>
                  </a:lnTo>
                  <a:close/>
                  <a:moveTo>
                    <a:pt x="172278" y="0"/>
                  </a:moveTo>
                  <a:lnTo>
                    <a:pt x="480943" y="0"/>
                  </a:lnTo>
                  <a:lnTo>
                    <a:pt x="480943" y="276591"/>
                  </a:lnTo>
                  <a:cubicBezTo>
                    <a:pt x="460844" y="263693"/>
                    <a:pt x="436438" y="256527"/>
                    <a:pt x="410596" y="256527"/>
                  </a:cubicBezTo>
                  <a:cubicBezTo>
                    <a:pt x="381883" y="256527"/>
                    <a:pt x="354606" y="265126"/>
                    <a:pt x="331636" y="282323"/>
                  </a:cubicBezTo>
                  <a:lnTo>
                    <a:pt x="81832" y="282323"/>
                  </a:lnTo>
                  <a:lnTo>
                    <a:pt x="81832" y="322450"/>
                  </a:lnTo>
                  <a:lnTo>
                    <a:pt x="295744" y="322450"/>
                  </a:lnTo>
                  <a:cubicBezTo>
                    <a:pt x="288566" y="335348"/>
                    <a:pt x="282823" y="351112"/>
                    <a:pt x="279952" y="366877"/>
                  </a:cubicBezTo>
                  <a:lnTo>
                    <a:pt x="81832" y="366877"/>
                  </a:lnTo>
                  <a:lnTo>
                    <a:pt x="81832" y="407004"/>
                  </a:lnTo>
                  <a:lnTo>
                    <a:pt x="279952" y="407004"/>
                  </a:lnTo>
                  <a:cubicBezTo>
                    <a:pt x="281388" y="422768"/>
                    <a:pt x="287130" y="438532"/>
                    <a:pt x="294309" y="451430"/>
                  </a:cubicBezTo>
                  <a:lnTo>
                    <a:pt x="81832" y="451430"/>
                  </a:lnTo>
                  <a:lnTo>
                    <a:pt x="81832" y="491557"/>
                  </a:lnTo>
                  <a:lnTo>
                    <a:pt x="327329" y="491557"/>
                  </a:lnTo>
                  <a:cubicBezTo>
                    <a:pt x="350299" y="511621"/>
                    <a:pt x="380448" y="521653"/>
                    <a:pt x="410596" y="521653"/>
                  </a:cubicBezTo>
                  <a:cubicBezTo>
                    <a:pt x="424953" y="521653"/>
                    <a:pt x="439309" y="518786"/>
                    <a:pt x="453666" y="514487"/>
                  </a:cubicBezTo>
                  <a:lnTo>
                    <a:pt x="480943" y="543149"/>
                  </a:lnTo>
                  <a:lnTo>
                    <a:pt x="480943" y="594741"/>
                  </a:lnTo>
                  <a:lnTo>
                    <a:pt x="0" y="594741"/>
                  </a:lnTo>
                  <a:lnTo>
                    <a:pt x="0" y="180572"/>
                  </a:lnTo>
                  <a:lnTo>
                    <a:pt x="172278" y="1805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4A9476F0-ECD7-43B4-8B81-353539B3A0C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3388682"/>
              <a:ext cx="0" cy="441805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06E5EEC3-77D8-43F0-9004-F93B79F223C2}"/>
                </a:ext>
              </a:extLst>
            </p:cNvPr>
            <p:cNvCxnSpPr/>
            <p:nvPr/>
          </p:nvCxnSpPr>
          <p:spPr>
            <a:xfrm>
              <a:off x="5196527" y="2067576"/>
              <a:ext cx="257942" cy="251892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CD8C35AF-92E1-4CE3-BEAB-58593859D5BD}"/>
                </a:ext>
              </a:extLst>
            </p:cNvPr>
            <p:cNvCxnSpPr/>
            <p:nvPr/>
          </p:nvCxnSpPr>
          <p:spPr>
            <a:xfrm flipH="1">
              <a:off x="6737531" y="2067576"/>
              <a:ext cx="257942" cy="251892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îṩlidè">
              <a:extLst>
                <a:ext uri="{FF2B5EF4-FFF2-40B4-BE49-F238E27FC236}">
                  <a16:creationId xmlns:a16="http://schemas.microsoft.com/office/drawing/2014/main" id="{547FC59B-5E67-434D-93D8-0550DA6C6B5D}"/>
                </a:ext>
              </a:extLst>
            </p:cNvPr>
            <p:cNvGrpSpPr/>
            <p:nvPr/>
          </p:nvGrpSpPr>
          <p:grpSpPr>
            <a:xfrm>
              <a:off x="7965518" y="1994643"/>
              <a:ext cx="3553381" cy="1608551"/>
              <a:chOff x="7965518" y="3265183"/>
              <a:chExt cx="3553381" cy="1608551"/>
            </a:xfrm>
          </p:grpSpPr>
          <p:sp>
            <p:nvSpPr>
              <p:cNvPr id="20" name="îşḷíḍé">
                <a:extLst>
                  <a:ext uri="{FF2B5EF4-FFF2-40B4-BE49-F238E27FC236}">
                    <a16:creationId xmlns:a16="http://schemas.microsoft.com/office/drawing/2014/main" id="{9E9A2684-8FFE-4709-90ED-8131EF38AC9D}"/>
                  </a:ext>
                </a:extLst>
              </p:cNvPr>
              <p:cNvSpPr/>
              <p:nvPr/>
            </p:nvSpPr>
            <p:spPr>
              <a:xfrm>
                <a:off x="7965518" y="3706988"/>
                <a:ext cx="3553381" cy="11667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21" name="ïṣľîḍê">
                <a:extLst>
                  <a:ext uri="{FF2B5EF4-FFF2-40B4-BE49-F238E27FC236}">
                    <a16:creationId xmlns:a16="http://schemas.microsoft.com/office/drawing/2014/main" id="{B4AB7E7C-323A-41A9-8AA6-0017E59C7F85}"/>
                  </a:ext>
                </a:extLst>
              </p:cNvPr>
              <p:cNvSpPr txBox="1"/>
              <p:nvPr/>
            </p:nvSpPr>
            <p:spPr bwMode="auto">
              <a:xfrm>
                <a:off x="7965518" y="3265183"/>
                <a:ext cx="3553381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7" name="îṡḷíďé">
              <a:extLst>
                <a:ext uri="{FF2B5EF4-FFF2-40B4-BE49-F238E27FC236}">
                  <a16:creationId xmlns:a16="http://schemas.microsoft.com/office/drawing/2014/main" id="{AABE1018-93F8-44CD-9D14-E30891F71856}"/>
                </a:ext>
              </a:extLst>
            </p:cNvPr>
            <p:cNvGrpSpPr/>
            <p:nvPr/>
          </p:nvGrpSpPr>
          <p:grpSpPr>
            <a:xfrm>
              <a:off x="673100" y="1994643"/>
              <a:ext cx="3553381" cy="1608551"/>
              <a:chOff x="660400" y="3265183"/>
              <a:chExt cx="3553381" cy="1608551"/>
            </a:xfrm>
          </p:grpSpPr>
          <p:sp>
            <p:nvSpPr>
              <p:cNvPr id="18" name="ïslîḋé">
                <a:extLst>
                  <a:ext uri="{FF2B5EF4-FFF2-40B4-BE49-F238E27FC236}">
                    <a16:creationId xmlns:a16="http://schemas.microsoft.com/office/drawing/2014/main" id="{9E9A2684-8FFE-4709-90ED-8131EF38AC9D}"/>
                  </a:ext>
                </a:extLst>
              </p:cNvPr>
              <p:cNvSpPr/>
              <p:nvPr/>
            </p:nvSpPr>
            <p:spPr>
              <a:xfrm>
                <a:off x="660400" y="3706988"/>
                <a:ext cx="3553381" cy="11667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9" name="ïṡḷíḓé">
                <a:extLst>
                  <a:ext uri="{FF2B5EF4-FFF2-40B4-BE49-F238E27FC236}">
                    <a16:creationId xmlns:a16="http://schemas.microsoft.com/office/drawing/2014/main" id="{B4AB7E7C-323A-41A9-8AA6-0017E59C7F85}"/>
                  </a:ext>
                </a:extLst>
              </p:cNvPr>
              <p:cNvSpPr txBox="1"/>
              <p:nvPr/>
            </p:nvSpPr>
            <p:spPr bwMode="auto">
              <a:xfrm>
                <a:off x="660400" y="3265183"/>
                <a:ext cx="3553381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3111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9AE14D-07FD-4654-A3E3-6C0E0D3A6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BA0030-3B13-4F5C-9784-F32F22276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grpSp>
        <p:nvGrpSpPr>
          <p:cNvPr id="5" name="21765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6D74A97-36B3-4A23-A08D-BB9AD23F8742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3950"/>
            <a:ext cx="10668562" cy="4990624"/>
            <a:chOff x="669925" y="1123950"/>
            <a:chExt cx="10668562" cy="4990624"/>
          </a:xfrm>
        </p:grpSpPr>
        <p:grpSp>
          <p:nvGrpSpPr>
            <p:cNvPr id="6" name="îṧļîde">
              <a:extLst>
                <a:ext uri="{FF2B5EF4-FFF2-40B4-BE49-F238E27FC236}">
                  <a16:creationId xmlns:a16="http://schemas.microsoft.com/office/drawing/2014/main" id="{85D2D93F-0995-4773-BF1B-2F243BD8EE87}"/>
                </a:ext>
              </a:extLst>
            </p:cNvPr>
            <p:cNvGrpSpPr/>
            <p:nvPr/>
          </p:nvGrpSpPr>
          <p:grpSpPr>
            <a:xfrm>
              <a:off x="7327871" y="1123950"/>
              <a:ext cx="3909361" cy="4317805"/>
              <a:chOff x="6775610" y="1394140"/>
              <a:chExt cx="3909361" cy="4317805"/>
            </a:xfrm>
          </p:grpSpPr>
          <p:sp>
            <p:nvSpPr>
              <p:cNvPr id="25" name="ïšlïḍè">
                <a:extLst>
                  <a:ext uri="{FF2B5EF4-FFF2-40B4-BE49-F238E27FC236}">
                    <a16:creationId xmlns:a16="http://schemas.microsoft.com/office/drawing/2014/main" id="{91B34540-D898-4C70-A6E9-E8368645BBCC}"/>
                  </a:ext>
                </a:extLst>
              </p:cNvPr>
              <p:cNvSpPr/>
              <p:nvPr/>
            </p:nvSpPr>
            <p:spPr bwMode="auto">
              <a:xfrm>
                <a:off x="8293138" y="4645145"/>
                <a:ext cx="2319866" cy="1066800"/>
              </a:xfrm>
              <a:custGeom>
                <a:avLst/>
                <a:gdLst/>
                <a:ahLst/>
                <a:cxnLst>
                  <a:cxn ang="0">
                    <a:pos x="0" y="152"/>
                  </a:cxn>
                  <a:cxn ang="0">
                    <a:pos x="707" y="0"/>
                  </a:cxn>
                  <a:cxn ang="0">
                    <a:pos x="1096" y="302"/>
                  </a:cxn>
                  <a:cxn ang="0">
                    <a:pos x="290" y="504"/>
                  </a:cxn>
                  <a:cxn ang="0">
                    <a:pos x="0" y="152"/>
                  </a:cxn>
                </a:cxnLst>
                <a:rect l="0" t="0" r="r" b="b"/>
                <a:pathLst>
                  <a:path w="1096" h="504">
                    <a:moveTo>
                      <a:pt x="0" y="152"/>
                    </a:moveTo>
                    <a:lnTo>
                      <a:pt x="707" y="0"/>
                    </a:lnTo>
                    <a:lnTo>
                      <a:pt x="1096" y="302"/>
                    </a:lnTo>
                    <a:lnTo>
                      <a:pt x="290" y="504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6" name="ïśľíďé">
                <a:extLst>
                  <a:ext uri="{FF2B5EF4-FFF2-40B4-BE49-F238E27FC236}">
                    <a16:creationId xmlns:a16="http://schemas.microsoft.com/office/drawing/2014/main" id="{D371586A-0B1C-416D-A28A-4810A21B88E4}"/>
                  </a:ext>
                </a:extLst>
              </p:cNvPr>
              <p:cNvSpPr/>
              <p:nvPr/>
            </p:nvSpPr>
            <p:spPr bwMode="auto">
              <a:xfrm>
                <a:off x="9789620" y="3705345"/>
                <a:ext cx="895351" cy="157903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23" y="255"/>
                  </a:cxn>
                  <a:cxn ang="0">
                    <a:pos x="394" y="744"/>
                  </a:cxn>
                  <a:cxn ang="0">
                    <a:pos x="389" y="746"/>
                  </a:cxn>
                  <a:cxn ang="0">
                    <a:pos x="0" y="444"/>
                  </a:cxn>
                  <a:cxn ang="0">
                    <a:pos x="0" y="0"/>
                  </a:cxn>
                </a:cxnLst>
                <a:rect l="0" t="0" r="r" b="b"/>
                <a:pathLst>
                  <a:path w="423" h="746">
                    <a:moveTo>
                      <a:pt x="0" y="0"/>
                    </a:moveTo>
                    <a:lnTo>
                      <a:pt x="423" y="255"/>
                    </a:lnTo>
                    <a:lnTo>
                      <a:pt x="394" y="744"/>
                    </a:lnTo>
                    <a:lnTo>
                      <a:pt x="389" y="746"/>
                    </a:lnTo>
                    <a:lnTo>
                      <a:pt x="0" y="4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7" name="iSḷîdê">
                <a:extLst>
                  <a:ext uri="{FF2B5EF4-FFF2-40B4-BE49-F238E27FC236}">
                    <a16:creationId xmlns:a16="http://schemas.microsoft.com/office/drawing/2014/main" id="{A39E6D3D-D6CE-4180-B2EB-9B0C567CF76D}"/>
                  </a:ext>
                </a:extLst>
              </p:cNvPr>
              <p:cNvSpPr/>
              <p:nvPr/>
            </p:nvSpPr>
            <p:spPr bwMode="auto">
              <a:xfrm>
                <a:off x="8267738" y="3705345"/>
                <a:ext cx="1521884" cy="1261533"/>
              </a:xfrm>
              <a:custGeom>
                <a:avLst/>
                <a:gdLst/>
                <a:ahLst/>
                <a:cxnLst>
                  <a:cxn ang="0">
                    <a:pos x="719" y="0"/>
                  </a:cxn>
                  <a:cxn ang="0">
                    <a:pos x="719" y="444"/>
                  </a:cxn>
                  <a:cxn ang="0">
                    <a:pos x="12" y="596"/>
                  </a:cxn>
                  <a:cxn ang="0">
                    <a:pos x="0" y="118"/>
                  </a:cxn>
                  <a:cxn ang="0">
                    <a:pos x="719" y="0"/>
                  </a:cxn>
                </a:cxnLst>
                <a:rect l="0" t="0" r="r" b="b"/>
                <a:pathLst>
                  <a:path w="719" h="596">
                    <a:moveTo>
                      <a:pt x="719" y="0"/>
                    </a:moveTo>
                    <a:lnTo>
                      <a:pt x="719" y="444"/>
                    </a:lnTo>
                    <a:lnTo>
                      <a:pt x="12" y="596"/>
                    </a:lnTo>
                    <a:lnTo>
                      <a:pt x="0" y="118"/>
                    </a:lnTo>
                    <a:lnTo>
                      <a:pt x="71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" name="iṧḷïḑê">
                <a:extLst>
                  <a:ext uri="{FF2B5EF4-FFF2-40B4-BE49-F238E27FC236}">
                    <a16:creationId xmlns:a16="http://schemas.microsoft.com/office/drawing/2014/main" id="{19AA2D51-878D-4397-B847-4C1DFA32B6CA}"/>
                  </a:ext>
                </a:extLst>
              </p:cNvPr>
              <p:cNvSpPr/>
              <p:nvPr/>
            </p:nvSpPr>
            <p:spPr bwMode="auto">
              <a:xfrm>
                <a:off x="8267738" y="3955112"/>
                <a:ext cx="639233" cy="1756833"/>
              </a:xfrm>
              <a:custGeom>
                <a:avLst/>
                <a:gdLst/>
                <a:ahLst/>
                <a:cxnLst>
                  <a:cxn ang="0">
                    <a:pos x="302" y="301"/>
                  </a:cxn>
                  <a:cxn ang="0">
                    <a:pos x="302" y="830"/>
                  </a:cxn>
                  <a:cxn ang="0">
                    <a:pos x="12" y="478"/>
                  </a:cxn>
                  <a:cxn ang="0">
                    <a:pos x="0" y="0"/>
                  </a:cxn>
                  <a:cxn ang="0">
                    <a:pos x="302" y="301"/>
                  </a:cxn>
                </a:cxnLst>
                <a:rect l="0" t="0" r="r" b="b"/>
                <a:pathLst>
                  <a:path w="302" h="830">
                    <a:moveTo>
                      <a:pt x="302" y="301"/>
                    </a:moveTo>
                    <a:lnTo>
                      <a:pt x="302" y="830"/>
                    </a:lnTo>
                    <a:lnTo>
                      <a:pt x="12" y="478"/>
                    </a:lnTo>
                    <a:lnTo>
                      <a:pt x="0" y="0"/>
                    </a:lnTo>
                    <a:lnTo>
                      <a:pt x="302" y="30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9" name="ïŝ1ïḑé">
                <a:extLst>
                  <a:ext uri="{FF2B5EF4-FFF2-40B4-BE49-F238E27FC236}">
                    <a16:creationId xmlns:a16="http://schemas.microsoft.com/office/drawing/2014/main" id="{AD3BD595-0134-4E3A-8336-64C9E3D1E457}"/>
                  </a:ext>
                </a:extLst>
              </p:cNvPr>
              <p:cNvSpPr/>
              <p:nvPr/>
            </p:nvSpPr>
            <p:spPr bwMode="auto">
              <a:xfrm>
                <a:off x="8906971" y="4245094"/>
                <a:ext cx="1778000" cy="1466851"/>
              </a:xfrm>
              <a:custGeom>
                <a:avLst/>
                <a:gdLst/>
                <a:ahLst/>
                <a:cxnLst>
                  <a:cxn ang="0">
                    <a:pos x="264" y="108"/>
                  </a:cxn>
                  <a:cxn ang="0">
                    <a:pos x="188" y="122"/>
                  </a:cxn>
                  <a:cxn ang="0">
                    <a:pos x="180" y="128"/>
                  </a:cxn>
                  <a:cxn ang="0">
                    <a:pos x="179" y="137"/>
                  </a:cxn>
                  <a:cxn ang="0">
                    <a:pos x="184" y="145"/>
                  </a:cxn>
                  <a:cxn ang="0">
                    <a:pos x="193" y="147"/>
                  </a:cxn>
                  <a:cxn ang="0">
                    <a:pos x="269" y="132"/>
                  </a:cxn>
                  <a:cxn ang="0">
                    <a:pos x="277" y="127"/>
                  </a:cxn>
                  <a:cxn ang="0">
                    <a:pos x="279" y="118"/>
                  </a:cxn>
                  <a:cxn ang="0">
                    <a:pos x="273" y="109"/>
                  </a:cxn>
                  <a:cxn ang="0">
                    <a:pos x="264" y="108"/>
                  </a:cxn>
                  <a:cxn ang="0">
                    <a:pos x="0" y="86"/>
                  </a:cxn>
                  <a:cxn ang="0">
                    <a:pos x="443" y="0"/>
                  </a:cxn>
                  <a:cxn ang="0">
                    <a:pos x="428" y="257"/>
                  </a:cxn>
                  <a:cxn ang="0">
                    <a:pos x="0" y="364"/>
                  </a:cxn>
                  <a:cxn ang="0">
                    <a:pos x="0" y="86"/>
                  </a:cxn>
                </a:cxnLst>
                <a:rect l="0" t="0" r="r" b="b"/>
                <a:pathLst>
                  <a:path w="443" h="364">
                    <a:moveTo>
                      <a:pt x="264" y="108"/>
                    </a:moveTo>
                    <a:cubicBezTo>
                      <a:pt x="188" y="122"/>
                      <a:pt x="188" y="122"/>
                      <a:pt x="188" y="122"/>
                    </a:cubicBezTo>
                    <a:cubicBezTo>
                      <a:pt x="185" y="123"/>
                      <a:pt x="182" y="125"/>
                      <a:pt x="180" y="128"/>
                    </a:cubicBezTo>
                    <a:cubicBezTo>
                      <a:pt x="178" y="130"/>
                      <a:pt x="178" y="134"/>
                      <a:pt x="179" y="137"/>
                    </a:cubicBezTo>
                    <a:cubicBezTo>
                      <a:pt x="179" y="140"/>
                      <a:pt x="181" y="143"/>
                      <a:pt x="184" y="145"/>
                    </a:cubicBezTo>
                    <a:cubicBezTo>
                      <a:pt x="187" y="147"/>
                      <a:pt x="190" y="147"/>
                      <a:pt x="193" y="147"/>
                    </a:cubicBezTo>
                    <a:cubicBezTo>
                      <a:pt x="269" y="132"/>
                      <a:pt x="269" y="132"/>
                      <a:pt x="269" y="132"/>
                    </a:cubicBezTo>
                    <a:cubicBezTo>
                      <a:pt x="272" y="131"/>
                      <a:pt x="275" y="130"/>
                      <a:pt x="277" y="127"/>
                    </a:cubicBezTo>
                    <a:cubicBezTo>
                      <a:pt x="279" y="124"/>
                      <a:pt x="279" y="121"/>
                      <a:pt x="279" y="118"/>
                    </a:cubicBezTo>
                    <a:cubicBezTo>
                      <a:pt x="278" y="114"/>
                      <a:pt x="276" y="111"/>
                      <a:pt x="273" y="109"/>
                    </a:cubicBezTo>
                    <a:cubicBezTo>
                      <a:pt x="271" y="108"/>
                      <a:pt x="267" y="107"/>
                      <a:pt x="264" y="108"/>
                    </a:cubicBezTo>
                    <a:close/>
                    <a:moveTo>
                      <a:pt x="0" y="86"/>
                    </a:moveTo>
                    <a:cubicBezTo>
                      <a:pt x="443" y="0"/>
                      <a:pt x="443" y="0"/>
                      <a:pt x="443" y="0"/>
                    </a:cubicBezTo>
                    <a:cubicBezTo>
                      <a:pt x="428" y="257"/>
                      <a:pt x="428" y="257"/>
                      <a:pt x="428" y="257"/>
                    </a:cubicBezTo>
                    <a:cubicBezTo>
                      <a:pt x="0" y="364"/>
                      <a:pt x="0" y="364"/>
                      <a:pt x="0" y="364"/>
                    </a:cubicBezTo>
                    <a:lnTo>
                      <a:pt x="0" y="8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0" name="îŝḻiḓê">
                <a:extLst>
                  <a:ext uri="{FF2B5EF4-FFF2-40B4-BE49-F238E27FC236}">
                    <a16:creationId xmlns:a16="http://schemas.microsoft.com/office/drawing/2014/main" id="{44EFD48E-2B20-4989-8BCF-BA15931FF45D}"/>
                  </a:ext>
                </a:extLst>
              </p:cNvPr>
              <p:cNvSpPr/>
              <p:nvPr/>
            </p:nvSpPr>
            <p:spPr>
              <a:xfrm>
                <a:off x="6775610" y="1394140"/>
                <a:ext cx="3837394" cy="2963318"/>
              </a:xfrm>
              <a:custGeom>
                <a:avLst/>
                <a:gdLst>
                  <a:gd name="connsiteX0" fmla="*/ 4462721 w 5338201"/>
                  <a:gd name="connsiteY0" fmla="*/ 3850125 h 4122274"/>
                  <a:gd name="connsiteX1" fmla="*/ 4477511 w 5338201"/>
                  <a:gd name="connsiteY1" fmla="*/ 3863536 h 4122274"/>
                  <a:gd name="connsiteX2" fmla="*/ 4477548 w 5338201"/>
                  <a:gd name="connsiteY2" fmla="*/ 3863536 h 4122274"/>
                  <a:gd name="connsiteX3" fmla="*/ 4499860 w 5338201"/>
                  <a:gd name="connsiteY3" fmla="*/ 3896262 h 4122274"/>
                  <a:gd name="connsiteX4" fmla="*/ 4546448 w 5338201"/>
                  <a:gd name="connsiteY4" fmla="*/ 3920013 h 4122274"/>
                  <a:gd name="connsiteX5" fmla="*/ 4559845 w 5338201"/>
                  <a:gd name="connsiteY5" fmla="*/ 3931167 h 4122274"/>
                  <a:gd name="connsiteX6" fmla="*/ 4561020 w 5338201"/>
                  <a:gd name="connsiteY6" fmla="*/ 3932340 h 4122274"/>
                  <a:gd name="connsiteX7" fmla="*/ 4562534 w 5338201"/>
                  <a:gd name="connsiteY7" fmla="*/ 3934010 h 4122274"/>
                  <a:gd name="connsiteX8" fmla="*/ 4565114 w 5338201"/>
                  <a:gd name="connsiteY8" fmla="*/ 3936841 h 4122274"/>
                  <a:gd name="connsiteX9" fmla="*/ 4597675 w 5338201"/>
                  <a:gd name="connsiteY9" fmla="*/ 3937376 h 4122274"/>
                  <a:gd name="connsiteX10" fmla="*/ 4621743 w 5338201"/>
                  <a:gd name="connsiteY10" fmla="*/ 3951527 h 4122274"/>
                  <a:gd name="connsiteX11" fmla="*/ 4644516 w 5338201"/>
                  <a:gd name="connsiteY11" fmla="*/ 4038854 h 4122274"/>
                  <a:gd name="connsiteX12" fmla="*/ 4630017 w 5338201"/>
                  <a:gd name="connsiteY12" fmla="*/ 4061572 h 4122274"/>
                  <a:gd name="connsiteX13" fmla="*/ 4610926 w 5338201"/>
                  <a:gd name="connsiteY13" fmla="*/ 4066557 h 4122274"/>
                  <a:gd name="connsiteX14" fmla="*/ 4584750 w 5338201"/>
                  <a:gd name="connsiteY14" fmla="*/ 4083576 h 4122274"/>
                  <a:gd name="connsiteX15" fmla="*/ 4507370 w 5338201"/>
                  <a:gd name="connsiteY15" fmla="*/ 4113931 h 4122274"/>
                  <a:gd name="connsiteX16" fmla="*/ 4478287 w 5338201"/>
                  <a:gd name="connsiteY16" fmla="*/ 4121554 h 4122274"/>
                  <a:gd name="connsiteX17" fmla="*/ 4460480 w 5338201"/>
                  <a:gd name="connsiteY17" fmla="*/ 4118928 h 4122274"/>
                  <a:gd name="connsiteX18" fmla="*/ 4454835 w 5338201"/>
                  <a:gd name="connsiteY18" fmla="*/ 4112439 h 4122274"/>
                  <a:gd name="connsiteX19" fmla="*/ 4453697 w 5338201"/>
                  <a:gd name="connsiteY19" fmla="*/ 4108921 h 4122274"/>
                  <a:gd name="connsiteX20" fmla="*/ 4459620 w 5338201"/>
                  <a:gd name="connsiteY20" fmla="*/ 4089313 h 4122274"/>
                  <a:gd name="connsiteX21" fmla="*/ 4459341 w 5338201"/>
                  <a:gd name="connsiteY21" fmla="*/ 4089262 h 4122274"/>
                  <a:gd name="connsiteX22" fmla="*/ 4447034 w 5338201"/>
                  <a:gd name="connsiteY22" fmla="*/ 4093049 h 4122274"/>
                  <a:gd name="connsiteX23" fmla="*/ 4419610 w 5338201"/>
                  <a:gd name="connsiteY23" fmla="*/ 4077776 h 4122274"/>
                  <a:gd name="connsiteX24" fmla="*/ 4434594 w 5338201"/>
                  <a:gd name="connsiteY24" fmla="*/ 4052852 h 4122274"/>
                  <a:gd name="connsiteX25" fmla="*/ 4428077 w 5338201"/>
                  <a:gd name="connsiteY25" fmla="*/ 4054879 h 4122274"/>
                  <a:gd name="connsiteX26" fmla="*/ 4402094 w 5338201"/>
                  <a:gd name="connsiteY26" fmla="*/ 4040882 h 4122274"/>
                  <a:gd name="connsiteX27" fmla="*/ 4415685 w 5338201"/>
                  <a:gd name="connsiteY27" fmla="*/ 4014645 h 4122274"/>
                  <a:gd name="connsiteX28" fmla="*/ 4389739 w 5338201"/>
                  <a:gd name="connsiteY28" fmla="*/ 4000660 h 4122274"/>
                  <a:gd name="connsiteX29" fmla="*/ 4402385 w 5338201"/>
                  <a:gd name="connsiteY29" fmla="*/ 3974054 h 4122274"/>
                  <a:gd name="connsiteX30" fmla="*/ 4473344 w 5338201"/>
                  <a:gd name="connsiteY30" fmla="*/ 3945739 h 4122274"/>
                  <a:gd name="connsiteX31" fmla="*/ 4441523 w 5338201"/>
                  <a:gd name="connsiteY31" fmla="*/ 3886254 h 4122274"/>
                  <a:gd name="connsiteX32" fmla="*/ 4462721 w 5338201"/>
                  <a:gd name="connsiteY32" fmla="*/ 3850125 h 4122274"/>
                  <a:gd name="connsiteX33" fmla="*/ 4788298 w 5338201"/>
                  <a:gd name="connsiteY33" fmla="*/ 3680904 h 4122274"/>
                  <a:gd name="connsiteX34" fmla="*/ 4853955 w 5338201"/>
                  <a:gd name="connsiteY34" fmla="*/ 3698229 h 4122274"/>
                  <a:gd name="connsiteX35" fmla="*/ 4859511 w 5338201"/>
                  <a:gd name="connsiteY35" fmla="*/ 3701586 h 4122274"/>
                  <a:gd name="connsiteX36" fmla="*/ 4905586 w 5338201"/>
                  <a:gd name="connsiteY36" fmla="*/ 3751455 h 4122274"/>
                  <a:gd name="connsiteX37" fmla="*/ 4917843 w 5338201"/>
                  <a:gd name="connsiteY37" fmla="*/ 3816303 h 4122274"/>
                  <a:gd name="connsiteX38" fmla="*/ 4900058 w 5338201"/>
                  <a:gd name="connsiteY38" fmla="*/ 3840555 h 4122274"/>
                  <a:gd name="connsiteX39" fmla="*/ 4890246 w 5338201"/>
                  <a:gd name="connsiteY39" fmla="*/ 3861734 h 4122274"/>
                  <a:gd name="connsiteX40" fmla="*/ 4883531 w 5338201"/>
                  <a:gd name="connsiteY40" fmla="*/ 3872900 h 4122274"/>
                  <a:gd name="connsiteX41" fmla="*/ 4886090 w 5338201"/>
                  <a:gd name="connsiteY41" fmla="*/ 3901775 h 4122274"/>
                  <a:gd name="connsiteX42" fmla="*/ 4886457 w 5338201"/>
                  <a:gd name="connsiteY42" fmla="*/ 3940251 h 4122274"/>
                  <a:gd name="connsiteX43" fmla="*/ 4877777 w 5338201"/>
                  <a:gd name="connsiteY43" fmla="*/ 3954688 h 4122274"/>
                  <a:gd name="connsiteX44" fmla="*/ 4843606 w 5338201"/>
                  <a:gd name="connsiteY44" fmla="*/ 3972383 h 4122274"/>
                  <a:gd name="connsiteX45" fmla="*/ 4794137 w 5338201"/>
                  <a:gd name="connsiteY45" fmla="*/ 3977817 h 4122274"/>
                  <a:gd name="connsiteX46" fmla="*/ 4780113 w 5338201"/>
                  <a:gd name="connsiteY46" fmla="*/ 3921461 h 4122274"/>
                  <a:gd name="connsiteX47" fmla="*/ 4811343 w 5338201"/>
                  <a:gd name="connsiteY47" fmla="*/ 3869557 h 4122274"/>
                  <a:gd name="connsiteX48" fmla="*/ 4857828 w 5338201"/>
                  <a:gd name="connsiteY48" fmla="*/ 3851237 h 4122274"/>
                  <a:gd name="connsiteX49" fmla="*/ 4861801 w 5338201"/>
                  <a:gd name="connsiteY49" fmla="*/ 3844623 h 4122274"/>
                  <a:gd name="connsiteX50" fmla="*/ 4867400 w 5338201"/>
                  <a:gd name="connsiteY50" fmla="*/ 3833243 h 4122274"/>
                  <a:gd name="connsiteX51" fmla="*/ 4859991 w 5338201"/>
                  <a:gd name="connsiteY51" fmla="*/ 3811196 h 4122274"/>
                  <a:gd name="connsiteX52" fmla="*/ 4829567 w 5338201"/>
                  <a:gd name="connsiteY52" fmla="*/ 3751370 h 4122274"/>
                  <a:gd name="connsiteX53" fmla="*/ 4824011 w 5338201"/>
                  <a:gd name="connsiteY53" fmla="*/ 3748013 h 4122274"/>
                  <a:gd name="connsiteX54" fmla="*/ 4756912 w 5338201"/>
                  <a:gd name="connsiteY54" fmla="*/ 3749179 h 4122274"/>
                  <a:gd name="connsiteX55" fmla="*/ 4733953 w 5338201"/>
                  <a:gd name="connsiteY55" fmla="*/ 3752963 h 4122274"/>
                  <a:gd name="connsiteX56" fmla="*/ 4726530 w 5338201"/>
                  <a:gd name="connsiteY56" fmla="*/ 3763261 h 4122274"/>
                  <a:gd name="connsiteX57" fmla="*/ 4722543 w 5338201"/>
                  <a:gd name="connsiteY57" fmla="*/ 3769875 h 4122274"/>
                  <a:gd name="connsiteX58" fmla="*/ 4728156 w 5338201"/>
                  <a:gd name="connsiteY58" fmla="*/ 3819531 h 4122274"/>
                  <a:gd name="connsiteX59" fmla="*/ 4696940 w 5338201"/>
                  <a:gd name="connsiteY59" fmla="*/ 3871435 h 4122274"/>
                  <a:gd name="connsiteX60" fmla="*/ 4640572 w 5338201"/>
                  <a:gd name="connsiteY60" fmla="*/ 3885446 h 4122274"/>
                  <a:gd name="connsiteX61" fmla="*/ 4622179 w 5338201"/>
                  <a:gd name="connsiteY61" fmla="*/ 3839203 h 4122274"/>
                  <a:gd name="connsiteX62" fmla="*/ 4621811 w 5338201"/>
                  <a:gd name="connsiteY62" fmla="*/ 3800727 h 4122274"/>
                  <a:gd name="connsiteX63" fmla="*/ 4630492 w 5338201"/>
                  <a:gd name="connsiteY63" fmla="*/ 3786290 h 4122274"/>
                  <a:gd name="connsiteX64" fmla="*/ 4664663 w 5338201"/>
                  <a:gd name="connsiteY64" fmla="*/ 3768581 h 4122274"/>
                  <a:gd name="connsiteX65" fmla="*/ 4691384 w 5338201"/>
                  <a:gd name="connsiteY65" fmla="*/ 3757316 h 4122274"/>
                  <a:gd name="connsiteX66" fmla="*/ 4698085 w 5338201"/>
                  <a:gd name="connsiteY66" fmla="*/ 3746150 h 4122274"/>
                  <a:gd name="connsiteX67" fmla="*/ 4712180 w 5338201"/>
                  <a:gd name="connsiteY67" fmla="*/ 3727559 h 4122274"/>
                  <a:gd name="connsiteX68" fmla="*/ 4725272 w 5338201"/>
                  <a:gd name="connsiteY68" fmla="*/ 3700476 h 4122274"/>
                  <a:gd name="connsiteX69" fmla="*/ 4788298 w 5338201"/>
                  <a:gd name="connsiteY69" fmla="*/ 3680904 h 4122274"/>
                  <a:gd name="connsiteX70" fmla="*/ 5049920 w 5338201"/>
                  <a:gd name="connsiteY70" fmla="*/ 3484551 h 4122274"/>
                  <a:gd name="connsiteX71" fmla="*/ 5070996 w 5338201"/>
                  <a:gd name="connsiteY71" fmla="*/ 3504963 h 4122274"/>
                  <a:gd name="connsiteX72" fmla="*/ 5050594 w 5338201"/>
                  <a:gd name="connsiteY72" fmla="*/ 3526046 h 4122274"/>
                  <a:gd name="connsiteX73" fmla="*/ 5029501 w 5338201"/>
                  <a:gd name="connsiteY73" fmla="*/ 3505634 h 4122274"/>
                  <a:gd name="connsiteX74" fmla="*/ 5049920 w 5338201"/>
                  <a:gd name="connsiteY74" fmla="*/ 3484551 h 4122274"/>
                  <a:gd name="connsiteX75" fmla="*/ 5048065 w 5338201"/>
                  <a:gd name="connsiteY75" fmla="*/ 3463105 h 4122274"/>
                  <a:gd name="connsiteX76" fmla="*/ 5010389 w 5338201"/>
                  <a:gd name="connsiteY76" fmla="*/ 3502042 h 4122274"/>
                  <a:gd name="connsiteX77" fmla="*/ 5049320 w 5338201"/>
                  <a:gd name="connsiteY77" fmla="*/ 3539714 h 4122274"/>
                  <a:gd name="connsiteX78" fmla="*/ 5086991 w 5338201"/>
                  <a:gd name="connsiteY78" fmla="*/ 3500783 h 4122274"/>
                  <a:gd name="connsiteX79" fmla="*/ 5048065 w 5338201"/>
                  <a:gd name="connsiteY79" fmla="*/ 3463105 h 4122274"/>
                  <a:gd name="connsiteX80" fmla="*/ 5047793 w 5338201"/>
                  <a:gd name="connsiteY80" fmla="*/ 3446381 h 4122274"/>
                  <a:gd name="connsiteX81" fmla="*/ 5103706 w 5338201"/>
                  <a:gd name="connsiteY81" fmla="*/ 3500526 h 4122274"/>
                  <a:gd name="connsiteX82" fmla="*/ 5049592 w 5338201"/>
                  <a:gd name="connsiteY82" fmla="*/ 3556438 h 4122274"/>
                  <a:gd name="connsiteX83" fmla="*/ 4993669 w 5338201"/>
                  <a:gd name="connsiteY83" fmla="*/ 3502314 h 4122274"/>
                  <a:gd name="connsiteX84" fmla="*/ 5047793 w 5338201"/>
                  <a:gd name="connsiteY84" fmla="*/ 3446381 h 4122274"/>
                  <a:gd name="connsiteX85" fmla="*/ 4616332 w 5338201"/>
                  <a:gd name="connsiteY85" fmla="*/ 3437669 h 4122274"/>
                  <a:gd name="connsiteX86" fmla="*/ 4624130 w 5338201"/>
                  <a:gd name="connsiteY86" fmla="*/ 3445094 h 4122274"/>
                  <a:gd name="connsiteX87" fmla="*/ 4624685 w 5338201"/>
                  <a:gd name="connsiteY87" fmla="*/ 3473557 h 4122274"/>
                  <a:gd name="connsiteX88" fmla="*/ 4596026 w 5338201"/>
                  <a:gd name="connsiteY88" fmla="*/ 3474301 h 4122274"/>
                  <a:gd name="connsiteX89" fmla="*/ 4588406 w 5338201"/>
                  <a:gd name="connsiteY89" fmla="*/ 3466857 h 4122274"/>
                  <a:gd name="connsiteX90" fmla="*/ 5047937 w 5338201"/>
                  <a:gd name="connsiteY90" fmla="*/ 3433097 h 4122274"/>
                  <a:gd name="connsiteX91" fmla="*/ 4976538 w 5338201"/>
                  <a:gd name="connsiteY91" fmla="*/ 3506862 h 4122274"/>
                  <a:gd name="connsiteX92" fmla="*/ 5050306 w 5338201"/>
                  <a:gd name="connsiteY92" fmla="*/ 3578251 h 4122274"/>
                  <a:gd name="connsiteX93" fmla="*/ 5121695 w 5338201"/>
                  <a:gd name="connsiteY93" fmla="*/ 3504486 h 4122274"/>
                  <a:gd name="connsiteX94" fmla="*/ 5047937 w 5338201"/>
                  <a:gd name="connsiteY94" fmla="*/ 3433097 h 4122274"/>
                  <a:gd name="connsiteX95" fmla="*/ 4619064 w 5338201"/>
                  <a:gd name="connsiteY95" fmla="*/ 3366775 h 4122274"/>
                  <a:gd name="connsiteX96" fmla="*/ 4633551 w 5338201"/>
                  <a:gd name="connsiteY96" fmla="*/ 3372397 h 4122274"/>
                  <a:gd name="connsiteX97" fmla="*/ 4641171 w 5338201"/>
                  <a:gd name="connsiteY97" fmla="*/ 3379645 h 4122274"/>
                  <a:gd name="connsiteX98" fmla="*/ 4613245 w 5338201"/>
                  <a:gd name="connsiteY98" fmla="*/ 3409010 h 4122274"/>
                  <a:gd name="connsiteX99" fmla="*/ 4605447 w 5338201"/>
                  <a:gd name="connsiteY99" fmla="*/ 3401585 h 4122274"/>
                  <a:gd name="connsiteX100" fmla="*/ 4604912 w 5338201"/>
                  <a:gd name="connsiteY100" fmla="*/ 3372926 h 4122274"/>
                  <a:gd name="connsiteX101" fmla="*/ 4619064 w 5338201"/>
                  <a:gd name="connsiteY101" fmla="*/ 3366775 h 4122274"/>
                  <a:gd name="connsiteX102" fmla="*/ 4620508 w 5338201"/>
                  <a:gd name="connsiteY102" fmla="*/ 3352083 h 4122274"/>
                  <a:gd name="connsiteX103" fmla="*/ 4593849 w 5338201"/>
                  <a:gd name="connsiteY103" fmla="*/ 3363876 h 4122274"/>
                  <a:gd name="connsiteX104" fmla="*/ 4594937 w 5338201"/>
                  <a:gd name="connsiteY104" fmla="*/ 3417903 h 4122274"/>
                  <a:gd name="connsiteX105" fmla="*/ 4602735 w 5338201"/>
                  <a:gd name="connsiteY105" fmla="*/ 3425151 h 4122274"/>
                  <a:gd name="connsiteX106" fmla="*/ 4574809 w 5338201"/>
                  <a:gd name="connsiteY106" fmla="*/ 3454536 h 4122274"/>
                  <a:gd name="connsiteX107" fmla="*/ 4545992 w 5338201"/>
                  <a:gd name="connsiteY107" fmla="*/ 3426973 h 4122274"/>
                  <a:gd name="connsiteX108" fmla="*/ 4533285 w 5338201"/>
                  <a:gd name="connsiteY108" fmla="*/ 3427150 h 4122274"/>
                  <a:gd name="connsiteX109" fmla="*/ 4533463 w 5338201"/>
                  <a:gd name="connsiteY109" fmla="*/ 3439844 h 4122274"/>
                  <a:gd name="connsiteX110" fmla="*/ 4562300 w 5338201"/>
                  <a:gd name="connsiteY110" fmla="*/ 3467406 h 4122274"/>
                  <a:gd name="connsiteX111" fmla="*/ 4556857 w 5338201"/>
                  <a:gd name="connsiteY111" fmla="*/ 3473204 h 4122274"/>
                  <a:gd name="connsiteX112" fmla="*/ 4557036 w 5338201"/>
                  <a:gd name="connsiteY112" fmla="*/ 3486075 h 4122274"/>
                  <a:gd name="connsiteX113" fmla="*/ 4569742 w 5338201"/>
                  <a:gd name="connsiteY113" fmla="*/ 3485722 h 4122274"/>
                  <a:gd name="connsiteX114" fmla="*/ 4575363 w 5338201"/>
                  <a:gd name="connsiteY114" fmla="*/ 3479904 h 4122274"/>
                  <a:gd name="connsiteX115" fmla="*/ 4582963 w 5338201"/>
                  <a:gd name="connsiteY115" fmla="*/ 3487348 h 4122274"/>
                  <a:gd name="connsiteX116" fmla="*/ 4636995 w 5338201"/>
                  <a:gd name="connsiteY116" fmla="*/ 3486075 h 4122274"/>
                  <a:gd name="connsiteX117" fmla="*/ 4635907 w 5338201"/>
                  <a:gd name="connsiteY117" fmla="*/ 3432047 h 4122274"/>
                  <a:gd name="connsiteX118" fmla="*/ 4628128 w 5338201"/>
                  <a:gd name="connsiteY118" fmla="*/ 3424603 h 4122274"/>
                  <a:gd name="connsiteX119" fmla="*/ 4656233 w 5338201"/>
                  <a:gd name="connsiteY119" fmla="*/ 3395415 h 4122274"/>
                  <a:gd name="connsiteX120" fmla="*/ 4685050 w 5338201"/>
                  <a:gd name="connsiteY120" fmla="*/ 3422977 h 4122274"/>
                  <a:gd name="connsiteX121" fmla="*/ 4697737 w 5338201"/>
                  <a:gd name="connsiteY121" fmla="*/ 3422801 h 4122274"/>
                  <a:gd name="connsiteX122" fmla="*/ 4697381 w 5338201"/>
                  <a:gd name="connsiteY122" fmla="*/ 3410107 h 4122274"/>
                  <a:gd name="connsiteX123" fmla="*/ 4668563 w 5338201"/>
                  <a:gd name="connsiteY123" fmla="*/ 3382368 h 4122274"/>
                  <a:gd name="connsiteX124" fmla="*/ 4676342 w 5338201"/>
                  <a:gd name="connsiteY124" fmla="*/ 3374375 h 4122274"/>
                  <a:gd name="connsiteX125" fmla="*/ 4675985 w 5338201"/>
                  <a:gd name="connsiteY125" fmla="*/ 3361701 h 4122274"/>
                  <a:gd name="connsiteX126" fmla="*/ 4663299 w 5338201"/>
                  <a:gd name="connsiteY126" fmla="*/ 3361877 h 4122274"/>
                  <a:gd name="connsiteX127" fmla="*/ 4655501 w 5338201"/>
                  <a:gd name="connsiteY127" fmla="*/ 3370027 h 4122274"/>
                  <a:gd name="connsiteX128" fmla="*/ 4647881 w 5338201"/>
                  <a:gd name="connsiteY128" fmla="*/ 3362602 h 4122274"/>
                  <a:gd name="connsiteX129" fmla="*/ 4620508 w 5338201"/>
                  <a:gd name="connsiteY129" fmla="*/ 3352083 h 4122274"/>
                  <a:gd name="connsiteX130" fmla="*/ 4988114 w 5338201"/>
                  <a:gd name="connsiteY130" fmla="*/ 3331861 h 4122274"/>
                  <a:gd name="connsiteX131" fmla="*/ 4989201 w 5338201"/>
                  <a:gd name="connsiteY131" fmla="*/ 3398449 h 4122274"/>
                  <a:gd name="connsiteX132" fmla="*/ 4979948 w 5338201"/>
                  <a:gd name="connsiteY132" fmla="*/ 3398588 h 4122274"/>
                  <a:gd name="connsiteX133" fmla="*/ 4978861 w 5338201"/>
                  <a:gd name="connsiteY133" fmla="*/ 3332016 h 4122274"/>
                  <a:gd name="connsiteX134" fmla="*/ 4995156 w 5338201"/>
                  <a:gd name="connsiteY134" fmla="*/ 3315354 h 4122274"/>
                  <a:gd name="connsiteX135" fmla="*/ 4968344 w 5338201"/>
                  <a:gd name="connsiteY135" fmla="*/ 3315786 h 4122274"/>
                  <a:gd name="connsiteX136" fmla="*/ 4959701 w 5338201"/>
                  <a:gd name="connsiteY136" fmla="*/ 3324702 h 4122274"/>
                  <a:gd name="connsiteX137" fmla="*/ 4961078 w 5338201"/>
                  <a:gd name="connsiteY137" fmla="*/ 3408848 h 4122274"/>
                  <a:gd name="connsiteX138" fmla="*/ 4969987 w 5338201"/>
                  <a:gd name="connsiteY138" fmla="*/ 3417471 h 4122274"/>
                  <a:gd name="connsiteX139" fmla="*/ 4996810 w 5338201"/>
                  <a:gd name="connsiteY139" fmla="*/ 3417055 h 4122274"/>
                  <a:gd name="connsiteX140" fmla="*/ 5005452 w 5338201"/>
                  <a:gd name="connsiteY140" fmla="*/ 3408123 h 4122274"/>
                  <a:gd name="connsiteX141" fmla="*/ 5004065 w 5338201"/>
                  <a:gd name="connsiteY141" fmla="*/ 3323993 h 4122274"/>
                  <a:gd name="connsiteX142" fmla="*/ 4995156 w 5338201"/>
                  <a:gd name="connsiteY142" fmla="*/ 3315354 h 4122274"/>
                  <a:gd name="connsiteX143" fmla="*/ 5126101 w 5338201"/>
                  <a:gd name="connsiteY143" fmla="*/ 3288236 h 4122274"/>
                  <a:gd name="connsiteX144" fmla="*/ 5153756 w 5338201"/>
                  <a:gd name="connsiteY144" fmla="*/ 3315015 h 4122274"/>
                  <a:gd name="connsiteX145" fmla="*/ 5158248 w 5338201"/>
                  <a:gd name="connsiteY145" fmla="*/ 3590638 h 4122274"/>
                  <a:gd name="connsiteX146" fmla="*/ 5131479 w 5338201"/>
                  <a:gd name="connsiteY146" fmla="*/ 3618311 h 4122274"/>
                  <a:gd name="connsiteX147" fmla="*/ 4970477 w 5338201"/>
                  <a:gd name="connsiteY147" fmla="*/ 3620918 h 4122274"/>
                  <a:gd name="connsiteX148" fmla="*/ 4942822 w 5338201"/>
                  <a:gd name="connsiteY148" fmla="*/ 3594170 h 4122274"/>
                  <a:gd name="connsiteX149" fmla="*/ 4942673 w 5338201"/>
                  <a:gd name="connsiteY149" fmla="*/ 3584838 h 4122274"/>
                  <a:gd name="connsiteX150" fmla="*/ 4937733 w 5338201"/>
                  <a:gd name="connsiteY150" fmla="*/ 3584930 h 4122274"/>
                  <a:gd name="connsiteX151" fmla="*/ 4928803 w 5338201"/>
                  <a:gd name="connsiteY151" fmla="*/ 3576292 h 4122274"/>
                  <a:gd name="connsiteX152" fmla="*/ 4928088 w 5338201"/>
                  <a:gd name="connsiteY152" fmla="*/ 3532375 h 4122274"/>
                  <a:gd name="connsiteX153" fmla="*/ 4936741 w 5338201"/>
                  <a:gd name="connsiteY153" fmla="*/ 3523460 h 4122274"/>
                  <a:gd name="connsiteX154" fmla="*/ 4941670 w 5338201"/>
                  <a:gd name="connsiteY154" fmla="*/ 3523367 h 4122274"/>
                  <a:gd name="connsiteX155" fmla="*/ 4938331 w 5338201"/>
                  <a:gd name="connsiteY155" fmla="*/ 3318532 h 4122274"/>
                  <a:gd name="connsiteX156" fmla="*/ 4965100 w 5338201"/>
                  <a:gd name="connsiteY156" fmla="*/ 3290859 h 4122274"/>
                  <a:gd name="connsiteX157" fmla="*/ 4638460 w 5338201"/>
                  <a:gd name="connsiteY157" fmla="*/ 3232058 h 4122274"/>
                  <a:gd name="connsiteX158" fmla="*/ 4626308 w 5338201"/>
                  <a:gd name="connsiteY158" fmla="*/ 3237308 h 4122274"/>
                  <a:gd name="connsiteX159" fmla="*/ 4431218 w 5338201"/>
                  <a:gd name="connsiteY159" fmla="*/ 3441293 h 4122274"/>
                  <a:gd name="connsiteX160" fmla="*/ 4431752 w 5338201"/>
                  <a:gd name="connsiteY160" fmla="*/ 3465760 h 4122274"/>
                  <a:gd name="connsiteX161" fmla="*/ 4462212 w 5338201"/>
                  <a:gd name="connsiteY161" fmla="*/ 3494968 h 4122274"/>
                  <a:gd name="connsiteX162" fmla="*/ 4486695 w 5338201"/>
                  <a:gd name="connsiteY162" fmla="*/ 3494420 h 4122274"/>
                  <a:gd name="connsiteX163" fmla="*/ 4500292 w 5338201"/>
                  <a:gd name="connsiteY163" fmla="*/ 3480276 h 4122274"/>
                  <a:gd name="connsiteX164" fmla="*/ 4487783 w 5338201"/>
                  <a:gd name="connsiteY164" fmla="*/ 3468131 h 4122274"/>
                  <a:gd name="connsiteX165" fmla="*/ 4483429 w 5338201"/>
                  <a:gd name="connsiteY165" fmla="*/ 3472656 h 4122274"/>
                  <a:gd name="connsiteX166" fmla="*/ 4470743 w 5338201"/>
                  <a:gd name="connsiteY166" fmla="*/ 3473028 h 4122274"/>
                  <a:gd name="connsiteX167" fmla="*/ 4453326 w 5338201"/>
                  <a:gd name="connsiteY167" fmla="*/ 3456338 h 4122274"/>
                  <a:gd name="connsiteX168" fmla="*/ 4453147 w 5338201"/>
                  <a:gd name="connsiteY168" fmla="*/ 3443644 h 4122274"/>
                  <a:gd name="connsiteX169" fmla="*/ 4629573 w 5338201"/>
                  <a:gd name="connsiteY169" fmla="*/ 3259072 h 4122274"/>
                  <a:gd name="connsiteX170" fmla="*/ 4642260 w 5338201"/>
                  <a:gd name="connsiteY170" fmla="*/ 3258876 h 4122274"/>
                  <a:gd name="connsiteX171" fmla="*/ 4659677 w 5338201"/>
                  <a:gd name="connsiteY171" fmla="*/ 3275390 h 4122274"/>
                  <a:gd name="connsiteX172" fmla="*/ 4660033 w 5338201"/>
                  <a:gd name="connsiteY172" fmla="*/ 3288260 h 4122274"/>
                  <a:gd name="connsiteX173" fmla="*/ 4655144 w 5338201"/>
                  <a:gd name="connsiteY173" fmla="*/ 3293157 h 4122274"/>
                  <a:gd name="connsiteX174" fmla="*/ 4667831 w 5338201"/>
                  <a:gd name="connsiteY174" fmla="*/ 3305127 h 4122274"/>
                  <a:gd name="connsiteX175" fmla="*/ 4681784 w 5338201"/>
                  <a:gd name="connsiteY175" fmla="*/ 3290434 h 4122274"/>
                  <a:gd name="connsiteX176" fmla="*/ 4681250 w 5338201"/>
                  <a:gd name="connsiteY176" fmla="*/ 3265948 h 4122274"/>
                  <a:gd name="connsiteX177" fmla="*/ 4650790 w 5338201"/>
                  <a:gd name="connsiteY177" fmla="*/ 3236759 h 4122274"/>
                  <a:gd name="connsiteX178" fmla="*/ 4638460 w 5338201"/>
                  <a:gd name="connsiteY178" fmla="*/ 3232058 h 4122274"/>
                  <a:gd name="connsiteX179" fmla="*/ 4638084 w 5338201"/>
                  <a:gd name="connsiteY179" fmla="*/ 3214094 h 4122274"/>
                  <a:gd name="connsiteX180" fmla="*/ 4663299 w 5338201"/>
                  <a:gd name="connsiteY180" fmla="*/ 3223889 h 4122274"/>
                  <a:gd name="connsiteX181" fmla="*/ 4693759 w 5338201"/>
                  <a:gd name="connsiteY181" fmla="*/ 3252901 h 4122274"/>
                  <a:gd name="connsiteX182" fmla="*/ 4694847 w 5338201"/>
                  <a:gd name="connsiteY182" fmla="*/ 3302952 h 4122274"/>
                  <a:gd name="connsiteX183" fmla="*/ 4680696 w 5338201"/>
                  <a:gd name="connsiteY183" fmla="*/ 3317625 h 4122274"/>
                  <a:gd name="connsiteX184" fmla="*/ 4819952 w 5338201"/>
                  <a:gd name="connsiteY184" fmla="*/ 3450716 h 4122274"/>
                  <a:gd name="connsiteX185" fmla="*/ 4820863 w 5338201"/>
                  <a:gd name="connsiteY185" fmla="*/ 3492794 h 4122274"/>
                  <a:gd name="connsiteX186" fmla="*/ 4694491 w 5338201"/>
                  <a:gd name="connsiteY186" fmla="*/ 3624788 h 4122274"/>
                  <a:gd name="connsiteX187" fmla="*/ 4652413 w 5338201"/>
                  <a:gd name="connsiteY187" fmla="*/ 3625689 h 4122274"/>
                  <a:gd name="connsiteX188" fmla="*/ 4513355 w 5338201"/>
                  <a:gd name="connsiteY188" fmla="*/ 3492598 h 4122274"/>
                  <a:gd name="connsiteX189" fmla="*/ 4499738 w 5338201"/>
                  <a:gd name="connsiteY189" fmla="*/ 3506938 h 4122274"/>
                  <a:gd name="connsiteX190" fmla="*/ 4449704 w 5338201"/>
                  <a:gd name="connsiteY190" fmla="*/ 3508015 h 4122274"/>
                  <a:gd name="connsiteX191" fmla="*/ 4419244 w 5338201"/>
                  <a:gd name="connsiteY191" fmla="*/ 3478827 h 4122274"/>
                  <a:gd name="connsiteX192" fmla="*/ 4418155 w 5338201"/>
                  <a:gd name="connsiteY192" fmla="*/ 3428971 h 4122274"/>
                  <a:gd name="connsiteX193" fmla="*/ 4613443 w 5338201"/>
                  <a:gd name="connsiteY193" fmla="*/ 3224986 h 4122274"/>
                  <a:gd name="connsiteX194" fmla="*/ 4638084 w 5338201"/>
                  <a:gd name="connsiteY194" fmla="*/ 3214094 h 4122274"/>
                  <a:gd name="connsiteX195" fmla="*/ 2112331 w 5338201"/>
                  <a:gd name="connsiteY195" fmla="*/ 3193927 h 4122274"/>
                  <a:gd name="connsiteX196" fmla="*/ 2112331 w 5338201"/>
                  <a:gd name="connsiteY196" fmla="*/ 3257941 h 4122274"/>
                  <a:gd name="connsiteX197" fmla="*/ 2144239 w 5338201"/>
                  <a:gd name="connsiteY197" fmla="*/ 3226021 h 4122274"/>
                  <a:gd name="connsiteX198" fmla="*/ 2112331 w 5338201"/>
                  <a:gd name="connsiteY198" fmla="*/ 3193927 h 4122274"/>
                  <a:gd name="connsiteX199" fmla="*/ 3325916 w 5338201"/>
                  <a:gd name="connsiteY199" fmla="*/ 3161800 h 4122274"/>
                  <a:gd name="connsiteX200" fmla="*/ 3301649 w 5338201"/>
                  <a:gd name="connsiteY200" fmla="*/ 3186046 h 4122274"/>
                  <a:gd name="connsiteX201" fmla="*/ 3325916 w 5338201"/>
                  <a:gd name="connsiteY201" fmla="*/ 3210319 h 4122274"/>
                  <a:gd name="connsiteX202" fmla="*/ 3350183 w 5338201"/>
                  <a:gd name="connsiteY202" fmla="*/ 3186046 h 4122274"/>
                  <a:gd name="connsiteX203" fmla="*/ 3325916 w 5338201"/>
                  <a:gd name="connsiteY203" fmla="*/ 3161800 h 4122274"/>
                  <a:gd name="connsiteX204" fmla="*/ 2212051 w 5338201"/>
                  <a:gd name="connsiteY204" fmla="*/ 3113787 h 4122274"/>
                  <a:gd name="connsiteX205" fmla="*/ 2219486 w 5338201"/>
                  <a:gd name="connsiteY205" fmla="*/ 3152952 h 4122274"/>
                  <a:gd name="connsiteX206" fmla="*/ 2211880 w 5338201"/>
                  <a:gd name="connsiteY206" fmla="*/ 3192667 h 4122274"/>
                  <a:gd name="connsiteX207" fmla="*/ 2172352 w 5338201"/>
                  <a:gd name="connsiteY207" fmla="*/ 3153141 h 4122274"/>
                  <a:gd name="connsiteX208" fmla="*/ 2212051 w 5338201"/>
                  <a:gd name="connsiteY208" fmla="*/ 3113787 h 4122274"/>
                  <a:gd name="connsiteX209" fmla="*/ 3002173 w 5338201"/>
                  <a:gd name="connsiteY209" fmla="*/ 3086470 h 4122274"/>
                  <a:gd name="connsiteX210" fmla="*/ 3012517 w 5338201"/>
                  <a:gd name="connsiteY210" fmla="*/ 3091291 h 4122274"/>
                  <a:gd name="connsiteX211" fmla="*/ 3026073 w 5338201"/>
                  <a:gd name="connsiteY211" fmla="*/ 3123365 h 4122274"/>
                  <a:gd name="connsiteX212" fmla="*/ 3010256 w 5338201"/>
                  <a:gd name="connsiteY212" fmla="*/ 3163164 h 4122274"/>
                  <a:gd name="connsiteX213" fmla="*/ 2944005 w 5338201"/>
                  <a:gd name="connsiteY213" fmla="*/ 3221266 h 4122274"/>
                  <a:gd name="connsiteX214" fmla="*/ 2897463 w 5338201"/>
                  <a:gd name="connsiteY214" fmla="*/ 3230880 h 4122274"/>
                  <a:gd name="connsiteX215" fmla="*/ 2871287 w 5338201"/>
                  <a:gd name="connsiteY215" fmla="*/ 3212597 h 4122274"/>
                  <a:gd name="connsiteX216" fmla="*/ 2869012 w 5338201"/>
                  <a:gd name="connsiteY216" fmla="*/ 3194300 h 4122274"/>
                  <a:gd name="connsiteX217" fmla="*/ 2876437 w 5338201"/>
                  <a:gd name="connsiteY217" fmla="*/ 3189808 h 4122274"/>
                  <a:gd name="connsiteX218" fmla="*/ 2902942 w 5338201"/>
                  <a:gd name="connsiteY218" fmla="*/ 3177290 h 4122274"/>
                  <a:gd name="connsiteX219" fmla="*/ 2911670 w 5338201"/>
                  <a:gd name="connsiteY219" fmla="*/ 3179215 h 4122274"/>
                  <a:gd name="connsiteX220" fmla="*/ 2923968 w 5338201"/>
                  <a:gd name="connsiteY220" fmla="*/ 3194300 h 4122274"/>
                  <a:gd name="connsiteX221" fmla="*/ 2932366 w 5338201"/>
                  <a:gd name="connsiteY221" fmla="*/ 3195265 h 4122274"/>
                  <a:gd name="connsiteX222" fmla="*/ 2963560 w 5338201"/>
                  <a:gd name="connsiteY222" fmla="*/ 3176185 h 4122274"/>
                  <a:gd name="connsiteX223" fmla="*/ 2985134 w 5338201"/>
                  <a:gd name="connsiteY223" fmla="*/ 3149527 h 4122274"/>
                  <a:gd name="connsiteX224" fmla="*/ 2983430 w 5338201"/>
                  <a:gd name="connsiteY224" fmla="*/ 3141676 h 4122274"/>
                  <a:gd name="connsiteX225" fmla="*/ 2977599 w 5338201"/>
                  <a:gd name="connsiteY225" fmla="*/ 3134938 h 4122274"/>
                  <a:gd name="connsiteX226" fmla="*/ 2973729 w 5338201"/>
                  <a:gd name="connsiteY226" fmla="*/ 3128508 h 4122274"/>
                  <a:gd name="connsiteX227" fmla="*/ 2974066 w 5338201"/>
                  <a:gd name="connsiteY227" fmla="*/ 3121784 h 4122274"/>
                  <a:gd name="connsiteX228" fmla="*/ 2986019 w 5338201"/>
                  <a:gd name="connsiteY228" fmla="*/ 3093208 h 4122274"/>
                  <a:gd name="connsiteX229" fmla="*/ 2994747 w 5338201"/>
                  <a:gd name="connsiteY229" fmla="*/ 3086792 h 4122274"/>
                  <a:gd name="connsiteX230" fmla="*/ 3002173 w 5338201"/>
                  <a:gd name="connsiteY230" fmla="*/ 3086470 h 4122274"/>
                  <a:gd name="connsiteX231" fmla="*/ 4871008 w 5338201"/>
                  <a:gd name="connsiteY231" fmla="*/ 3081130 h 4122274"/>
                  <a:gd name="connsiteX232" fmla="*/ 4879348 w 5338201"/>
                  <a:gd name="connsiteY232" fmla="*/ 3083484 h 4122274"/>
                  <a:gd name="connsiteX233" fmla="*/ 4879714 w 5338201"/>
                  <a:gd name="connsiteY233" fmla="*/ 3083662 h 4122274"/>
                  <a:gd name="connsiteX234" fmla="*/ 4888970 w 5338201"/>
                  <a:gd name="connsiteY234" fmla="*/ 3112856 h 4122274"/>
                  <a:gd name="connsiteX235" fmla="*/ 4863033 w 5338201"/>
                  <a:gd name="connsiteY235" fmla="*/ 3162541 h 4122274"/>
                  <a:gd name="connsiteX236" fmla="*/ 4834031 w 5338201"/>
                  <a:gd name="connsiteY236" fmla="*/ 3171601 h 4122274"/>
                  <a:gd name="connsiteX237" fmla="*/ 4833483 w 5338201"/>
                  <a:gd name="connsiteY237" fmla="*/ 3171423 h 4122274"/>
                  <a:gd name="connsiteX238" fmla="*/ 4824410 w 5338201"/>
                  <a:gd name="connsiteY238" fmla="*/ 3142229 h 4122274"/>
                  <a:gd name="connsiteX239" fmla="*/ 4850164 w 5338201"/>
                  <a:gd name="connsiteY239" fmla="*/ 3092544 h 4122274"/>
                  <a:gd name="connsiteX240" fmla="*/ 4871008 w 5338201"/>
                  <a:gd name="connsiteY240" fmla="*/ 3081130 h 4122274"/>
                  <a:gd name="connsiteX241" fmla="*/ 1684397 w 5338201"/>
                  <a:gd name="connsiteY241" fmla="*/ 3081065 h 4122274"/>
                  <a:gd name="connsiteX242" fmla="*/ 1715681 w 5338201"/>
                  <a:gd name="connsiteY242" fmla="*/ 3095630 h 4122274"/>
                  <a:gd name="connsiteX243" fmla="*/ 1720765 w 5338201"/>
                  <a:gd name="connsiteY243" fmla="*/ 3101158 h 4122274"/>
                  <a:gd name="connsiteX244" fmla="*/ 1722774 w 5338201"/>
                  <a:gd name="connsiteY244" fmla="*/ 3103732 h 4122274"/>
                  <a:gd name="connsiteX245" fmla="*/ 1606153 w 5338201"/>
                  <a:gd name="connsiteY245" fmla="*/ 3210754 h 4122274"/>
                  <a:gd name="connsiteX246" fmla="*/ 1603757 w 5338201"/>
                  <a:gd name="connsiteY246" fmla="*/ 3208512 h 4122274"/>
                  <a:gd name="connsiteX247" fmla="*/ 1598674 w 5338201"/>
                  <a:gd name="connsiteY247" fmla="*/ 3202990 h 4122274"/>
                  <a:gd name="connsiteX248" fmla="*/ 1586986 w 5338201"/>
                  <a:gd name="connsiteY248" fmla="*/ 3168483 h 4122274"/>
                  <a:gd name="connsiteX249" fmla="*/ 1601418 w 5338201"/>
                  <a:gd name="connsiteY249" fmla="*/ 3139245 h 4122274"/>
                  <a:gd name="connsiteX250" fmla="*/ 1651939 w 5338201"/>
                  <a:gd name="connsiteY250" fmla="*/ 3092887 h 4122274"/>
                  <a:gd name="connsiteX251" fmla="*/ 1684397 w 5338201"/>
                  <a:gd name="connsiteY251" fmla="*/ 3081065 h 4122274"/>
                  <a:gd name="connsiteX252" fmla="*/ 4875552 w 5338201"/>
                  <a:gd name="connsiteY252" fmla="*/ 3067523 h 4122274"/>
                  <a:gd name="connsiteX253" fmla="*/ 4840924 w 5338201"/>
                  <a:gd name="connsiteY253" fmla="*/ 3086747 h 4122274"/>
                  <a:gd name="connsiteX254" fmla="*/ 4814987 w 5338201"/>
                  <a:gd name="connsiteY254" fmla="*/ 3136432 h 4122274"/>
                  <a:gd name="connsiteX255" fmla="*/ 4830220 w 5338201"/>
                  <a:gd name="connsiteY255" fmla="*/ 3184656 h 4122274"/>
                  <a:gd name="connsiteX256" fmla="*/ 4830768 w 5338201"/>
                  <a:gd name="connsiteY256" fmla="*/ 3185029 h 4122274"/>
                  <a:gd name="connsiteX257" fmla="*/ 4879181 w 5338201"/>
                  <a:gd name="connsiteY257" fmla="*/ 3169799 h 4122274"/>
                  <a:gd name="connsiteX258" fmla="*/ 4904919 w 5338201"/>
                  <a:gd name="connsiteY258" fmla="*/ 3120114 h 4122274"/>
                  <a:gd name="connsiteX259" fmla="*/ 4889687 w 5338201"/>
                  <a:gd name="connsiteY259" fmla="*/ 3071696 h 4122274"/>
                  <a:gd name="connsiteX260" fmla="*/ 4889153 w 5338201"/>
                  <a:gd name="connsiteY260" fmla="*/ 3071339 h 4122274"/>
                  <a:gd name="connsiteX261" fmla="*/ 4875552 w 5338201"/>
                  <a:gd name="connsiteY261" fmla="*/ 3067523 h 4122274"/>
                  <a:gd name="connsiteX262" fmla="*/ 2259201 w 5338201"/>
                  <a:gd name="connsiteY262" fmla="*/ 3064655 h 4122274"/>
                  <a:gd name="connsiteX263" fmla="*/ 2284402 w 5338201"/>
                  <a:gd name="connsiteY263" fmla="*/ 3152952 h 4122274"/>
                  <a:gd name="connsiteX264" fmla="*/ 2258287 w 5338201"/>
                  <a:gd name="connsiteY264" fmla="*/ 3243249 h 4122274"/>
                  <a:gd name="connsiteX265" fmla="*/ 2237810 w 5338201"/>
                  <a:gd name="connsiteY265" fmla="*/ 3222934 h 4122274"/>
                  <a:gd name="connsiteX266" fmla="*/ 2254491 w 5338201"/>
                  <a:gd name="connsiteY266" fmla="*/ 3154589 h 4122274"/>
                  <a:gd name="connsiteX267" fmla="*/ 2237810 w 5338201"/>
                  <a:gd name="connsiteY267" fmla="*/ 3086229 h 4122274"/>
                  <a:gd name="connsiteX268" fmla="*/ 2259201 w 5338201"/>
                  <a:gd name="connsiteY268" fmla="*/ 3064655 h 4122274"/>
                  <a:gd name="connsiteX269" fmla="*/ 4016954 w 5338201"/>
                  <a:gd name="connsiteY269" fmla="*/ 3048298 h 4122274"/>
                  <a:gd name="connsiteX270" fmla="*/ 4078527 w 5338201"/>
                  <a:gd name="connsiteY270" fmla="*/ 3068462 h 4122274"/>
                  <a:gd name="connsiteX271" fmla="*/ 4043624 w 5338201"/>
                  <a:gd name="connsiteY271" fmla="*/ 3174992 h 4122274"/>
                  <a:gd name="connsiteX272" fmla="*/ 4002760 w 5338201"/>
                  <a:gd name="connsiteY272" fmla="*/ 3195687 h 4122274"/>
                  <a:gd name="connsiteX273" fmla="*/ 3982070 w 5338201"/>
                  <a:gd name="connsiteY273" fmla="*/ 3154842 h 4122274"/>
                  <a:gd name="connsiteX274" fmla="*/ 4016954 w 5338201"/>
                  <a:gd name="connsiteY274" fmla="*/ 3048298 h 4122274"/>
                  <a:gd name="connsiteX275" fmla="*/ 2112331 w 5338201"/>
                  <a:gd name="connsiteY275" fmla="*/ 3047962 h 4122274"/>
                  <a:gd name="connsiteX276" fmla="*/ 2112331 w 5338201"/>
                  <a:gd name="connsiteY276" fmla="*/ 3111976 h 4122274"/>
                  <a:gd name="connsiteX277" fmla="*/ 2144239 w 5338201"/>
                  <a:gd name="connsiteY277" fmla="*/ 3080056 h 4122274"/>
                  <a:gd name="connsiteX278" fmla="*/ 2949265 w 5338201"/>
                  <a:gd name="connsiteY278" fmla="*/ 3024226 h 4122274"/>
                  <a:gd name="connsiteX279" fmla="*/ 2816270 w 5338201"/>
                  <a:gd name="connsiteY279" fmla="*/ 3156207 h 4122274"/>
                  <a:gd name="connsiteX280" fmla="*/ 2949265 w 5338201"/>
                  <a:gd name="connsiteY280" fmla="*/ 3288172 h 4122274"/>
                  <a:gd name="connsiteX281" fmla="*/ 3022432 w 5338201"/>
                  <a:gd name="connsiteY281" fmla="*/ 3266360 h 4122274"/>
                  <a:gd name="connsiteX282" fmla="*/ 3073548 w 5338201"/>
                  <a:gd name="connsiteY282" fmla="*/ 3282607 h 4122274"/>
                  <a:gd name="connsiteX283" fmla="*/ 3056942 w 5338201"/>
                  <a:gd name="connsiteY283" fmla="*/ 3233596 h 4122274"/>
                  <a:gd name="connsiteX284" fmla="*/ 3082261 w 5338201"/>
                  <a:gd name="connsiteY284" fmla="*/ 3156207 h 4122274"/>
                  <a:gd name="connsiteX285" fmla="*/ 2949265 w 5338201"/>
                  <a:gd name="connsiteY285" fmla="*/ 3024226 h 4122274"/>
                  <a:gd name="connsiteX286" fmla="*/ 4785253 w 5338201"/>
                  <a:gd name="connsiteY286" fmla="*/ 3019657 h 4122274"/>
                  <a:gd name="connsiteX287" fmla="*/ 4781091 w 5338201"/>
                  <a:gd name="connsiteY287" fmla="*/ 3023294 h 4122274"/>
                  <a:gd name="connsiteX288" fmla="*/ 4784171 w 5338201"/>
                  <a:gd name="connsiteY288" fmla="*/ 3032890 h 4122274"/>
                  <a:gd name="connsiteX289" fmla="*/ 4803383 w 5338201"/>
                  <a:gd name="connsiteY289" fmla="*/ 3042876 h 4122274"/>
                  <a:gd name="connsiteX290" fmla="*/ 4812090 w 5338201"/>
                  <a:gd name="connsiteY290" fmla="*/ 3070608 h 4122274"/>
                  <a:gd name="connsiteX291" fmla="*/ 4811907 w 5338201"/>
                  <a:gd name="connsiteY291" fmla="*/ 3070982 h 4122274"/>
                  <a:gd name="connsiteX292" fmla="*/ 4784354 w 5338201"/>
                  <a:gd name="connsiteY292" fmla="*/ 3079684 h 4122274"/>
                  <a:gd name="connsiteX293" fmla="*/ 4764943 w 5338201"/>
                  <a:gd name="connsiteY293" fmla="*/ 3069699 h 4122274"/>
                  <a:gd name="connsiteX294" fmla="*/ 4755337 w 5338201"/>
                  <a:gd name="connsiteY294" fmla="*/ 3072784 h 4122274"/>
                  <a:gd name="connsiteX295" fmla="*/ 4758417 w 5338201"/>
                  <a:gd name="connsiteY295" fmla="*/ 3082396 h 4122274"/>
                  <a:gd name="connsiteX296" fmla="*/ 4777645 w 5338201"/>
                  <a:gd name="connsiteY296" fmla="*/ 3092365 h 4122274"/>
                  <a:gd name="connsiteX297" fmla="*/ 4786336 w 5338201"/>
                  <a:gd name="connsiteY297" fmla="*/ 3119936 h 4122274"/>
                  <a:gd name="connsiteX298" fmla="*/ 4786153 w 5338201"/>
                  <a:gd name="connsiteY298" fmla="*/ 3120471 h 4122274"/>
                  <a:gd name="connsiteX299" fmla="*/ 4758600 w 5338201"/>
                  <a:gd name="connsiteY299" fmla="*/ 3129174 h 4122274"/>
                  <a:gd name="connsiteX300" fmla="*/ 4739204 w 5338201"/>
                  <a:gd name="connsiteY300" fmla="*/ 3119205 h 4122274"/>
                  <a:gd name="connsiteX301" fmla="*/ 4729583 w 5338201"/>
                  <a:gd name="connsiteY301" fmla="*/ 3122290 h 4122274"/>
                  <a:gd name="connsiteX302" fmla="*/ 4732678 w 5338201"/>
                  <a:gd name="connsiteY302" fmla="*/ 3131902 h 4122274"/>
                  <a:gd name="connsiteX303" fmla="*/ 4751891 w 5338201"/>
                  <a:gd name="connsiteY303" fmla="*/ 3141872 h 4122274"/>
                  <a:gd name="connsiteX304" fmla="*/ 4798854 w 5338201"/>
                  <a:gd name="connsiteY304" fmla="*/ 3127177 h 4122274"/>
                  <a:gd name="connsiteX305" fmla="*/ 4799037 w 5338201"/>
                  <a:gd name="connsiteY305" fmla="*/ 3126641 h 4122274"/>
                  <a:gd name="connsiteX306" fmla="*/ 4799754 w 5338201"/>
                  <a:gd name="connsiteY306" fmla="*/ 3095808 h 4122274"/>
                  <a:gd name="connsiteX307" fmla="*/ 4824593 w 5338201"/>
                  <a:gd name="connsiteY307" fmla="*/ 3077687 h 4122274"/>
                  <a:gd name="connsiteX308" fmla="*/ 4824776 w 5338201"/>
                  <a:gd name="connsiteY308" fmla="*/ 3077135 h 4122274"/>
                  <a:gd name="connsiteX309" fmla="*/ 4810092 w 5338201"/>
                  <a:gd name="connsiteY309" fmla="*/ 3030178 h 4122274"/>
                  <a:gd name="connsiteX310" fmla="*/ 4790697 w 5338201"/>
                  <a:gd name="connsiteY310" fmla="*/ 3020209 h 4122274"/>
                  <a:gd name="connsiteX311" fmla="*/ 4785253 w 5338201"/>
                  <a:gd name="connsiteY311" fmla="*/ 3019657 h 4122274"/>
                  <a:gd name="connsiteX312" fmla="*/ 3325916 w 5338201"/>
                  <a:gd name="connsiteY312" fmla="*/ 3016284 h 4122274"/>
                  <a:gd name="connsiteX313" fmla="*/ 3302234 w 5338201"/>
                  <a:gd name="connsiteY313" fmla="*/ 3039955 h 4122274"/>
                  <a:gd name="connsiteX314" fmla="*/ 3302234 w 5338201"/>
                  <a:gd name="connsiteY314" fmla="*/ 3116803 h 4122274"/>
                  <a:gd name="connsiteX315" fmla="*/ 3325916 w 5338201"/>
                  <a:gd name="connsiteY315" fmla="*/ 3140487 h 4122274"/>
                  <a:gd name="connsiteX316" fmla="*/ 3349598 w 5338201"/>
                  <a:gd name="connsiteY316" fmla="*/ 3116803 h 4122274"/>
                  <a:gd name="connsiteX317" fmla="*/ 3349598 w 5338201"/>
                  <a:gd name="connsiteY317" fmla="*/ 3039955 h 4122274"/>
                  <a:gd name="connsiteX318" fmla="*/ 3325916 w 5338201"/>
                  <a:gd name="connsiteY318" fmla="*/ 3016284 h 4122274"/>
                  <a:gd name="connsiteX319" fmla="*/ 2949265 w 5338201"/>
                  <a:gd name="connsiteY319" fmla="*/ 2999220 h 4122274"/>
                  <a:gd name="connsiteX320" fmla="*/ 3107460 w 5338201"/>
                  <a:gd name="connsiteY320" fmla="*/ 3156207 h 4122274"/>
                  <a:gd name="connsiteX321" fmla="*/ 3084752 w 5338201"/>
                  <a:gd name="connsiteY321" fmla="*/ 3237266 h 4122274"/>
                  <a:gd name="connsiteX322" fmla="*/ 3113324 w 5338201"/>
                  <a:gd name="connsiteY322" fmla="*/ 3321488 h 4122274"/>
                  <a:gd name="connsiteX323" fmla="*/ 3025729 w 5338201"/>
                  <a:gd name="connsiteY323" fmla="*/ 3293648 h 4122274"/>
                  <a:gd name="connsiteX324" fmla="*/ 2949265 w 5338201"/>
                  <a:gd name="connsiteY324" fmla="*/ 3313163 h 4122274"/>
                  <a:gd name="connsiteX325" fmla="*/ 2791055 w 5338201"/>
                  <a:gd name="connsiteY325" fmla="*/ 3156207 h 4122274"/>
                  <a:gd name="connsiteX326" fmla="*/ 2949265 w 5338201"/>
                  <a:gd name="connsiteY326" fmla="*/ 2999220 h 4122274"/>
                  <a:gd name="connsiteX327" fmla="*/ 2078239 w 5338201"/>
                  <a:gd name="connsiteY327" fmla="*/ 2982877 h 4122274"/>
                  <a:gd name="connsiteX328" fmla="*/ 2095292 w 5338201"/>
                  <a:gd name="connsiteY328" fmla="*/ 2982877 h 4122274"/>
                  <a:gd name="connsiteX329" fmla="*/ 2192287 w 5338201"/>
                  <a:gd name="connsiteY329" fmla="*/ 3080056 h 4122274"/>
                  <a:gd name="connsiteX330" fmla="*/ 2119223 w 5338201"/>
                  <a:gd name="connsiteY330" fmla="*/ 3152952 h 4122274"/>
                  <a:gd name="connsiteX331" fmla="*/ 2192287 w 5338201"/>
                  <a:gd name="connsiteY331" fmla="*/ 3226021 h 4122274"/>
                  <a:gd name="connsiteX332" fmla="*/ 2095107 w 5338201"/>
                  <a:gd name="connsiteY332" fmla="*/ 3323026 h 4122274"/>
                  <a:gd name="connsiteX333" fmla="*/ 2078239 w 5338201"/>
                  <a:gd name="connsiteY333" fmla="*/ 3323026 h 4122274"/>
                  <a:gd name="connsiteX334" fmla="*/ 2078239 w 5338201"/>
                  <a:gd name="connsiteY334" fmla="*/ 3193927 h 4122274"/>
                  <a:gd name="connsiteX335" fmla="*/ 2000095 w 5338201"/>
                  <a:gd name="connsiteY335" fmla="*/ 3272083 h 4122274"/>
                  <a:gd name="connsiteX336" fmla="*/ 1976164 w 5338201"/>
                  <a:gd name="connsiteY336" fmla="*/ 3248146 h 4122274"/>
                  <a:gd name="connsiteX337" fmla="*/ 2071175 w 5338201"/>
                  <a:gd name="connsiteY337" fmla="*/ 3152952 h 4122274"/>
                  <a:gd name="connsiteX338" fmla="*/ 1976164 w 5338201"/>
                  <a:gd name="connsiteY338" fmla="*/ 3057946 h 4122274"/>
                  <a:gd name="connsiteX339" fmla="*/ 2000095 w 5338201"/>
                  <a:gd name="connsiteY339" fmla="*/ 3034010 h 4122274"/>
                  <a:gd name="connsiteX340" fmla="*/ 2078239 w 5338201"/>
                  <a:gd name="connsiteY340" fmla="*/ 3111976 h 4122274"/>
                  <a:gd name="connsiteX341" fmla="*/ 3695307 w 5338201"/>
                  <a:gd name="connsiteY341" fmla="*/ 2982860 h 4122274"/>
                  <a:gd name="connsiteX342" fmla="*/ 3700304 w 5338201"/>
                  <a:gd name="connsiteY342" fmla="*/ 2988727 h 4122274"/>
                  <a:gd name="connsiteX343" fmla="*/ 3743242 w 5338201"/>
                  <a:gd name="connsiteY343" fmla="*/ 3032828 h 4122274"/>
                  <a:gd name="connsiteX344" fmla="*/ 3761955 w 5338201"/>
                  <a:gd name="connsiteY344" fmla="*/ 3056502 h 4122274"/>
                  <a:gd name="connsiteX345" fmla="*/ 3810258 w 5338201"/>
                  <a:gd name="connsiteY345" fmla="*/ 3182594 h 4122274"/>
                  <a:gd name="connsiteX346" fmla="*/ 3811670 w 5338201"/>
                  <a:gd name="connsiteY346" fmla="*/ 3201843 h 4122274"/>
                  <a:gd name="connsiteX347" fmla="*/ 3854005 w 5338201"/>
                  <a:gd name="connsiteY347" fmla="*/ 3155306 h 4122274"/>
                  <a:gd name="connsiteX348" fmla="*/ 3829486 w 5338201"/>
                  <a:gd name="connsiteY348" fmla="*/ 3095571 h 4122274"/>
                  <a:gd name="connsiteX349" fmla="*/ 3826384 w 5338201"/>
                  <a:gd name="connsiteY349" fmla="*/ 3084786 h 4122274"/>
                  <a:gd name="connsiteX350" fmla="*/ 3836777 w 5338201"/>
                  <a:gd name="connsiteY350" fmla="*/ 3080508 h 4122274"/>
                  <a:gd name="connsiteX351" fmla="*/ 3842377 w 5338201"/>
                  <a:gd name="connsiteY351" fmla="*/ 3082487 h 4122274"/>
                  <a:gd name="connsiteX352" fmla="*/ 3842377 w 5338201"/>
                  <a:gd name="connsiteY352" fmla="*/ 3080932 h 4122274"/>
                  <a:gd name="connsiteX353" fmla="*/ 3848669 w 5338201"/>
                  <a:gd name="connsiteY353" fmla="*/ 3072777 h 4122274"/>
                  <a:gd name="connsiteX354" fmla="*/ 3858150 w 5338201"/>
                  <a:gd name="connsiteY354" fmla="*/ 3076780 h 4122274"/>
                  <a:gd name="connsiteX355" fmla="*/ 3862428 w 5338201"/>
                  <a:gd name="connsiteY355" fmla="*/ 3084340 h 4122274"/>
                  <a:gd name="connsiteX356" fmla="*/ 3863457 w 5338201"/>
                  <a:gd name="connsiteY356" fmla="*/ 3082258 h 4122274"/>
                  <a:gd name="connsiteX357" fmla="*/ 3871924 w 5338201"/>
                  <a:gd name="connsiteY357" fmla="*/ 3077603 h 4122274"/>
                  <a:gd name="connsiteX358" fmla="*/ 3879200 w 5338201"/>
                  <a:gd name="connsiteY358" fmla="*/ 3083974 h 4122274"/>
                  <a:gd name="connsiteX359" fmla="*/ 3885154 w 5338201"/>
                  <a:gd name="connsiteY359" fmla="*/ 3108277 h 4122274"/>
                  <a:gd name="connsiteX360" fmla="*/ 3887755 w 5338201"/>
                  <a:gd name="connsiteY360" fmla="*/ 3107934 h 4122274"/>
                  <a:gd name="connsiteX361" fmla="*/ 3895311 w 5338201"/>
                  <a:gd name="connsiteY361" fmla="*/ 3110873 h 4122274"/>
                  <a:gd name="connsiteX362" fmla="*/ 3896913 w 5338201"/>
                  <a:gd name="connsiteY362" fmla="*/ 3118799 h 4122274"/>
                  <a:gd name="connsiteX363" fmla="*/ 3894591 w 5338201"/>
                  <a:gd name="connsiteY363" fmla="*/ 3126210 h 4122274"/>
                  <a:gd name="connsiteX364" fmla="*/ 3902014 w 5338201"/>
                  <a:gd name="connsiteY364" fmla="*/ 3135154 h 4122274"/>
                  <a:gd name="connsiteX365" fmla="*/ 3896575 w 5338201"/>
                  <a:gd name="connsiteY365" fmla="*/ 3153647 h 4122274"/>
                  <a:gd name="connsiteX366" fmla="*/ 3901059 w 5338201"/>
                  <a:gd name="connsiteY366" fmla="*/ 3158359 h 4122274"/>
                  <a:gd name="connsiteX367" fmla="*/ 3902411 w 5338201"/>
                  <a:gd name="connsiteY367" fmla="*/ 3169762 h 4122274"/>
                  <a:gd name="connsiteX368" fmla="*/ 3895767 w 5338201"/>
                  <a:gd name="connsiteY368" fmla="*/ 3178820 h 4122274"/>
                  <a:gd name="connsiteX369" fmla="*/ 3896340 w 5338201"/>
                  <a:gd name="connsiteY369" fmla="*/ 3179746 h 4122274"/>
                  <a:gd name="connsiteX370" fmla="*/ 3895767 w 5338201"/>
                  <a:gd name="connsiteY370" fmla="*/ 3188484 h 4122274"/>
                  <a:gd name="connsiteX371" fmla="*/ 3895311 w 5338201"/>
                  <a:gd name="connsiteY371" fmla="*/ 3189125 h 4122274"/>
                  <a:gd name="connsiteX372" fmla="*/ 3864765 w 5338201"/>
                  <a:gd name="connsiteY372" fmla="*/ 3217637 h 4122274"/>
                  <a:gd name="connsiteX373" fmla="*/ 3847743 w 5338201"/>
                  <a:gd name="connsiteY373" fmla="*/ 3225174 h 4122274"/>
                  <a:gd name="connsiteX374" fmla="*/ 3803644 w 5338201"/>
                  <a:gd name="connsiteY374" fmla="*/ 3229897 h 4122274"/>
                  <a:gd name="connsiteX375" fmla="*/ 3803629 w 5338201"/>
                  <a:gd name="connsiteY375" fmla="*/ 3229897 h 4122274"/>
                  <a:gd name="connsiteX376" fmla="*/ 3803614 w 5338201"/>
                  <a:gd name="connsiteY376" fmla="*/ 3229897 h 4122274"/>
                  <a:gd name="connsiteX377" fmla="*/ 3666598 w 5338201"/>
                  <a:gd name="connsiteY377" fmla="*/ 3229897 h 4122274"/>
                  <a:gd name="connsiteX378" fmla="*/ 3666554 w 5338201"/>
                  <a:gd name="connsiteY378" fmla="*/ 3229897 h 4122274"/>
                  <a:gd name="connsiteX379" fmla="*/ 3658131 w 5338201"/>
                  <a:gd name="connsiteY379" fmla="*/ 3221480 h 4122274"/>
                  <a:gd name="connsiteX380" fmla="*/ 3658175 w 5338201"/>
                  <a:gd name="connsiteY380" fmla="*/ 3220530 h 4122274"/>
                  <a:gd name="connsiteX381" fmla="*/ 3680136 w 5338201"/>
                  <a:gd name="connsiteY381" fmla="*/ 3196319 h 4122274"/>
                  <a:gd name="connsiteX382" fmla="*/ 3686207 w 5338201"/>
                  <a:gd name="connsiteY382" fmla="*/ 3195506 h 4122274"/>
                  <a:gd name="connsiteX383" fmla="*/ 3648723 w 5338201"/>
                  <a:gd name="connsiteY383" fmla="*/ 3161219 h 4122274"/>
                  <a:gd name="connsiteX384" fmla="*/ 3647371 w 5338201"/>
                  <a:gd name="connsiteY384" fmla="*/ 3159640 h 4122274"/>
                  <a:gd name="connsiteX385" fmla="*/ 3646548 w 5338201"/>
                  <a:gd name="connsiteY385" fmla="*/ 3158405 h 4122274"/>
                  <a:gd name="connsiteX386" fmla="*/ 3640638 w 5338201"/>
                  <a:gd name="connsiteY386" fmla="*/ 3211118 h 4122274"/>
                  <a:gd name="connsiteX387" fmla="*/ 3619647 w 5338201"/>
                  <a:gd name="connsiteY387" fmla="*/ 3229897 h 4122274"/>
                  <a:gd name="connsiteX388" fmla="*/ 3595907 w 5338201"/>
                  <a:gd name="connsiteY388" fmla="*/ 3229897 h 4122274"/>
                  <a:gd name="connsiteX389" fmla="*/ 3587484 w 5338201"/>
                  <a:gd name="connsiteY389" fmla="*/ 3221480 h 4122274"/>
                  <a:gd name="connsiteX390" fmla="*/ 3587484 w 5338201"/>
                  <a:gd name="connsiteY390" fmla="*/ 3221068 h 4122274"/>
                  <a:gd name="connsiteX391" fmla="*/ 3606358 w 5338201"/>
                  <a:gd name="connsiteY391" fmla="*/ 3200344 h 4122274"/>
                  <a:gd name="connsiteX392" fmla="*/ 3607005 w 5338201"/>
                  <a:gd name="connsiteY392" fmla="*/ 3104755 h 4122274"/>
                  <a:gd name="connsiteX393" fmla="*/ 3602963 w 5338201"/>
                  <a:gd name="connsiteY393" fmla="*/ 3090207 h 4122274"/>
                  <a:gd name="connsiteX394" fmla="*/ 3588616 w 5338201"/>
                  <a:gd name="connsiteY394" fmla="*/ 3038112 h 4122274"/>
                  <a:gd name="connsiteX395" fmla="*/ 3589145 w 5338201"/>
                  <a:gd name="connsiteY395" fmla="*/ 3017823 h 4122274"/>
                  <a:gd name="connsiteX396" fmla="*/ 2528403 w 5338201"/>
                  <a:gd name="connsiteY396" fmla="*/ 2977408 h 4122274"/>
                  <a:gd name="connsiteX397" fmla="*/ 2540885 w 5338201"/>
                  <a:gd name="connsiteY397" fmla="*/ 2989897 h 4122274"/>
                  <a:gd name="connsiteX398" fmla="*/ 2540885 w 5338201"/>
                  <a:gd name="connsiteY398" fmla="*/ 2999242 h 4122274"/>
                  <a:gd name="connsiteX399" fmla="*/ 2737057 w 5338201"/>
                  <a:gd name="connsiteY399" fmla="*/ 3164229 h 4122274"/>
                  <a:gd name="connsiteX400" fmla="*/ 2694298 w 5338201"/>
                  <a:gd name="connsiteY400" fmla="*/ 3152304 h 4122274"/>
                  <a:gd name="connsiteX401" fmla="*/ 2640082 w 5338201"/>
                  <a:gd name="connsiteY401" fmla="*/ 3178478 h 4122274"/>
                  <a:gd name="connsiteX402" fmla="*/ 2637860 w 5338201"/>
                  <a:gd name="connsiteY402" fmla="*/ 3178478 h 4122274"/>
                  <a:gd name="connsiteX403" fmla="*/ 2583702 w 5338201"/>
                  <a:gd name="connsiteY403" fmla="*/ 3152492 h 4122274"/>
                  <a:gd name="connsiteX404" fmla="*/ 2540904 w 5338201"/>
                  <a:gd name="connsiteY404" fmla="*/ 3164485 h 4122274"/>
                  <a:gd name="connsiteX405" fmla="*/ 2540904 w 5338201"/>
                  <a:gd name="connsiteY405" fmla="*/ 3289784 h 4122274"/>
                  <a:gd name="connsiteX406" fmla="*/ 2572534 w 5338201"/>
                  <a:gd name="connsiteY406" fmla="*/ 3321442 h 4122274"/>
                  <a:gd name="connsiteX407" fmla="*/ 2604202 w 5338201"/>
                  <a:gd name="connsiteY407" fmla="*/ 3289784 h 4122274"/>
                  <a:gd name="connsiteX408" fmla="*/ 2616703 w 5338201"/>
                  <a:gd name="connsiteY408" fmla="*/ 3277296 h 4122274"/>
                  <a:gd name="connsiteX409" fmla="*/ 2629185 w 5338201"/>
                  <a:gd name="connsiteY409" fmla="*/ 3289784 h 4122274"/>
                  <a:gd name="connsiteX410" fmla="*/ 2572534 w 5338201"/>
                  <a:gd name="connsiteY410" fmla="*/ 3346437 h 4122274"/>
                  <a:gd name="connsiteX411" fmla="*/ 2515902 w 5338201"/>
                  <a:gd name="connsiteY411" fmla="*/ 3289784 h 4122274"/>
                  <a:gd name="connsiteX412" fmla="*/ 2515902 w 5338201"/>
                  <a:gd name="connsiteY412" fmla="*/ 3164298 h 4122274"/>
                  <a:gd name="connsiteX413" fmla="*/ 2473105 w 5338201"/>
                  <a:gd name="connsiteY413" fmla="*/ 3152304 h 4122274"/>
                  <a:gd name="connsiteX414" fmla="*/ 2418889 w 5338201"/>
                  <a:gd name="connsiteY414" fmla="*/ 3178478 h 4122274"/>
                  <a:gd name="connsiteX415" fmla="*/ 2416667 w 5338201"/>
                  <a:gd name="connsiteY415" fmla="*/ 3178478 h 4122274"/>
                  <a:gd name="connsiteX416" fmla="*/ 2362489 w 5338201"/>
                  <a:gd name="connsiteY416" fmla="*/ 3152492 h 4122274"/>
                  <a:gd name="connsiteX417" fmla="*/ 2319711 w 5338201"/>
                  <a:gd name="connsiteY417" fmla="*/ 3164417 h 4122274"/>
                  <a:gd name="connsiteX418" fmla="*/ 2515902 w 5338201"/>
                  <a:gd name="connsiteY418" fmla="*/ 2999242 h 4122274"/>
                  <a:gd name="connsiteX419" fmla="*/ 2515902 w 5338201"/>
                  <a:gd name="connsiteY419" fmla="*/ 2989897 h 4122274"/>
                  <a:gd name="connsiteX420" fmla="*/ 2528403 w 5338201"/>
                  <a:gd name="connsiteY420" fmla="*/ 2977408 h 4122274"/>
                  <a:gd name="connsiteX421" fmla="*/ 3325916 w 5338201"/>
                  <a:gd name="connsiteY421" fmla="*/ 2950142 h 4122274"/>
                  <a:gd name="connsiteX422" fmla="*/ 3359090 w 5338201"/>
                  <a:gd name="connsiteY422" fmla="*/ 2969294 h 4122274"/>
                  <a:gd name="connsiteX423" fmla="*/ 3489837 w 5338201"/>
                  <a:gd name="connsiteY423" fmla="*/ 3195755 h 4122274"/>
                  <a:gd name="connsiteX424" fmla="*/ 3489837 w 5338201"/>
                  <a:gd name="connsiteY424" fmla="*/ 3234060 h 4122274"/>
                  <a:gd name="connsiteX425" fmla="*/ 3456664 w 5338201"/>
                  <a:gd name="connsiteY425" fmla="*/ 3253212 h 4122274"/>
                  <a:gd name="connsiteX426" fmla="*/ 3195168 w 5338201"/>
                  <a:gd name="connsiteY426" fmla="*/ 3253212 h 4122274"/>
                  <a:gd name="connsiteX427" fmla="*/ 3161995 w 5338201"/>
                  <a:gd name="connsiteY427" fmla="*/ 3234060 h 4122274"/>
                  <a:gd name="connsiteX428" fmla="*/ 3161995 w 5338201"/>
                  <a:gd name="connsiteY428" fmla="*/ 3195755 h 4122274"/>
                  <a:gd name="connsiteX429" fmla="*/ 3292743 w 5338201"/>
                  <a:gd name="connsiteY429" fmla="*/ 2969294 h 4122274"/>
                  <a:gd name="connsiteX430" fmla="*/ 3325916 w 5338201"/>
                  <a:gd name="connsiteY430" fmla="*/ 2950142 h 4122274"/>
                  <a:gd name="connsiteX431" fmla="*/ 2598397 w 5338201"/>
                  <a:gd name="connsiteY431" fmla="*/ 2939236 h 4122274"/>
                  <a:gd name="connsiteX432" fmla="*/ 2626418 w 5338201"/>
                  <a:gd name="connsiteY432" fmla="*/ 2963254 h 4122274"/>
                  <a:gd name="connsiteX433" fmla="*/ 2620763 w 5338201"/>
                  <a:gd name="connsiteY433" fmla="*/ 2981626 h 4122274"/>
                  <a:gd name="connsiteX434" fmla="*/ 2602386 w 5338201"/>
                  <a:gd name="connsiteY434" fmla="*/ 2975949 h 4122274"/>
                  <a:gd name="connsiteX435" fmla="*/ 2598397 w 5338201"/>
                  <a:gd name="connsiteY435" fmla="*/ 2939236 h 4122274"/>
                  <a:gd name="connsiteX436" fmla="*/ 2429331 w 5338201"/>
                  <a:gd name="connsiteY436" fmla="*/ 2939236 h 4122274"/>
                  <a:gd name="connsiteX437" fmla="*/ 2457369 w 5338201"/>
                  <a:gd name="connsiteY437" fmla="*/ 2963254 h 4122274"/>
                  <a:gd name="connsiteX438" fmla="*/ 2451709 w 5338201"/>
                  <a:gd name="connsiteY438" fmla="*/ 2981612 h 4122274"/>
                  <a:gd name="connsiteX439" fmla="*/ 2433335 w 5338201"/>
                  <a:gd name="connsiteY439" fmla="*/ 2975933 h 4122274"/>
                  <a:gd name="connsiteX440" fmla="*/ 2429331 w 5338201"/>
                  <a:gd name="connsiteY440" fmla="*/ 2939236 h 4122274"/>
                  <a:gd name="connsiteX441" fmla="*/ 3326699 w 5338201"/>
                  <a:gd name="connsiteY441" fmla="*/ 2936208 h 4122274"/>
                  <a:gd name="connsiteX442" fmla="*/ 3286369 w 5338201"/>
                  <a:gd name="connsiteY442" fmla="*/ 2959478 h 4122274"/>
                  <a:gd name="connsiteX443" fmla="*/ 3150759 w 5338201"/>
                  <a:gd name="connsiteY443" fmla="*/ 3194342 h 4122274"/>
                  <a:gd name="connsiteX444" fmla="*/ 3150759 w 5338201"/>
                  <a:gd name="connsiteY444" fmla="*/ 3240898 h 4122274"/>
                  <a:gd name="connsiteX445" fmla="*/ 3191108 w 5338201"/>
                  <a:gd name="connsiteY445" fmla="*/ 3264185 h 4122274"/>
                  <a:gd name="connsiteX446" fmla="*/ 3462289 w 5338201"/>
                  <a:gd name="connsiteY446" fmla="*/ 3264185 h 4122274"/>
                  <a:gd name="connsiteX447" fmla="*/ 3502619 w 5338201"/>
                  <a:gd name="connsiteY447" fmla="*/ 3240898 h 4122274"/>
                  <a:gd name="connsiteX448" fmla="*/ 3502619 w 5338201"/>
                  <a:gd name="connsiteY448" fmla="*/ 3194342 h 4122274"/>
                  <a:gd name="connsiteX449" fmla="*/ 3367028 w 5338201"/>
                  <a:gd name="connsiteY449" fmla="*/ 2959478 h 4122274"/>
                  <a:gd name="connsiteX450" fmla="*/ 3326699 w 5338201"/>
                  <a:gd name="connsiteY450" fmla="*/ 2936208 h 4122274"/>
                  <a:gd name="connsiteX451" fmla="*/ 4814438 w 5338201"/>
                  <a:gd name="connsiteY451" fmla="*/ 2928633 h 4122274"/>
                  <a:gd name="connsiteX452" fmla="*/ 4786885 w 5338201"/>
                  <a:gd name="connsiteY452" fmla="*/ 2944058 h 4122274"/>
                  <a:gd name="connsiteX453" fmla="*/ 4772201 w 5338201"/>
                  <a:gd name="connsiteY453" fmla="*/ 2972343 h 4122274"/>
                  <a:gd name="connsiteX454" fmla="*/ 4965118 w 5338201"/>
                  <a:gd name="connsiteY454" fmla="*/ 3072605 h 4122274"/>
                  <a:gd name="connsiteX455" fmla="*/ 4979802 w 5338201"/>
                  <a:gd name="connsiteY455" fmla="*/ 3044321 h 4122274"/>
                  <a:gd name="connsiteX456" fmla="*/ 4967649 w 5338201"/>
                  <a:gd name="connsiteY456" fmla="*/ 3005888 h 4122274"/>
                  <a:gd name="connsiteX457" fmla="*/ 4958043 w 5338201"/>
                  <a:gd name="connsiteY457" fmla="*/ 3000806 h 4122274"/>
                  <a:gd name="connsiteX458" fmla="*/ 4947888 w 5338201"/>
                  <a:gd name="connsiteY458" fmla="*/ 3020209 h 4122274"/>
                  <a:gd name="connsiteX459" fmla="*/ 4938282 w 5338201"/>
                  <a:gd name="connsiteY459" fmla="*/ 3023294 h 4122274"/>
                  <a:gd name="connsiteX460" fmla="*/ 4935202 w 5338201"/>
                  <a:gd name="connsiteY460" fmla="*/ 3013682 h 4122274"/>
                  <a:gd name="connsiteX461" fmla="*/ 4945357 w 5338201"/>
                  <a:gd name="connsiteY461" fmla="*/ 2994279 h 4122274"/>
                  <a:gd name="connsiteX462" fmla="*/ 4847617 w 5338201"/>
                  <a:gd name="connsiteY462" fmla="*/ 2943506 h 4122274"/>
                  <a:gd name="connsiteX463" fmla="*/ 4837645 w 5338201"/>
                  <a:gd name="connsiteY463" fmla="*/ 2962909 h 4122274"/>
                  <a:gd name="connsiteX464" fmla="*/ 4827856 w 5338201"/>
                  <a:gd name="connsiteY464" fmla="*/ 2965816 h 4122274"/>
                  <a:gd name="connsiteX465" fmla="*/ 4824959 w 5338201"/>
                  <a:gd name="connsiteY465" fmla="*/ 2956203 h 4122274"/>
                  <a:gd name="connsiteX466" fmla="*/ 4834931 w 5338201"/>
                  <a:gd name="connsiteY466" fmla="*/ 2936800 h 4122274"/>
                  <a:gd name="connsiteX467" fmla="*/ 4825508 w 5338201"/>
                  <a:gd name="connsiteY467" fmla="*/ 2931897 h 4122274"/>
                  <a:gd name="connsiteX468" fmla="*/ 4814438 w 5338201"/>
                  <a:gd name="connsiteY468" fmla="*/ 2928633 h 4122274"/>
                  <a:gd name="connsiteX469" fmla="*/ 3326699 w 5338201"/>
                  <a:gd name="connsiteY469" fmla="*/ 2917423 h 4122274"/>
                  <a:gd name="connsiteX470" fmla="*/ 3383292 w 5338201"/>
                  <a:gd name="connsiteY470" fmla="*/ 2950102 h 4122274"/>
                  <a:gd name="connsiteX471" fmla="*/ 3518902 w 5338201"/>
                  <a:gd name="connsiteY471" fmla="*/ 3184949 h 4122274"/>
                  <a:gd name="connsiteX472" fmla="*/ 3518902 w 5338201"/>
                  <a:gd name="connsiteY472" fmla="*/ 3250291 h 4122274"/>
                  <a:gd name="connsiteX473" fmla="*/ 3462289 w 5338201"/>
                  <a:gd name="connsiteY473" fmla="*/ 3282970 h 4122274"/>
                  <a:gd name="connsiteX474" fmla="*/ 3191108 w 5338201"/>
                  <a:gd name="connsiteY474" fmla="*/ 3282970 h 4122274"/>
                  <a:gd name="connsiteX475" fmla="*/ 3134514 w 5338201"/>
                  <a:gd name="connsiteY475" fmla="*/ 3250291 h 4122274"/>
                  <a:gd name="connsiteX476" fmla="*/ 3134514 w 5338201"/>
                  <a:gd name="connsiteY476" fmla="*/ 3184949 h 4122274"/>
                  <a:gd name="connsiteX477" fmla="*/ 3270105 w 5338201"/>
                  <a:gd name="connsiteY477" fmla="*/ 2950102 h 4122274"/>
                  <a:gd name="connsiteX478" fmla="*/ 3326699 w 5338201"/>
                  <a:gd name="connsiteY478" fmla="*/ 2917423 h 4122274"/>
                  <a:gd name="connsiteX479" fmla="*/ 2543853 w 5338201"/>
                  <a:gd name="connsiteY479" fmla="*/ 2917423 h 4122274"/>
                  <a:gd name="connsiteX480" fmla="*/ 2571890 w 5338201"/>
                  <a:gd name="connsiteY480" fmla="*/ 2941436 h 4122274"/>
                  <a:gd name="connsiteX481" fmla="*/ 2566220 w 5338201"/>
                  <a:gd name="connsiteY481" fmla="*/ 2959792 h 4122274"/>
                  <a:gd name="connsiteX482" fmla="*/ 2547841 w 5338201"/>
                  <a:gd name="connsiteY482" fmla="*/ 2954137 h 4122274"/>
                  <a:gd name="connsiteX483" fmla="*/ 2543853 w 5338201"/>
                  <a:gd name="connsiteY483" fmla="*/ 2917423 h 4122274"/>
                  <a:gd name="connsiteX484" fmla="*/ 2483857 w 5338201"/>
                  <a:gd name="connsiteY484" fmla="*/ 2917423 h 4122274"/>
                  <a:gd name="connsiteX485" fmla="*/ 2511911 w 5338201"/>
                  <a:gd name="connsiteY485" fmla="*/ 2941436 h 4122274"/>
                  <a:gd name="connsiteX486" fmla="*/ 2506224 w 5338201"/>
                  <a:gd name="connsiteY486" fmla="*/ 2959792 h 4122274"/>
                  <a:gd name="connsiteX487" fmla="*/ 2487883 w 5338201"/>
                  <a:gd name="connsiteY487" fmla="*/ 2954137 h 4122274"/>
                  <a:gd name="connsiteX488" fmla="*/ 2483857 w 5338201"/>
                  <a:gd name="connsiteY488" fmla="*/ 2917423 h 4122274"/>
                  <a:gd name="connsiteX489" fmla="*/ 1967606 w 5338201"/>
                  <a:gd name="connsiteY489" fmla="*/ 2906517 h 4122274"/>
                  <a:gd name="connsiteX490" fmla="*/ 1978844 w 5338201"/>
                  <a:gd name="connsiteY490" fmla="*/ 2938688 h 4122274"/>
                  <a:gd name="connsiteX491" fmla="*/ 1978861 w 5338201"/>
                  <a:gd name="connsiteY491" fmla="*/ 2938769 h 4122274"/>
                  <a:gd name="connsiteX492" fmla="*/ 1978974 w 5338201"/>
                  <a:gd name="connsiteY492" fmla="*/ 2940240 h 4122274"/>
                  <a:gd name="connsiteX493" fmla="*/ 1978990 w 5338201"/>
                  <a:gd name="connsiteY493" fmla="*/ 2940499 h 4122274"/>
                  <a:gd name="connsiteX494" fmla="*/ 1978424 w 5338201"/>
                  <a:gd name="connsiteY494" fmla="*/ 2958573 h 4122274"/>
                  <a:gd name="connsiteX495" fmla="*/ 1870553 w 5338201"/>
                  <a:gd name="connsiteY495" fmla="*/ 3152636 h 4122274"/>
                  <a:gd name="connsiteX496" fmla="*/ 1660472 w 5338201"/>
                  <a:gd name="connsiteY496" fmla="*/ 3230235 h 4122274"/>
                  <a:gd name="connsiteX497" fmla="*/ 1629943 w 5338201"/>
                  <a:gd name="connsiteY497" fmla="*/ 3216364 h 4122274"/>
                  <a:gd name="connsiteX498" fmla="*/ 1726607 w 5338201"/>
                  <a:gd name="connsiteY498" fmla="*/ 3127675 h 4122274"/>
                  <a:gd name="connsiteX499" fmla="*/ 1736002 w 5338201"/>
                  <a:gd name="connsiteY499" fmla="*/ 3148352 h 4122274"/>
                  <a:gd name="connsiteX500" fmla="*/ 1827654 w 5338201"/>
                  <a:gd name="connsiteY500" fmla="*/ 3096748 h 4122274"/>
                  <a:gd name="connsiteX501" fmla="*/ 1890394 w 5338201"/>
                  <a:gd name="connsiteY501" fmla="*/ 3006232 h 4122274"/>
                  <a:gd name="connsiteX502" fmla="*/ 1870941 w 5338201"/>
                  <a:gd name="connsiteY502" fmla="*/ 2995207 h 4122274"/>
                  <a:gd name="connsiteX503" fmla="*/ 4855790 w 5338201"/>
                  <a:gd name="connsiteY503" fmla="*/ 2901437 h 4122274"/>
                  <a:gd name="connsiteX504" fmla="*/ 4861219 w 5338201"/>
                  <a:gd name="connsiteY504" fmla="*/ 2901810 h 4122274"/>
                  <a:gd name="connsiteX505" fmla="*/ 4864299 w 5338201"/>
                  <a:gd name="connsiteY505" fmla="*/ 2911601 h 4122274"/>
                  <a:gd name="connsiteX506" fmla="*/ 4854327 w 5338201"/>
                  <a:gd name="connsiteY506" fmla="*/ 2930809 h 4122274"/>
                  <a:gd name="connsiteX507" fmla="*/ 4951883 w 5338201"/>
                  <a:gd name="connsiteY507" fmla="*/ 2981582 h 4122274"/>
                  <a:gd name="connsiteX508" fmla="*/ 4962038 w 5338201"/>
                  <a:gd name="connsiteY508" fmla="*/ 2962357 h 4122274"/>
                  <a:gd name="connsiteX509" fmla="*/ 4971644 w 5338201"/>
                  <a:gd name="connsiteY509" fmla="*/ 2959288 h 4122274"/>
                  <a:gd name="connsiteX510" fmla="*/ 4974725 w 5338201"/>
                  <a:gd name="connsiteY510" fmla="*/ 2968884 h 4122274"/>
                  <a:gd name="connsiteX511" fmla="*/ 4964569 w 5338201"/>
                  <a:gd name="connsiteY511" fmla="*/ 2988109 h 4122274"/>
                  <a:gd name="connsiteX512" fmla="*/ 4974176 w 5338201"/>
                  <a:gd name="connsiteY512" fmla="*/ 2993191 h 4122274"/>
                  <a:gd name="connsiteX513" fmla="*/ 4992488 w 5338201"/>
                  <a:gd name="connsiteY513" fmla="*/ 3051026 h 4122274"/>
                  <a:gd name="connsiteX514" fmla="*/ 4903288 w 5338201"/>
                  <a:gd name="connsiteY514" fmla="*/ 3222374 h 4122274"/>
                  <a:gd name="connsiteX515" fmla="*/ 4845452 w 5338201"/>
                  <a:gd name="connsiteY515" fmla="*/ 3240689 h 4122274"/>
                  <a:gd name="connsiteX516" fmla="*/ 4703295 w 5338201"/>
                  <a:gd name="connsiteY516" fmla="*/ 3166535 h 4122274"/>
                  <a:gd name="connsiteX517" fmla="*/ 4684983 w 5338201"/>
                  <a:gd name="connsiteY517" fmla="*/ 3108683 h 4122274"/>
                  <a:gd name="connsiteX518" fmla="*/ 4774198 w 5338201"/>
                  <a:gd name="connsiteY518" fmla="*/ 2937336 h 4122274"/>
                  <a:gd name="connsiteX519" fmla="*/ 4832034 w 5338201"/>
                  <a:gd name="connsiteY519" fmla="*/ 2919216 h 4122274"/>
                  <a:gd name="connsiteX520" fmla="*/ 4841640 w 5338201"/>
                  <a:gd name="connsiteY520" fmla="*/ 2924103 h 4122274"/>
                  <a:gd name="connsiteX521" fmla="*/ 4851612 w 5338201"/>
                  <a:gd name="connsiteY521" fmla="*/ 2904879 h 4122274"/>
                  <a:gd name="connsiteX522" fmla="*/ 4855790 w 5338201"/>
                  <a:gd name="connsiteY522" fmla="*/ 2901437 h 4122274"/>
                  <a:gd name="connsiteX523" fmla="*/ 4270971 w 5338201"/>
                  <a:gd name="connsiteY523" fmla="*/ 2901093 h 4122274"/>
                  <a:gd name="connsiteX524" fmla="*/ 4280265 w 5338201"/>
                  <a:gd name="connsiteY524" fmla="*/ 2908985 h 4122274"/>
                  <a:gd name="connsiteX525" fmla="*/ 4272368 w 5338201"/>
                  <a:gd name="connsiteY525" fmla="*/ 2918289 h 4122274"/>
                  <a:gd name="connsiteX526" fmla="*/ 4249153 w 5338201"/>
                  <a:gd name="connsiteY526" fmla="*/ 2920164 h 4122274"/>
                  <a:gd name="connsiteX527" fmla="*/ 4239841 w 5338201"/>
                  <a:gd name="connsiteY527" fmla="*/ 2912265 h 4122274"/>
                  <a:gd name="connsiteX528" fmla="*/ 4247747 w 5338201"/>
                  <a:gd name="connsiteY528" fmla="*/ 2902973 h 4122274"/>
                  <a:gd name="connsiteX529" fmla="*/ 3677425 w 5338201"/>
                  <a:gd name="connsiteY529" fmla="*/ 2868522 h 4122274"/>
                  <a:gd name="connsiteX530" fmla="*/ 3684095 w 5338201"/>
                  <a:gd name="connsiteY530" fmla="*/ 2876100 h 4122274"/>
                  <a:gd name="connsiteX531" fmla="*/ 3691355 w 5338201"/>
                  <a:gd name="connsiteY531" fmla="*/ 2966062 h 4122274"/>
                  <a:gd name="connsiteX532" fmla="*/ 3590613 w 5338201"/>
                  <a:gd name="connsiteY532" fmla="*/ 2999241 h 4122274"/>
                  <a:gd name="connsiteX533" fmla="*/ 3591307 w 5338201"/>
                  <a:gd name="connsiteY533" fmla="*/ 2973488 h 4122274"/>
                  <a:gd name="connsiteX534" fmla="*/ 3577058 w 5338201"/>
                  <a:gd name="connsiteY534" fmla="*/ 2971534 h 4122274"/>
                  <a:gd name="connsiteX535" fmla="*/ 3547970 w 5338201"/>
                  <a:gd name="connsiteY535" fmla="*/ 2948411 h 4122274"/>
                  <a:gd name="connsiteX536" fmla="*/ 3542417 w 5338201"/>
                  <a:gd name="connsiteY536" fmla="*/ 2933778 h 4122274"/>
                  <a:gd name="connsiteX537" fmla="*/ 3543264 w 5338201"/>
                  <a:gd name="connsiteY537" fmla="*/ 2926121 h 4122274"/>
                  <a:gd name="connsiteX538" fmla="*/ 3549996 w 5338201"/>
                  <a:gd name="connsiteY538" fmla="*/ 2922359 h 4122274"/>
                  <a:gd name="connsiteX539" fmla="*/ 3594388 w 5338201"/>
                  <a:gd name="connsiteY539" fmla="*/ 2920764 h 4122274"/>
                  <a:gd name="connsiteX540" fmla="*/ 3605063 w 5338201"/>
                  <a:gd name="connsiteY540" fmla="*/ 2904409 h 4122274"/>
                  <a:gd name="connsiteX541" fmla="*/ 3610574 w 5338201"/>
                  <a:gd name="connsiteY541" fmla="*/ 2900727 h 4122274"/>
                  <a:gd name="connsiteX542" fmla="*/ 3657992 w 5338201"/>
                  <a:gd name="connsiteY542" fmla="*/ 2891877 h 4122274"/>
                  <a:gd name="connsiteX543" fmla="*/ 3668278 w 5338201"/>
                  <a:gd name="connsiteY543" fmla="*/ 2872782 h 4122274"/>
                  <a:gd name="connsiteX544" fmla="*/ 3677425 w 5338201"/>
                  <a:gd name="connsiteY544" fmla="*/ 2868522 h 4122274"/>
                  <a:gd name="connsiteX545" fmla="*/ 1929782 w 5338201"/>
                  <a:gd name="connsiteY545" fmla="*/ 2857481 h 4122274"/>
                  <a:gd name="connsiteX546" fmla="*/ 1961092 w 5338201"/>
                  <a:gd name="connsiteY546" fmla="*/ 2872033 h 4122274"/>
                  <a:gd name="connsiteX547" fmla="*/ 1966155 w 5338201"/>
                  <a:gd name="connsiteY547" fmla="*/ 2877569 h 4122274"/>
                  <a:gd name="connsiteX548" fmla="*/ 1968164 w 5338201"/>
                  <a:gd name="connsiteY548" fmla="*/ 2880131 h 4122274"/>
                  <a:gd name="connsiteX549" fmla="*/ 1851542 w 5338201"/>
                  <a:gd name="connsiteY549" fmla="*/ 2987139 h 4122274"/>
                  <a:gd name="connsiteX550" fmla="*/ 1849165 w 5338201"/>
                  <a:gd name="connsiteY550" fmla="*/ 2984920 h 4122274"/>
                  <a:gd name="connsiteX551" fmla="*/ 1844077 w 5338201"/>
                  <a:gd name="connsiteY551" fmla="*/ 2979378 h 4122274"/>
                  <a:gd name="connsiteX552" fmla="*/ 1832397 w 5338201"/>
                  <a:gd name="connsiteY552" fmla="*/ 2944891 h 4122274"/>
                  <a:gd name="connsiteX553" fmla="*/ 1846827 w 5338201"/>
                  <a:gd name="connsiteY553" fmla="*/ 2915634 h 4122274"/>
                  <a:gd name="connsiteX554" fmla="*/ 1897346 w 5338201"/>
                  <a:gd name="connsiteY554" fmla="*/ 2869290 h 4122274"/>
                  <a:gd name="connsiteX555" fmla="*/ 1929782 w 5338201"/>
                  <a:gd name="connsiteY555" fmla="*/ 2857481 h 4122274"/>
                  <a:gd name="connsiteX556" fmla="*/ 4357215 w 5338201"/>
                  <a:gd name="connsiteY556" fmla="*/ 2842182 h 4122274"/>
                  <a:gd name="connsiteX557" fmla="*/ 4303599 w 5338201"/>
                  <a:gd name="connsiteY557" fmla="*/ 2905282 h 4122274"/>
                  <a:gd name="connsiteX558" fmla="*/ 4307634 w 5338201"/>
                  <a:gd name="connsiteY558" fmla="*/ 2922438 h 4122274"/>
                  <a:gd name="connsiteX559" fmla="*/ 4330555 w 5338201"/>
                  <a:gd name="connsiteY559" fmla="*/ 2917041 h 4122274"/>
                  <a:gd name="connsiteX560" fmla="*/ 4346676 w 5338201"/>
                  <a:gd name="connsiteY560" fmla="*/ 2917371 h 4122274"/>
                  <a:gd name="connsiteX561" fmla="*/ 4398623 w 5338201"/>
                  <a:gd name="connsiteY561" fmla="*/ 2854932 h 4122274"/>
                  <a:gd name="connsiteX562" fmla="*/ 4357215 w 5338201"/>
                  <a:gd name="connsiteY562" fmla="*/ 2842182 h 4122274"/>
                  <a:gd name="connsiteX563" fmla="*/ 3135136 w 5338201"/>
                  <a:gd name="connsiteY563" fmla="*/ 2835625 h 4122274"/>
                  <a:gd name="connsiteX564" fmla="*/ 3134428 w 5338201"/>
                  <a:gd name="connsiteY564" fmla="*/ 2839653 h 4122274"/>
                  <a:gd name="connsiteX565" fmla="*/ 3117804 w 5338201"/>
                  <a:gd name="connsiteY565" fmla="*/ 2930427 h 4122274"/>
                  <a:gd name="connsiteX566" fmla="*/ 3105780 w 5338201"/>
                  <a:gd name="connsiteY566" fmla="*/ 2945647 h 4122274"/>
                  <a:gd name="connsiteX567" fmla="*/ 3086530 w 5338201"/>
                  <a:gd name="connsiteY567" fmla="*/ 2944045 h 4122274"/>
                  <a:gd name="connsiteX568" fmla="*/ 3033967 w 5338201"/>
                  <a:gd name="connsiteY568" fmla="*/ 2908174 h 4122274"/>
                  <a:gd name="connsiteX569" fmla="*/ 4355824 w 5338201"/>
                  <a:gd name="connsiteY569" fmla="*/ 2824967 h 4122274"/>
                  <a:gd name="connsiteX570" fmla="*/ 4415788 w 5338201"/>
                  <a:gd name="connsiteY570" fmla="*/ 2847213 h 4122274"/>
                  <a:gd name="connsiteX571" fmla="*/ 4443787 w 5338201"/>
                  <a:gd name="connsiteY571" fmla="*/ 2841275 h 4122274"/>
                  <a:gd name="connsiteX572" fmla="*/ 4564045 w 5338201"/>
                  <a:gd name="connsiteY572" fmla="*/ 2939759 h 4122274"/>
                  <a:gd name="connsiteX573" fmla="*/ 4566549 w 5338201"/>
                  <a:gd name="connsiteY573" fmla="*/ 2939488 h 4122274"/>
                  <a:gd name="connsiteX574" fmla="*/ 4629086 w 5338201"/>
                  <a:gd name="connsiteY574" fmla="*/ 2992631 h 4122274"/>
                  <a:gd name="connsiteX575" fmla="*/ 4575957 w 5338201"/>
                  <a:gd name="connsiteY575" fmla="*/ 3055165 h 4122274"/>
                  <a:gd name="connsiteX576" fmla="*/ 4343337 w 5338201"/>
                  <a:gd name="connsiteY576" fmla="*/ 3074089 h 4122274"/>
                  <a:gd name="connsiteX577" fmla="*/ 4258418 w 5338201"/>
                  <a:gd name="connsiteY577" fmla="*/ 3001952 h 4122274"/>
                  <a:gd name="connsiteX578" fmla="*/ 4292400 w 5338201"/>
                  <a:gd name="connsiteY578" fmla="*/ 2930639 h 4122274"/>
                  <a:gd name="connsiteX579" fmla="*/ 4286400 w 5338201"/>
                  <a:gd name="connsiteY579" fmla="*/ 2906707 h 4122274"/>
                  <a:gd name="connsiteX580" fmla="*/ 4355824 w 5338201"/>
                  <a:gd name="connsiteY580" fmla="*/ 2824967 h 4122274"/>
                  <a:gd name="connsiteX581" fmla="*/ 4083968 w 5338201"/>
                  <a:gd name="connsiteY581" fmla="*/ 2819202 h 4122274"/>
                  <a:gd name="connsiteX582" fmla="*/ 4046803 w 5338201"/>
                  <a:gd name="connsiteY582" fmla="*/ 2829458 h 4122274"/>
                  <a:gd name="connsiteX583" fmla="*/ 4004032 w 5338201"/>
                  <a:gd name="connsiteY583" fmla="*/ 2960062 h 4122274"/>
                  <a:gd name="connsiteX584" fmla="*/ 4134631 w 5338201"/>
                  <a:gd name="connsiteY584" fmla="*/ 3002834 h 4122274"/>
                  <a:gd name="connsiteX585" fmla="*/ 4177402 w 5338201"/>
                  <a:gd name="connsiteY585" fmla="*/ 2872230 h 4122274"/>
                  <a:gd name="connsiteX586" fmla="*/ 4083968 w 5338201"/>
                  <a:gd name="connsiteY586" fmla="*/ 2819202 h 4122274"/>
                  <a:gd name="connsiteX587" fmla="*/ 4275869 w 5338201"/>
                  <a:gd name="connsiteY587" fmla="*/ 2815859 h 4122274"/>
                  <a:gd name="connsiteX588" fmla="*/ 4293610 w 5338201"/>
                  <a:gd name="connsiteY588" fmla="*/ 2830929 h 4122274"/>
                  <a:gd name="connsiteX589" fmla="*/ 4294604 w 5338201"/>
                  <a:gd name="connsiteY589" fmla="*/ 2843092 h 4122274"/>
                  <a:gd name="connsiteX590" fmla="*/ 4288735 w 5338201"/>
                  <a:gd name="connsiteY590" fmla="*/ 2846123 h 4122274"/>
                  <a:gd name="connsiteX591" fmla="*/ 4282438 w 5338201"/>
                  <a:gd name="connsiteY591" fmla="*/ 2844078 h 4122274"/>
                  <a:gd name="connsiteX592" fmla="*/ 4264685 w 5338201"/>
                  <a:gd name="connsiteY592" fmla="*/ 2829012 h 4122274"/>
                  <a:gd name="connsiteX593" fmla="*/ 4263700 w 5338201"/>
                  <a:gd name="connsiteY593" fmla="*/ 2816854 h 4122274"/>
                  <a:gd name="connsiteX594" fmla="*/ 4275869 w 5338201"/>
                  <a:gd name="connsiteY594" fmla="*/ 2815859 h 4122274"/>
                  <a:gd name="connsiteX595" fmla="*/ 4446299 w 5338201"/>
                  <a:gd name="connsiteY595" fmla="*/ 2804947 h 4122274"/>
                  <a:gd name="connsiteX596" fmla="*/ 4447284 w 5338201"/>
                  <a:gd name="connsiteY596" fmla="*/ 2817122 h 4122274"/>
                  <a:gd name="connsiteX597" fmla="*/ 4432211 w 5338201"/>
                  <a:gd name="connsiteY597" fmla="*/ 2834867 h 4122274"/>
                  <a:gd name="connsiteX598" fmla="*/ 4426334 w 5338201"/>
                  <a:gd name="connsiteY598" fmla="*/ 2837881 h 4122274"/>
                  <a:gd name="connsiteX599" fmla="*/ 4420053 w 5338201"/>
                  <a:gd name="connsiteY599" fmla="*/ 2835879 h 4122274"/>
                  <a:gd name="connsiteX600" fmla="*/ 4419060 w 5338201"/>
                  <a:gd name="connsiteY600" fmla="*/ 2823700 h 4122274"/>
                  <a:gd name="connsiteX601" fmla="*/ 4434148 w 5338201"/>
                  <a:gd name="connsiteY601" fmla="*/ 2805949 h 4122274"/>
                  <a:gd name="connsiteX602" fmla="*/ 4446299 w 5338201"/>
                  <a:gd name="connsiteY602" fmla="*/ 2804947 h 4122274"/>
                  <a:gd name="connsiteX603" fmla="*/ 1144008 w 5338201"/>
                  <a:gd name="connsiteY603" fmla="*/ 2792001 h 4122274"/>
                  <a:gd name="connsiteX604" fmla="*/ 1160052 w 5338201"/>
                  <a:gd name="connsiteY604" fmla="*/ 2803230 h 4122274"/>
                  <a:gd name="connsiteX605" fmla="*/ 1172694 w 5338201"/>
                  <a:gd name="connsiteY605" fmla="*/ 2796594 h 4122274"/>
                  <a:gd name="connsiteX606" fmla="*/ 1205886 w 5338201"/>
                  <a:gd name="connsiteY606" fmla="*/ 2801599 h 4122274"/>
                  <a:gd name="connsiteX607" fmla="*/ 1294380 w 5338201"/>
                  <a:gd name="connsiteY607" fmla="*/ 2890096 h 4122274"/>
                  <a:gd name="connsiteX608" fmla="*/ 1302253 w 5338201"/>
                  <a:gd name="connsiteY608" fmla="*/ 2914465 h 4122274"/>
                  <a:gd name="connsiteX609" fmla="*/ 1287384 w 5338201"/>
                  <a:gd name="connsiteY609" fmla="*/ 2935291 h 4122274"/>
                  <a:gd name="connsiteX610" fmla="*/ 1267308 w 5338201"/>
                  <a:gd name="connsiteY610" fmla="*/ 2945826 h 4122274"/>
                  <a:gd name="connsiteX611" fmla="*/ 1301341 w 5338201"/>
                  <a:gd name="connsiteY611" fmla="*/ 3067746 h 4122274"/>
                  <a:gd name="connsiteX612" fmla="*/ 1388713 w 5338201"/>
                  <a:gd name="connsiteY612" fmla="*/ 3097776 h 4122274"/>
                  <a:gd name="connsiteX613" fmla="*/ 1395569 w 5338201"/>
                  <a:gd name="connsiteY613" fmla="*/ 3106905 h 4122274"/>
                  <a:gd name="connsiteX614" fmla="*/ 1389730 w 5338201"/>
                  <a:gd name="connsiteY614" fmla="*/ 3116709 h 4122274"/>
                  <a:gd name="connsiteX615" fmla="*/ 1351611 w 5338201"/>
                  <a:gd name="connsiteY615" fmla="*/ 3134648 h 4122274"/>
                  <a:gd name="connsiteX616" fmla="*/ 1334638 w 5338201"/>
                  <a:gd name="connsiteY616" fmla="*/ 3151613 h 4122274"/>
                  <a:gd name="connsiteX617" fmla="*/ 1316701 w 5338201"/>
                  <a:gd name="connsiteY617" fmla="*/ 3189685 h 4122274"/>
                  <a:gd name="connsiteX618" fmla="*/ 1306899 w 5338201"/>
                  <a:gd name="connsiteY618" fmla="*/ 3195552 h 4122274"/>
                  <a:gd name="connsiteX619" fmla="*/ 1297834 w 5338201"/>
                  <a:gd name="connsiteY619" fmla="*/ 3188673 h 4122274"/>
                  <a:gd name="connsiteX620" fmla="*/ 1267711 w 5338201"/>
                  <a:gd name="connsiteY620" fmla="*/ 3101169 h 4122274"/>
                  <a:gd name="connsiteX621" fmla="*/ 1093738 w 5338201"/>
                  <a:gd name="connsiteY621" fmla="*/ 3015840 h 4122274"/>
                  <a:gd name="connsiteX622" fmla="*/ 1086812 w 5338201"/>
                  <a:gd name="connsiteY622" fmla="*/ 3037191 h 4122274"/>
                  <a:gd name="connsiteX623" fmla="*/ 1078483 w 5338201"/>
                  <a:gd name="connsiteY623" fmla="*/ 3044895 h 4122274"/>
                  <a:gd name="connsiteX624" fmla="*/ 1067507 w 5338201"/>
                  <a:gd name="connsiteY624" fmla="*/ 3041765 h 4122274"/>
                  <a:gd name="connsiteX625" fmla="*/ 1060107 w 5338201"/>
                  <a:gd name="connsiteY625" fmla="*/ 3034360 h 4122274"/>
                  <a:gd name="connsiteX626" fmla="*/ 1050394 w 5338201"/>
                  <a:gd name="connsiteY626" fmla="*/ 3013103 h 4122274"/>
                  <a:gd name="connsiteX627" fmla="*/ 1047781 w 5338201"/>
                  <a:gd name="connsiteY627" fmla="*/ 2975519 h 4122274"/>
                  <a:gd name="connsiteX628" fmla="*/ 1017044 w 5338201"/>
                  <a:gd name="connsiteY628" fmla="*/ 2942995 h 4122274"/>
                  <a:gd name="connsiteX629" fmla="*/ 1096000 w 5338201"/>
                  <a:gd name="connsiteY629" fmla="*/ 2898812 h 4122274"/>
                  <a:gd name="connsiteX630" fmla="*/ 1144008 w 5338201"/>
                  <a:gd name="connsiteY630" fmla="*/ 2792001 h 4122274"/>
                  <a:gd name="connsiteX631" fmla="*/ 4081755 w 5338201"/>
                  <a:gd name="connsiteY631" fmla="*/ 2786853 h 4122274"/>
                  <a:gd name="connsiteX632" fmla="*/ 4206299 w 5338201"/>
                  <a:gd name="connsiteY632" fmla="*/ 2857603 h 4122274"/>
                  <a:gd name="connsiteX633" fmla="*/ 4149258 w 5338201"/>
                  <a:gd name="connsiteY633" fmla="*/ 3031733 h 4122274"/>
                  <a:gd name="connsiteX634" fmla="*/ 3975135 w 5338201"/>
                  <a:gd name="connsiteY634" fmla="*/ 2974689 h 4122274"/>
                  <a:gd name="connsiteX635" fmla="*/ 4032163 w 5338201"/>
                  <a:gd name="connsiteY635" fmla="*/ 2800559 h 4122274"/>
                  <a:gd name="connsiteX636" fmla="*/ 4081755 w 5338201"/>
                  <a:gd name="connsiteY636" fmla="*/ 2786853 h 4122274"/>
                  <a:gd name="connsiteX637" fmla="*/ 1014278 w 5338201"/>
                  <a:gd name="connsiteY637" fmla="*/ 2778048 h 4122274"/>
                  <a:gd name="connsiteX638" fmla="*/ 1002827 w 5338201"/>
                  <a:gd name="connsiteY638" fmla="*/ 2782821 h 4122274"/>
                  <a:gd name="connsiteX639" fmla="*/ 1002875 w 5338201"/>
                  <a:gd name="connsiteY639" fmla="*/ 2805668 h 4122274"/>
                  <a:gd name="connsiteX640" fmla="*/ 1025730 w 5338201"/>
                  <a:gd name="connsiteY640" fmla="*/ 2805668 h 4122274"/>
                  <a:gd name="connsiteX641" fmla="*/ 1025730 w 5338201"/>
                  <a:gd name="connsiteY641" fmla="*/ 2782821 h 4122274"/>
                  <a:gd name="connsiteX642" fmla="*/ 1014278 w 5338201"/>
                  <a:gd name="connsiteY642" fmla="*/ 2778048 h 4122274"/>
                  <a:gd name="connsiteX643" fmla="*/ 4350870 w 5338201"/>
                  <a:gd name="connsiteY643" fmla="*/ 2775669 h 4122274"/>
                  <a:gd name="connsiteX644" fmla="*/ 4360184 w 5338201"/>
                  <a:gd name="connsiteY644" fmla="*/ 2783582 h 4122274"/>
                  <a:gd name="connsiteX645" fmla="*/ 4362062 w 5338201"/>
                  <a:gd name="connsiteY645" fmla="*/ 2806791 h 4122274"/>
                  <a:gd name="connsiteX646" fmla="*/ 4354171 w 5338201"/>
                  <a:gd name="connsiteY646" fmla="*/ 2816105 h 4122274"/>
                  <a:gd name="connsiteX647" fmla="*/ 4344866 w 5338201"/>
                  <a:gd name="connsiteY647" fmla="*/ 2808186 h 4122274"/>
                  <a:gd name="connsiteX648" fmla="*/ 4342980 w 5338201"/>
                  <a:gd name="connsiteY648" fmla="*/ 2784984 h 4122274"/>
                  <a:gd name="connsiteX649" fmla="*/ 4350870 w 5338201"/>
                  <a:gd name="connsiteY649" fmla="*/ 2775669 h 4122274"/>
                  <a:gd name="connsiteX650" fmla="*/ 1009158 w 5338201"/>
                  <a:gd name="connsiteY650" fmla="*/ 2748392 h 4122274"/>
                  <a:gd name="connsiteX651" fmla="*/ 1117158 w 5338201"/>
                  <a:gd name="connsiteY651" fmla="*/ 2776264 h 4122274"/>
                  <a:gd name="connsiteX652" fmla="*/ 1077124 w 5338201"/>
                  <a:gd name="connsiteY652" fmla="*/ 2879910 h 4122274"/>
                  <a:gd name="connsiteX653" fmla="*/ 996834 w 5338201"/>
                  <a:gd name="connsiteY653" fmla="*/ 2919422 h 4122274"/>
                  <a:gd name="connsiteX654" fmla="*/ 925302 w 5338201"/>
                  <a:gd name="connsiteY654" fmla="*/ 2779706 h 4122274"/>
                  <a:gd name="connsiteX655" fmla="*/ 1009158 w 5338201"/>
                  <a:gd name="connsiteY655" fmla="*/ 2748392 h 4122274"/>
                  <a:gd name="connsiteX656" fmla="*/ 1718150 w 5338201"/>
                  <a:gd name="connsiteY656" fmla="*/ 2704743 h 4122274"/>
                  <a:gd name="connsiteX657" fmla="*/ 1734914 w 5338201"/>
                  <a:gd name="connsiteY657" fmla="*/ 2711686 h 4122274"/>
                  <a:gd name="connsiteX658" fmla="*/ 1740320 w 5338201"/>
                  <a:gd name="connsiteY658" fmla="*/ 2736293 h 4122274"/>
                  <a:gd name="connsiteX659" fmla="*/ 1764934 w 5338201"/>
                  <a:gd name="connsiteY659" fmla="*/ 2741702 h 4122274"/>
                  <a:gd name="connsiteX660" fmla="*/ 1764934 w 5338201"/>
                  <a:gd name="connsiteY660" fmla="*/ 2775193 h 4122274"/>
                  <a:gd name="connsiteX661" fmla="*/ 1748771 w 5338201"/>
                  <a:gd name="connsiteY661" fmla="*/ 2782031 h 4122274"/>
                  <a:gd name="connsiteX662" fmla="*/ 1748771 w 5338201"/>
                  <a:gd name="connsiteY662" fmla="*/ 2782112 h 4122274"/>
                  <a:gd name="connsiteX663" fmla="*/ 1748317 w 5338201"/>
                  <a:gd name="connsiteY663" fmla="*/ 2782096 h 4122274"/>
                  <a:gd name="connsiteX664" fmla="*/ 1747977 w 5338201"/>
                  <a:gd name="connsiteY664" fmla="*/ 2782096 h 4122274"/>
                  <a:gd name="connsiteX665" fmla="*/ 1699203 w 5338201"/>
                  <a:gd name="connsiteY665" fmla="*/ 2801879 h 4122274"/>
                  <a:gd name="connsiteX666" fmla="*/ 1668049 w 5338201"/>
                  <a:gd name="connsiteY666" fmla="*/ 2903180 h 4122274"/>
                  <a:gd name="connsiteX667" fmla="*/ 1667784 w 5338201"/>
                  <a:gd name="connsiteY667" fmla="*/ 2903148 h 4122274"/>
                  <a:gd name="connsiteX668" fmla="*/ 1644324 w 5338201"/>
                  <a:gd name="connsiteY668" fmla="*/ 2950753 h 4122274"/>
                  <a:gd name="connsiteX669" fmla="*/ 1612621 w 5338201"/>
                  <a:gd name="connsiteY669" fmla="*/ 2970358 h 4122274"/>
                  <a:gd name="connsiteX670" fmla="*/ 1584605 w 5338201"/>
                  <a:gd name="connsiteY670" fmla="*/ 2975247 h 4122274"/>
                  <a:gd name="connsiteX671" fmla="*/ 1570880 w 5338201"/>
                  <a:gd name="connsiteY671" fmla="*/ 2973931 h 4122274"/>
                  <a:gd name="connsiteX672" fmla="*/ 1563640 w 5338201"/>
                  <a:gd name="connsiteY672" fmla="*/ 2972161 h 4122274"/>
                  <a:gd name="connsiteX673" fmla="*/ 1557685 w 5338201"/>
                  <a:gd name="connsiteY673" fmla="*/ 2970390 h 4122274"/>
                  <a:gd name="connsiteX674" fmla="*/ 1548460 w 5338201"/>
                  <a:gd name="connsiteY674" fmla="*/ 2966476 h 4122274"/>
                  <a:gd name="connsiteX675" fmla="*/ 1545813 w 5338201"/>
                  <a:gd name="connsiteY675" fmla="*/ 2965063 h 4122274"/>
                  <a:gd name="connsiteX676" fmla="*/ 1535246 w 5338201"/>
                  <a:gd name="connsiteY676" fmla="*/ 2958436 h 4122274"/>
                  <a:gd name="connsiteX677" fmla="*/ 1522636 w 5338201"/>
                  <a:gd name="connsiteY677" fmla="*/ 2968474 h 4122274"/>
                  <a:gd name="connsiteX678" fmla="*/ 1585097 w 5338201"/>
                  <a:gd name="connsiteY678" fmla="*/ 2990660 h 4122274"/>
                  <a:gd name="connsiteX679" fmla="*/ 1655194 w 5338201"/>
                  <a:gd name="connsiteY679" fmla="*/ 2961636 h 4122274"/>
                  <a:gd name="connsiteX680" fmla="*/ 1682964 w 5338201"/>
                  <a:gd name="connsiteY680" fmla="*/ 2905259 h 4122274"/>
                  <a:gd name="connsiteX681" fmla="*/ 1683059 w 5338201"/>
                  <a:gd name="connsiteY681" fmla="*/ 2904870 h 4122274"/>
                  <a:gd name="connsiteX682" fmla="*/ 1683078 w 5338201"/>
                  <a:gd name="connsiteY682" fmla="*/ 2904447 h 4122274"/>
                  <a:gd name="connsiteX683" fmla="*/ 1691018 w 5338201"/>
                  <a:gd name="connsiteY683" fmla="*/ 2857427 h 4122274"/>
                  <a:gd name="connsiteX684" fmla="*/ 1735348 w 5338201"/>
                  <a:gd name="connsiteY684" fmla="*/ 2963195 h 4122274"/>
                  <a:gd name="connsiteX685" fmla="*/ 1550558 w 5338201"/>
                  <a:gd name="connsiteY685" fmla="*/ 3044422 h 4122274"/>
                  <a:gd name="connsiteX686" fmla="*/ 1365825 w 5338201"/>
                  <a:gd name="connsiteY686" fmla="*/ 2963195 h 4122274"/>
                  <a:gd name="connsiteX687" fmla="*/ 1545038 w 5338201"/>
                  <a:gd name="connsiteY687" fmla="*/ 2800384 h 4122274"/>
                  <a:gd name="connsiteX688" fmla="*/ 1531257 w 5338201"/>
                  <a:gd name="connsiteY688" fmla="*/ 2812306 h 4122274"/>
                  <a:gd name="connsiteX689" fmla="*/ 1530746 w 5338201"/>
                  <a:gd name="connsiteY689" fmla="*/ 2828175 h 4122274"/>
                  <a:gd name="connsiteX690" fmla="*/ 1573659 w 5338201"/>
                  <a:gd name="connsiteY690" fmla="*/ 2808830 h 4122274"/>
                  <a:gd name="connsiteX691" fmla="*/ 1573622 w 5338201"/>
                  <a:gd name="connsiteY691" fmla="*/ 2808749 h 4122274"/>
                  <a:gd name="connsiteX692" fmla="*/ 1674930 w 5338201"/>
                  <a:gd name="connsiteY692" fmla="*/ 2777581 h 4122274"/>
                  <a:gd name="connsiteX693" fmla="*/ 1694704 w 5338201"/>
                  <a:gd name="connsiteY693" fmla="*/ 2729715 h 4122274"/>
                  <a:gd name="connsiteX694" fmla="*/ 1701415 w 5338201"/>
                  <a:gd name="connsiteY694" fmla="*/ 2711686 h 4122274"/>
                  <a:gd name="connsiteX695" fmla="*/ 1718150 w 5338201"/>
                  <a:gd name="connsiteY695" fmla="*/ 2704743 h 4122274"/>
                  <a:gd name="connsiteX696" fmla="*/ 4602261 w 5338201"/>
                  <a:gd name="connsiteY696" fmla="*/ 2674670 h 4122274"/>
                  <a:gd name="connsiteX697" fmla="*/ 4572624 w 5338201"/>
                  <a:gd name="connsiteY697" fmla="*/ 2690144 h 4122274"/>
                  <a:gd name="connsiteX698" fmla="*/ 4588116 w 5338201"/>
                  <a:gd name="connsiteY698" fmla="*/ 2719773 h 4122274"/>
                  <a:gd name="connsiteX699" fmla="*/ 4607068 w 5338201"/>
                  <a:gd name="connsiteY699" fmla="*/ 2725734 h 4122274"/>
                  <a:gd name="connsiteX700" fmla="*/ 4611691 w 5338201"/>
                  <a:gd name="connsiteY700" fmla="*/ 2696760 h 4122274"/>
                  <a:gd name="connsiteX701" fmla="*/ 4617141 w 5338201"/>
                  <a:gd name="connsiteY701" fmla="*/ 2679332 h 4122274"/>
                  <a:gd name="connsiteX702" fmla="*/ 4602261 w 5338201"/>
                  <a:gd name="connsiteY702" fmla="*/ 2674670 h 4122274"/>
                  <a:gd name="connsiteX703" fmla="*/ 4637975 w 5338201"/>
                  <a:gd name="connsiteY703" fmla="*/ 2639668 h 4122274"/>
                  <a:gd name="connsiteX704" fmla="*/ 4842925 w 5338201"/>
                  <a:gd name="connsiteY704" fmla="*/ 2703932 h 4122274"/>
                  <a:gd name="connsiteX705" fmla="*/ 4848160 w 5338201"/>
                  <a:gd name="connsiteY705" fmla="*/ 2713978 h 4122274"/>
                  <a:gd name="connsiteX706" fmla="*/ 4831933 w 5338201"/>
                  <a:gd name="connsiteY706" fmla="*/ 2765808 h 4122274"/>
                  <a:gd name="connsiteX707" fmla="*/ 4761989 w 5338201"/>
                  <a:gd name="connsiteY707" fmla="*/ 2833080 h 4122274"/>
                  <a:gd name="connsiteX708" fmla="*/ 4852707 w 5338201"/>
                  <a:gd name="connsiteY708" fmla="*/ 2861521 h 4122274"/>
                  <a:gd name="connsiteX709" fmla="*/ 4857958 w 5338201"/>
                  <a:gd name="connsiteY709" fmla="*/ 2871578 h 4122274"/>
                  <a:gd name="connsiteX710" fmla="*/ 4847900 w 5338201"/>
                  <a:gd name="connsiteY710" fmla="*/ 2876829 h 4122274"/>
                  <a:gd name="connsiteX711" fmla="*/ 4535179 w 5338201"/>
                  <a:gd name="connsiteY711" fmla="*/ 2778763 h 4122274"/>
                  <a:gd name="connsiteX712" fmla="*/ 4529928 w 5338201"/>
                  <a:gd name="connsiteY712" fmla="*/ 2768717 h 4122274"/>
                  <a:gd name="connsiteX713" fmla="*/ 4539986 w 5338201"/>
                  <a:gd name="connsiteY713" fmla="*/ 2763477 h 4122274"/>
                  <a:gd name="connsiteX714" fmla="*/ 4630704 w 5338201"/>
                  <a:gd name="connsiteY714" fmla="*/ 2791929 h 4122274"/>
                  <a:gd name="connsiteX715" fmla="*/ 4608354 w 5338201"/>
                  <a:gd name="connsiteY715" fmla="*/ 2742907 h 4122274"/>
                  <a:gd name="connsiteX716" fmla="*/ 4583324 w 5338201"/>
                  <a:gd name="connsiteY716" fmla="*/ 2735059 h 4122274"/>
                  <a:gd name="connsiteX717" fmla="*/ 4557346 w 5338201"/>
                  <a:gd name="connsiteY717" fmla="*/ 2685360 h 4122274"/>
                  <a:gd name="connsiteX718" fmla="*/ 4607037 w 5338201"/>
                  <a:gd name="connsiteY718" fmla="*/ 2659373 h 4122274"/>
                  <a:gd name="connsiteX719" fmla="*/ 4621947 w 5338201"/>
                  <a:gd name="connsiteY719" fmla="*/ 2664046 h 4122274"/>
                  <a:gd name="connsiteX720" fmla="*/ 4627933 w 5338201"/>
                  <a:gd name="connsiteY720" fmla="*/ 2644930 h 4122274"/>
                  <a:gd name="connsiteX721" fmla="*/ 4637975 w 5338201"/>
                  <a:gd name="connsiteY721" fmla="*/ 2639668 h 4122274"/>
                  <a:gd name="connsiteX722" fmla="*/ 753904 w 5338201"/>
                  <a:gd name="connsiteY722" fmla="*/ 2628407 h 4122274"/>
                  <a:gd name="connsiteX723" fmla="*/ 871506 w 5338201"/>
                  <a:gd name="connsiteY723" fmla="*/ 2628407 h 4122274"/>
                  <a:gd name="connsiteX724" fmla="*/ 888444 w 5338201"/>
                  <a:gd name="connsiteY724" fmla="*/ 2645362 h 4122274"/>
                  <a:gd name="connsiteX725" fmla="*/ 888444 w 5338201"/>
                  <a:gd name="connsiteY725" fmla="*/ 2772509 h 4122274"/>
                  <a:gd name="connsiteX726" fmla="*/ 871506 w 5338201"/>
                  <a:gd name="connsiteY726" fmla="*/ 2789456 h 4122274"/>
                  <a:gd name="connsiteX727" fmla="*/ 751933 w 5338201"/>
                  <a:gd name="connsiteY727" fmla="*/ 2789456 h 4122274"/>
                  <a:gd name="connsiteX728" fmla="*/ 747946 w 5338201"/>
                  <a:gd name="connsiteY728" fmla="*/ 2785161 h 4122274"/>
                  <a:gd name="connsiteX729" fmla="*/ 747946 w 5338201"/>
                  <a:gd name="connsiteY729" fmla="*/ 2634163 h 4122274"/>
                  <a:gd name="connsiteX730" fmla="*/ 753904 w 5338201"/>
                  <a:gd name="connsiteY730" fmla="*/ 2628407 h 4122274"/>
                  <a:gd name="connsiteX731" fmla="*/ 595773 w 5338201"/>
                  <a:gd name="connsiteY731" fmla="*/ 2628407 h 4122274"/>
                  <a:gd name="connsiteX732" fmla="*/ 713256 w 5338201"/>
                  <a:gd name="connsiteY732" fmla="*/ 2628407 h 4122274"/>
                  <a:gd name="connsiteX733" fmla="*/ 719339 w 5338201"/>
                  <a:gd name="connsiteY733" fmla="*/ 2635871 h 4122274"/>
                  <a:gd name="connsiteX734" fmla="*/ 719339 w 5338201"/>
                  <a:gd name="connsiteY734" fmla="*/ 2785311 h 4122274"/>
                  <a:gd name="connsiteX735" fmla="*/ 715091 w 5338201"/>
                  <a:gd name="connsiteY735" fmla="*/ 2789456 h 4122274"/>
                  <a:gd name="connsiteX736" fmla="*/ 595773 w 5338201"/>
                  <a:gd name="connsiteY736" fmla="*/ 2789456 h 4122274"/>
                  <a:gd name="connsiteX737" fmla="*/ 578836 w 5338201"/>
                  <a:gd name="connsiteY737" fmla="*/ 2772509 h 4122274"/>
                  <a:gd name="connsiteX738" fmla="*/ 578836 w 5338201"/>
                  <a:gd name="connsiteY738" fmla="*/ 2645362 h 4122274"/>
                  <a:gd name="connsiteX739" fmla="*/ 595773 w 5338201"/>
                  <a:gd name="connsiteY739" fmla="*/ 2628407 h 4122274"/>
                  <a:gd name="connsiteX740" fmla="*/ 2560629 w 5338201"/>
                  <a:gd name="connsiteY740" fmla="*/ 2612048 h 4122274"/>
                  <a:gd name="connsiteX741" fmla="*/ 2628368 w 5338201"/>
                  <a:gd name="connsiteY741" fmla="*/ 2679935 h 4122274"/>
                  <a:gd name="connsiteX742" fmla="*/ 2720233 w 5338201"/>
                  <a:gd name="connsiteY742" fmla="*/ 2651652 h 4122274"/>
                  <a:gd name="connsiteX743" fmla="*/ 2676335 w 5338201"/>
                  <a:gd name="connsiteY743" fmla="*/ 2737300 h 4122274"/>
                  <a:gd name="connsiteX744" fmla="*/ 2731603 w 5338201"/>
                  <a:gd name="connsiteY744" fmla="*/ 2816004 h 4122274"/>
                  <a:gd name="connsiteX745" fmla="*/ 2636662 w 5338201"/>
                  <a:gd name="connsiteY745" fmla="*/ 2800688 h 4122274"/>
                  <a:gd name="connsiteX746" fmla="*/ 2578856 w 5338201"/>
                  <a:gd name="connsiteY746" fmla="*/ 2877548 h 4122274"/>
                  <a:gd name="connsiteX747" fmla="*/ 2564136 w 5338201"/>
                  <a:gd name="connsiteY747" fmla="*/ 2782521 h 4122274"/>
                  <a:gd name="connsiteX748" fmla="*/ 2473096 w 5338201"/>
                  <a:gd name="connsiteY748" fmla="*/ 2751251 h 4122274"/>
                  <a:gd name="connsiteX749" fmla="*/ 2558906 w 5338201"/>
                  <a:gd name="connsiteY749" fmla="*/ 2707935 h 4122274"/>
                  <a:gd name="connsiteX750" fmla="*/ 4017378 w 5338201"/>
                  <a:gd name="connsiteY750" fmla="*/ 2582539 h 4122274"/>
                  <a:gd name="connsiteX751" fmla="*/ 3981098 w 5338201"/>
                  <a:gd name="connsiteY751" fmla="*/ 2594631 h 4122274"/>
                  <a:gd name="connsiteX752" fmla="*/ 3955589 w 5338201"/>
                  <a:gd name="connsiteY752" fmla="*/ 2613461 h 4122274"/>
                  <a:gd name="connsiteX753" fmla="*/ 3975967 w 5338201"/>
                  <a:gd name="connsiteY753" fmla="*/ 2625567 h 4122274"/>
                  <a:gd name="connsiteX754" fmla="*/ 3996818 w 5338201"/>
                  <a:gd name="connsiteY754" fmla="*/ 2625567 h 4122274"/>
                  <a:gd name="connsiteX755" fmla="*/ 4034100 w 5338201"/>
                  <a:gd name="connsiteY755" fmla="*/ 2611225 h 4122274"/>
                  <a:gd name="connsiteX756" fmla="*/ 4034100 w 5338201"/>
                  <a:gd name="connsiteY756" fmla="*/ 2596882 h 4122274"/>
                  <a:gd name="connsiteX757" fmla="*/ 4017378 w 5338201"/>
                  <a:gd name="connsiteY757" fmla="*/ 2582539 h 4122274"/>
                  <a:gd name="connsiteX758" fmla="*/ 3739179 w 5338201"/>
                  <a:gd name="connsiteY758" fmla="*/ 2582496 h 4122274"/>
                  <a:gd name="connsiteX759" fmla="*/ 3722476 w 5338201"/>
                  <a:gd name="connsiteY759" fmla="*/ 2596867 h 4122274"/>
                  <a:gd name="connsiteX760" fmla="*/ 3722476 w 5338201"/>
                  <a:gd name="connsiteY760" fmla="*/ 2611225 h 4122274"/>
                  <a:gd name="connsiteX761" fmla="*/ 3722439 w 5338201"/>
                  <a:gd name="connsiteY761" fmla="*/ 2611225 h 4122274"/>
                  <a:gd name="connsiteX762" fmla="*/ 3759739 w 5338201"/>
                  <a:gd name="connsiteY762" fmla="*/ 2625567 h 4122274"/>
                  <a:gd name="connsiteX763" fmla="*/ 3780608 w 5338201"/>
                  <a:gd name="connsiteY763" fmla="*/ 2625567 h 4122274"/>
                  <a:gd name="connsiteX764" fmla="*/ 3800968 w 5338201"/>
                  <a:gd name="connsiteY764" fmla="*/ 2613461 h 4122274"/>
                  <a:gd name="connsiteX765" fmla="*/ 3775459 w 5338201"/>
                  <a:gd name="connsiteY765" fmla="*/ 2594617 h 4122274"/>
                  <a:gd name="connsiteX766" fmla="*/ 3739179 w 5338201"/>
                  <a:gd name="connsiteY766" fmla="*/ 2582496 h 4122274"/>
                  <a:gd name="connsiteX767" fmla="*/ 2804862 w 5338201"/>
                  <a:gd name="connsiteY767" fmla="*/ 2558144 h 4122274"/>
                  <a:gd name="connsiteX768" fmla="*/ 3194592 w 5338201"/>
                  <a:gd name="connsiteY768" fmla="*/ 2707483 h 4122274"/>
                  <a:gd name="connsiteX769" fmla="*/ 3211245 w 5338201"/>
                  <a:gd name="connsiteY769" fmla="*/ 2728663 h 4122274"/>
                  <a:gd name="connsiteX770" fmla="*/ 3200637 w 5338201"/>
                  <a:gd name="connsiteY770" fmla="*/ 2753471 h 4122274"/>
                  <a:gd name="connsiteX771" fmla="*/ 3115051 w 5338201"/>
                  <a:gd name="connsiteY771" fmla="*/ 2815754 h 4122274"/>
                  <a:gd name="connsiteX772" fmla="*/ 2810907 w 5338201"/>
                  <a:gd name="connsiteY772" fmla="*/ 2576498 h 4122274"/>
                  <a:gd name="connsiteX773" fmla="*/ 3079853 w 5338201"/>
                  <a:gd name="connsiteY773" fmla="*/ 2841434 h 4122274"/>
                  <a:gd name="connsiteX774" fmla="*/ 2962755 w 5338201"/>
                  <a:gd name="connsiteY774" fmla="*/ 2926589 h 4122274"/>
                  <a:gd name="connsiteX775" fmla="*/ 2936878 w 5338201"/>
                  <a:gd name="connsiteY775" fmla="*/ 2930968 h 4122274"/>
                  <a:gd name="connsiteX776" fmla="*/ 2917807 w 5338201"/>
                  <a:gd name="connsiteY776" fmla="*/ 2912929 h 4122274"/>
                  <a:gd name="connsiteX777" fmla="*/ 2792635 w 5338201"/>
                  <a:gd name="connsiteY777" fmla="*/ 2570199 h 4122274"/>
                  <a:gd name="connsiteX778" fmla="*/ 2794878 w 5338201"/>
                  <a:gd name="connsiteY778" fmla="*/ 2560220 h 4122274"/>
                  <a:gd name="connsiteX779" fmla="*/ 2804862 w 5338201"/>
                  <a:gd name="connsiteY779" fmla="*/ 2558144 h 4122274"/>
                  <a:gd name="connsiteX780" fmla="*/ 4824790 w 5338201"/>
                  <a:gd name="connsiteY780" fmla="*/ 2547527 h 4122274"/>
                  <a:gd name="connsiteX781" fmla="*/ 4835591 w 5338201"/>
                  <a:gd name="connsiteY781" fmla="*/ 2550910 h 4122274"/>
                  <a:gd name="connsiteX782" fmla="*/ 4832207 w 5338201"/>
                  <a:gd name="connsiteY782" fmla="*/ 2561738 h 4122274"/>
                  <a:gd name="connsiteX783" fmla="*/ 4831467 w 5338201"/>
                  <a:gd name="connsiteY783" fmla="*/ 2562128 h 4122274"/>
                  <a:gd name="connsiteX784" fmla="*/ 4817623 w 5338201"/>
                  <a:gd name="connsiteY784" fmla="*/ 2606270 h 4122274"/>
                  <a:gd name="connsiteX785" fmla="*/ 4820943 w 5338201"/>
                  <a:gd name="connsiteY785" fmla="*/ 2643434 h 4122274"/>
                  <a:gd name="connsiteX786" fmla="*/ 4796994 w 5338201"/>
                  <a:gd name="connsiteY786" fmla="*/ 2672063 h 4122274"/>
                  <a:gd name="connsiteX787" fmla="*/ 4790879 w 5338201"/>
                  <a:gd name="connsiteY787" fmla="*/ 2672602 h 4122274"/>
                  <a:gd name="connsiteX788" fmla="*/ 4786180 w 5338201"/>
                  <a:gd name="connsiteY788" fmla="*/ 2668657 h 4122274"/>
                  <a:gd name="connsiteX789" fmla="*/ 4789566 w 5338201"/>
                  <a:gd name="connsiteY789" fmla="*/ 2657846 h 4122274"/>
                  <a:gd name="connsiteX790" fmla="*/ 4805650 w 5338201"/>
                  <a:gd name="connsiteY790" fmla="*/ 2638649 h 4122274"/>
                  <a:gd name="connsiteX791" fmla="*/ 4803408 w 5338201"/>
                  <a:gd name="connsiteY791" fmla="*/ 2613692 h 4122274"/>
                  <a:gd name="connsiteX792" fmla="*/ 4824039 w 5338201"/>
                  <a:gd name="connsiteY792" fmla="*/ 2547929 h 4122274"/>
                  <a:gd name="connsiteX793" fmla="*/ 4781156 w 5338201"/>
                  <a:gd name="connsiteY793" fmla="*/ 2531174 h 4122274"/>
                  <a:gd name="connsiteX794" fmla="*/ 4791979 w 5338201"/>
                  <a:gd name="connsiteY794" fmla="*/ 2534562 h 4122274"/>
                  <a:gd name="connsiteX795" fmla="*/ 4788584 w 5338201"/>
                  <a:gd name="connsiteY795" fmla="*/ 2545361 h 4122274"/>
                  <a:gd name="connsiteX796" fmla="*/ 4787836 w 5338201"/>
                  <a:gd name="connsiteY796" fmla="*/ 2545769 h 4122274"/>
                  <a:gd name="connsiteX797" fmla="*/ 4771768 w 5338201"/>
                  <a:gd name="connsiteY797" fmla="*/ 2564978 h 4122274"/>
                  <a:gd name="connsiteX798" fmla="*/ 4774000 w 5338201"/>
                  <a:gd name="connsiteY798" fmla="*/ 2589917 h 4122274"/>
                  <a:gd name="connsiteX799" fmla="*/ 4777310 w 5338201"/>
                  <a:gd name="connsiteY799" fmla="*/ 2627075 h 4122274"/>
                  <a:gd name="connsiteX800" fmla="*/ 4753371 w 5338201"/>
                  <a:gd name="connsiteY800" fmla="*/ 2655710 h 4122274"/>
                  <a:gd name="connsiteX801" fmla="*/ 4747256 w 5338201"/>
                  <a:gd name="connsiteY801" fmla="*/ 2656243 h 4122274"/>
                  <a:gd name="connsiteX802" fmla="*/ 4742560 w 5338201"/>
                  <a:gd name="connsiteY802" fmla="*/ 2652304 h 4122274"/>
                  <a:gd name="connsiteX803" fmla="*/ 4745942 w 5338201"/>
                  <a:gd name="connsiteY803" fmla="*/ 2641487 h 4122274"/>
                  <a:gd name="connsiteX804" fmla="*/ 4762010 w 5338201"/>
                  <a:gd name="connsiteY804" fmla="*/ 2622284 h 4122274"/>
                  <a:gd name="connsiteX805" fmla="*/ 4759785 w 5338201"/>
                  <a:gd name="connsiteY805" fmla="*/ 2597339 h 4122274"/>
                  <a:gd name="connsiteX806" fmla="*/ 4756478 w 5338201"/>
                  <a:gd name="connsiteY806" fmla="*/ 2560182 h 4122274"/>
                  <a:gd name="connsiteX807" fmla="*/ 4780418 w 5338201"/>
                  <a:gd name="connsiteY807" fmla="*/ 2531564 h 4122274"/>
                  <a:gd name="connsiteX808" fmla="*/ 4737535 w 5338201"/>
                  <a:gd name="connsiteY808" fmla="*/ 2520262 h 4122274"/>
                  <a:gd name="connsiteX809" fmla="*/ 4748346 w 5338201"/>
                  <a:gd name="connsiteY809" fmla="*/ 2523657 h 4122274"/>
                  <a:gd name="connsiteX810" fmla="*/ 4744964 w 5338201"/>
                  <a:gd name="connsiteY810" fmla="*/ 2534475 h 4122274"/>
                  <a:gd name="connsiteX811" fmla="*/ 4744216 w 5338201"/>
                  <a:gd name="connsiteY811" fmla="*/ 2534859 h 4122274"/>
                  <a:gd name="connsiteX812" fmla="*/ 4730370 w 5338201"/>
                  <a:gd name="connsiteY812" fmla="*/ 2579005 h 4122274"/>
                  <a:gd name="connsiteX813" fmla="*/ 4733677 w 5338201"/>
                  <a:gd name="connsiteY813" fmla="*/ 2616185 h 4122274"/>
                  <a:gd name="connsiteX814" fmla="*/ 4709749 w 5338201"/>
                  <a:gd name="connsiteY814" fmla="*/ 2644799 h 4122274"/>
                  <a:gd name="connsiteX815" fmla="*/ 4703634 w 5338201"/>
                  <a:gd name="connsiteY815" fmla="*/ 2645338 h 4122274"/>
                  <a:gd name="connsiteX816" fmla="*/ 4698936 w 5338201"/>
                  <a:gd name="connsiteY816" fmla="*/ 2641398 h 4122274"/>
                  <a:gd name="connsiteX817" fmla="*/ 4702318 w 5338201"/>
                  <a:gd name="connsiteY817" fmla="*/ 2630587 h 4122274"/>
                  <a:gd name="connsiteX818" fmla="*/ 4718387 w 5338201"/>
                  <a:gd name="connsiteY818" fmla="*/ 2611376 h 4122274"/>
                  <a:gd name="connsiteX819" fmla="*/ 4716164 w 5338201"/>
                  <a:gd name="connsiteY819" fmla="*/ 2586428 h 4122274"/>
                  <a:gd name="connsiteX820" fmla="*/ 4736785 w 5338201"/>
                  <a:gd name="connsiteY820" fmla="*/ 2520652 h 4122274"/>
                  <a:gd name="connsiteX821" fmla="*/ 756293 w 5338201"/>
                  <a:gd name="connsiteY821" fmla="*/ 2519345 h 4122274"/>
                  <a:gd name="connsiteX822" fmla="*/ 893318 w 5338201"/>
                  <a:gd name="connsiteY822" fmla="*/ 2519345 h 4122274"/>
                  <a:gd name="connsiteX823" fmla="*/ 910257 w 5338201"/>
                  <a:gd name="connsiteY823" fmla="*/ 2536292 h 4122274"/>
                  <a:gd name="connsiteX824" fmla="*/ 910257 w 5338201"/>
                  <a:gd name="connsiteY824" fmla="*/ 2589172 h 4122274"/>
                  <a:gd name="connsiteX825" fmla="*/ 893318 w 5338201"/>
                  <a:gd name="connsiteY825" fmla="*/ 2606127 h 4122274"/>
                  <a:gd name="connsiteX826" fmla="*/ 755828 w 5338201"/>
                  <a:gd name="connsiteY826" fmla="*/ 2606127 h 4122274"/>
                  <a:gd name="connsiteX827" fmla="*/ 750625 w 5338201"/>
                  <a:gd name="connsiteY827" fmla="*/ 2601599 h 4122274"/>
                  <a:gd name="connsiteX828" fmla="*/ 750625 w 5338201"/>
                  <a:gd name="connsiteY828" fmla="*/ 2525090 h 4122274"/>
                  <a:gd name="connsiteX829" fmla="*/ 756293 w 5338201"/>
                  <a:gd name="connsiteY829" fmla="*/ 2519345 h 4122274"/>
                  <a:gd name="connsiteX830" fmla="*/ 576707 w 5338201"/>
                  <a:gd name="connsiteY830" fmla="*/ 2519345 h 4122274"/>
                  <a:gd name="connsiteX831" fmla="*/ 714158 w 5338201"/>
                  <a:gd name="connsiteY831" fmla="*/ 2519345 h 4122274"/>
                  <a:gd name="connsiteX832" fmla="*/ 719398 w 5338201"/>
                  <a:gd name="connsiteY832" fmla="*/ 2524331 h 4122274"/>
                  <a:gd name="connsiteX833" fmla="*/ 719398 w 5338201"/>
                  <a:gd name="connsiteY833" fmla="*/ 2601704 h 4122274"/>
                  <a:gd name="connsiteX834" fmla="*/ 713027 w 5338201"/>
                  <a:gd name="connsiteY834" fmla="*/ 2606127 h 4122274"/>
                  <a:gd name="connsiteX835" fmla="*/ 576707 w 5338201"/>
                  <a:gd name="connsiteY835" fmla="*/ 2606127 h 4122274"/>
                  <a:gd name="connsiteX836" fmla="*/ 559760 w 5338201"/>
                  <a:gd name="connsiteY836" fmla="*/ 2589172 h 4122274"/>
                  <a:gd name="connsiteX837" fmla="*/ 559760 w 5338201"/>
                  <a:gd name="connsiteY837" fmla="*/ 2536292 h 4122274"/>
                  <a:gd name="connsiteX838" fmla="*/ 576707 w 5338201"/>
                  <a:gd name="connsiteY838" fmla="*/ 2519345 h 4122274"/>
                  <a:gd name="connsiteX839" fmla="*/ 3381748 w 5338201"/>
                  <a:gd name="connsiteY839" fmla="*/ 2513892 h 4122274"/>
                  <a:gd name="connsiteX840" fmla="*/ 3433663 w 5338201"/>
                  <a:gd name="connsiteY840" fmla="*/ 2565185 h 4122274"/>
                  <a:gd name="connsiteX841" fmla="*/ 3430332 w 5338201"/>
                  <a:gd name="connsiteY841" fmla="*/ 2591620 h 4122274"/>
                  <a:gd name="connsiteX842" fmla="*/ 3435057 w 5338201"/>
                  <a:gd name="connsiteY842" fmla="*/ 2604223 h 4122274"/>
                  <a:gd name="connsiteX843" fmla="*/ 3422913 w 5338201"/>
                  <a:gd name="connsiteY843" fmla="*/ 2629718 h 4122274"/>
                  <a:gd name="connsiteX844" fmla="*/ 3408773 w 5338201"/>
                  <a:gd name="connsiteY844" fmla="*/ 2666302 h 4122274"/>
                  <a:gd name="connsiteX845" fmla="*/ 3426726 w 5338201"/>
                  <a:gd name="connsiteY845" fmla="*/ 2702674 h 4122274"/>
                  <a:gd name="connsiteX846" fmla="*/ 3346926 w 5338201"/>
                  <a:gd name="connsiteY846" fmla="*/ 2776554 h 4122274"/>
                  <a:gd name="connsiteX847" fmla="*/ 3346926 w 5338201"/>
                  <a:gd name="connsiteY847" fmla="*/ 2841102 h 4122274"/>
                  <a:gd name="connsiteX848" fmla="*/ 3249155 w 5338201"/>
                  <a:gd name="connsiteY848" fmla="*/ 2841102 h 4122274"/>
                  <a:gd name="connsiteX849" fmla="*/ 3255016 w 5338201"/>
                  <a:gd name="connsiteY849" fmla="*/ 2750377 h 4122274"/>
                  <a:gd name="connsiteX850" fmla="*/ 3312241 w 5338201"/>
                  <a:gd name="connsiteY850" fmla="*/ 2715429 h 4122274"/>
                  <a:gd name="connsiteX851" fmla="*/ 3354723 w 5338201"/>
                  <a:gd name="connsiteY851" fmla="*/ 2666302 h 4122274"/>
                  <a:gd name="connsiteX852" fmla="*/ 3340574 w 5338201"/>
                  <a:gd name="connsiteY852" fmla="*/ 2629718 h 4122274"/>
                  <a:gd name="connsiteX853" fmla="*/ 3328439 w 5338201"/>
                  <a:gd name="connsiteY853" fmla="*/ 2604223 h 4122274"/>
                  <a:gd name="connsiteX854" fmla="*/ 3333172 w 5338201"/>
                  <a:gd name="connsiteY854" fmla="*/ 2591620 h 4122274"/>
                  <a:gd name="connsiteX855" fmla="*/ 3329842 w 5338201"/>
                  <a:gd name="connsiteY855" fmla="*/ 2565185 h 4122274"/>
                  <a:gd name="connsiteX856" fmla="*/ 3381748 w 5338201"/>
                  <a:gd name="connsiteY856" fmla="*/ 2513892 h 4122274"/>
                  <a:gd name="connsiteX857" fmla="*/ 3556599 w 5338201"/>
                  <a:gd name="connsiteY857" fmla="*/ 2459360 h 4122274"/>
                  <a:gd name="connsiteX858" fmla="*/ 3625825 w 5338201"/>
                  <a:gd name="connsiteY858" fmla="*/ 2527781 h 4122274"/>
                  <a:gd name="connsiteX859" fmla="*/ 3621369 w 5338201"/>
                  <a:gd name="connsiteY859" fmla="*/ 2563026 h 4122274"/>
                  <a:gd name="connsiteX860" fmla="*/ 3627683 w 5338201"/>
                  <a:gd name="connsiteY860" fmla="*/ 2579817 h 4122274"/>
                  <a:gd name="connsiteX861" fmla="*/ 3611480 w 5338201"/>
                  <a:gd name="connsiteY861" fmla="*/ 2613806 h 4122274"/>
                  <a:gd name="connsiteX862" fmla="*/ 3592609 w 5338201"/>
                  <a:gd name="connsiteY862" fmla="*/ 2662587 h 4122274"/>
                  <a:gd name="connsiteX863" fmla="*/ 3649291 w 5338201"/>
                  <a:gd name="connsiteY863" fmla="*/ 2728088 h 4122274"/>
                  <a:gd name="connsiteX864" fmla="*/ 3685902 w 5338201"/>
                  <a:gd name="connsiteY864" fmla="*/ 2762449 h 4122274"/>
                  <a:gd name="connsiteX865" fmla="*/ 3685902 w 5338201"/>
                  <a:gd name="connsiteY865" fmla="*/ 2841538 h 4122274"/>
                  <a:gd name="connsiteX866" fmla="*/ 3384190 w 5338201"/>
                  <a:gd name="connsiteY866" fmla="*/ 2841538 h 4122274"/>
                  <a:gd name="connsiteX867" fmla="*/ 3384190 w 5338201"/>
                  <a:gd name="connsiteY867" fmla="*/ 2782230 h 4122274"/>
                  <a:gd name="connsiteX868" fmla="*/ 3463892 w 5338201"/>
                  <a:gd name="connsiteY868" fmla="*/ 2728088 h 4122274"/>
                  <a:gd name="connsiteX869" fmla="*/ 3520575 w 5338201"/>
                  <a:gd name="connsiteY869" fmla="*/ 2662587 h 4122274"/>
                  <a:gd name="connsiteX870" fmla="*/ 3501690 w 5338201"/>
                  <a:gd name="connsiteY870" fmla="*/ 2613806 h 4122274"/>
                  <a:gd name="connsiteX871" fmla="*/ 3485515 w 5338201"/>
                  <a:gd name="connsiteY871" fmla="*/ 2579817 h 4122274"/>
                  <a:gd name="connsiteX872" fmla="*/ 3491843 w 5338201"/>
                  <a:gd name="connsiteY872" fmla="*/ 2563026 h 4122274"/>
                  <a:gd name="connsiteX873" fmla="*/ 3487359 w 5338201"/>
                  <a:gd name="connsiteY873" fmla="*/ 2527781 h 4122274"/>
                  <a:gd name="connsiteX874" fmla="*/ 3556599 w 5338201"/>
                  <a:gd name="connsiteY874" fmla="*/ 2459360 h 4122274"/>
                  <a:gd name="connsiteX875" fmla="*/ 826371 w 5338201"/>
                  <a:gd name="connsiteY875" fmla="*/ 2453786 h 4122274"/>
                  <a:gd name="connsiteX876" fmla="*/ 816903 w 5338201"/>
                  <a:gd name="connsiteY876" fmla="*/ 2454828 h 4122274"/>
                  <a:gd name="connsiteX877" fmla="*/ 773559 w 5338201"/>
                  <a:gd name="connsiteY877" fmla="*/ 2476728 h 4122274"/>
                  <a:gd name="connsiteX878" fmla="*/ 774049 w 5338201"/>
                  <a:gd name="connsiteY878" fmla="*/ 2478092 h 4122274"/>
                  <a:gd name="connsiteX879" fmla="*/ 806157 w 5338201"/>
                  <a:gd name="connsiteY879" fmla="*/ 2482237 h 4122274"/>
                  <a:gd name="connsiteX880" fmla="*/ 821990 w 5338201"/>
                  <a:gd name="connsiteY880" fmla="*/ 2480889 h 4122274"/>
                  <a:gd name="connsiteX881" fmla="*/ 838146 w 5338201"/>
                  <a:gd name="connsiteY881" fmla="*/ 2473576 h 4122274"/>
                  <a:gd name="connsiteX882" fmla="*/ 839000 w 5338201"/>
                  <a:gd name="connsiteY882" fmla="*/ 2464041 h 4122274"/>
                  <a:gd name="connsiteX883" fmla="*/ 826371 w 5338201"/>
                  <a:gd name="connsiteY883" fmla="*/ 2453786 h 4122274"/>
                  <a:gd name="connsiteX884" fmla="*/ 643732 w 5338201"/>
                  <a:gd name="connsiteY884" fmla="*/ 2453786 h 4122274"/>
                  <a:gd name="connsiteX885" fmla="*/ 631114 w 5338201"/>
                  <a:gd name="connsiteY885" fmla="*/ 2464057 h 4122274"/>
                  <a:gd name="connsiteX886" fmla="*/ 631975 w 5338201"/>
                  <a:gd name="connsiteY886" fmla="*/ 2473576 h 4122274"/>
                  <a:gd name="connsiteX887" fmla="*/ 648107 w 5338201"/>
                  <a:gd name="connsiteY887" fmla="*/ 2480889 h 4122274"/>
                  <a:gd name="connsiteX888" fmla="*/ 663958 w 5338201"/>
                  <a:gd name="connsiteY888" fmla="*/ 2482237 h 4122274"/>
                  <a:gd name="connsiteX889" fmla="*/ 696342 w 5338201"/>
                  <a:gd name="connsiteY889" fmla="*/ 2478023 h 4122274"/>
                  <a:gd name="connsiteX890" fmla="*/ 696342 w 5338201"/>
                  <a:gd name="connsiteY890" fmla="*/ 2476571 h 4122274"/>
                  <a:gd name="connsiteX891" fmla="*/ 653217 w 5338201"/>
                  <a:gd name="connsiteY891" fmla="*/ 2454828 h 4122274"/>
                  <a:gd name="connsiteX892" fmla="*/ 643732 w 5338201"/>
                  <a:gd name="connsiteY892" fmla="*/ 2453786 h 4122274"/>
                  <a:gd name="connsiteX893" fmla="*/ 1510197 w 5338201"/>
                  <a:gd name="connsiteY893" fmla="*/ 2448454 h 4122274"/>
                  <a:gd name="connsiteX894" fmla="*/ 1602805 w 5338201"/>
                  <a:gd name="connsiteY894" fmla="*/ 2559615 h 4122274"/>
                  <a:gd name="connsiteX895" fmla="*/ 1547283 w 5338201"/>
                  <a:gd name="connsiteY895" fmla="*/ 2559615 h 4122274"/>
                  <a:gd name="connsiteX896" fmla="*/ 1547283 w 5338201"/>
                  <a:gd name="connsiteY896" fmla="*/ 2707750 h 4122274"/>
                  <a:gd name="connsiteX897" fmla="*/ 1473197 w 5338201"/>
                  <a:gd name="connsiteY897" fmla="*/ 2707750 h 4122274"/>
                  <a:gd name="connsiteX898" fmla="*/ 1473197 w 5338201"/>
                  <a:gd name="connsiteY898" fmla="*/ 2559615 h 4122274"/>
                  <a:gd name="connsiteX899" fmla="*/ 1417590 w 5338201"/>
                  <a:gd name="connsiteY899" fmla="*/ 2559615 h 4122274"/>
                  <a:gd name="connsiteX900" fmla="*/ 3878260 w 5338201"/>
                  <a:gd name="connsiteY900" fmla="*/ 2439112 h 4122274"/>
                  <a:gd name="connsiteX901" fmla="*/ 3776696 w 5338201"/>
                  <a:gd name="connsiteY901" fmla="*/ 2456499 h 4122274"/>
                  <a:gd name="connsiteX902" fmla="*/ 3751879 w 5338201"/>
                  <a:gd name="connsiteY902" fmla="*/ 2532383 h 4122274"/>
                  <a:gd name="connsiteX903" fmla="*/ 3878279 w 5338201"/>
                  <a:gd name="connsiteY903" fmla="*/ 2546610 h 4122274"/>
                  <a:gd name="connsiteX904" fmla="*/ 4004988 w 5338201"/>
                  <a:gd name="connsiteY904" fmla="*/ 2532397 h 4122274"/>
                  <a:gd name="connsiteX905" fmla="*/ 3981134 w 5338201"/>
                  <a:gd name="connsiteY905" fmla="*/ 2459053 h 4122274"/>
                  <a:gd name="connsiteX906" fmla="*/ 3878260 w 5338201"/>
                  <a:gd name="connsiteY906" fmla="*/ 2439112 h 4122274"/>
                  <a:gd name="connsiteX907" fmla="*/ 826371 w 5338201"/>
                  <a:gd name="connsiteY907" fmla="*/ 2426642 h 4122274"/>
                  <a:gd name="connsiteX908" fmla="*/ 865658 w 5338201"/>
                  <a:gd name="connsiteY908" fmla="*/ 2458843 h 4122274"/>
                  <a:gd name="connsiteX909" fmla="*/ 860338 w 5338201"/>
                  <a:gd name="connsiteY909" fmla="*/ 2489224 h 4122274"/>
                  <a:gd name="connsiteX910" fmla="*/ 827196 w 5338201"/>
                  <a:gd name="connsiteY910" fmla="*/ 2507546 h 4122274"/>
                  <a:gd name="connsiteX911" fmla="*/ 806157 w 5338201"/>
                  <a:gd name="connsiteY911" fmla="*/ 2509385 h 4122274"/>
                  <a:gd name="connsiteX912" fmla="*/ 767851 w 5338201"/>
                  <a:gd name="connsiteY912" fmla="*/ 2504551 h 4122274"/>
                  <a:gd name="connsiteX913" fmla="*/ 740147 w 5338201"/>
                  <a:gd name="connsiteY913" fmla="*/ 2483367 h 4122274"/>
                  <a:gd name="connsiteX914" fmla="*/ 766010 w 5338201"/>
                  <a:gd name="connsiteY914" fmla="*/ 2448653 h 4122274"/>
                  <a:gd name="connsiteX915" fmla="*/ 811704 w 5338201"/>
                  <a:gd name="connsiteY915" fmla="*/ 2428174 h 4122274"/>
                  <a:gd name="connsiteX916" fmla="*/ 826371 w 5338201"/>
                  <a:gd name="connsiteY916" fmla="*/ 2426642 h 4122274"/>
                  <a:gd name="connsiteX917" fmla="*/ 643732 w 5338201"/>
                  <a:gd name="connsiteY917" fmla="*/ 2426642 h 4122274"/>
                  <a:gd name="connsiteX918" fmla="*/ 658417 w 5338201"/>
                  <a:gd name="connsiteY918" fmla="*/ 2428174 h 4122274"/>
                  <a:gd name="connsiteX919" fmla="*/ 704106 w 5338201"/>
                  <a:gd name="connsiteY919" fmla="*/ 2448653 h 4122274"/>
                  <a:gd name="connsiteX920" fmla="*/ 729975 w 5338201"/>
                  <a:gd name="connsiteY920" fmla="*/ 2483367 h 4122274"/>
                  <a:gd name="connsiteX921" fmla="*/ 702271 w 5338201"/>
                  <a:gd name="connsiteY921" fmla="*/ 2504551 h 4122274"/>
                  <a:gd name="connsiteX922" fmla="*/ 663958 w 5338201"/>
                  <a:gd name="connsiteY922" fmla="*/ 2509385 h 4122274"/>
                  <a:gd name="connsiteX923" fmla="*/ 642919 w 5338201"/>
                  <a:gd name="connsiteY923" fmla="*/ 2507566 h 4122274"/>
                  <a:gd name="connsiteX924" fmla="*/ 609782 w 5338201"/>
                  <a:gd name="connsiteY924" fmla="*/ 2489224 h 4122274"/>
                  <a:gd name="connsiteX925" fmla="*/ 604474 w 5338201"/>
                  <a:gd name="connsiteY925" fmla="*/ 2458843 h 4122274"/>
                  <a:gd name="connsiteX926" fmla="*/ 643732 w 5338201"/>
                  <a:gd name="connsiteY926" fmla="*/ 2426642 h 4122274"/>
                  <a:gd name="connsiteX927" fmla="*/ 444380 w 5338201"/>
                  <a:gd name="connsiteY927" fmla="*/ 2417528 h 4122274"/>
                  <a:gd name="connsiteX928" fmla="*/ 444380 w 5338201"/>
                  <a:gd name="connsiteY928" fmla="*/ 2468840 h 4122274"/>
                  <a:gd name="connsiteX929" fmla="*/ 428911 w 5338201"/>
                  <a:gd name="connsiteY929" fmla="*/ 2484265 h 4122274"/>
                  <a:gd name="connsiteX930" fmla="*/ 348533 w 5338201"/>
                  <a:gd name="connsiteY930" fmla="*/ 2484265 h 4122274"/>
                  <a:gd name="connsiteX931" fmla="*/ 336135 w 5338201"/>
                  <a:gd name="connsiteY931" fmla="*/ 2508084 h 4122274"/>
                  <a:gd name="connsiteX932" fmla="*/ 336122 w 5338201"/>
                  <a:gd name="connsiteY932" fmla="*/ 2509059 h 4122274"/>
                  <a:gd name="connsiteX933" fmla="*/ 428938 w 5338201"/>
                  <a:gd name="connsiteY933" fmla="*/ 2601863 h 4122274"/>
                  <a:gd name="connsiteX934" fmla="*/ 521740 w 5338201"/>
                  <a:gd name="connsiteY934" fmla="*/ 2509059 h 4122274"/>
                  <a:gd name="connsiteX935" fmla="*/ 444380 w 5338201"/>
                  <a:gd name="connsiteY935" fmla="*/ 2417528 h 4122274"/>
                  <a:gd name="connsiteX936" fmla="*/ 3878279 w 5338201"/>
                  <a:gd name="connsiteY936" fmla="*/ 2410282 h 4122274"/>
                  <a:gd name="connsiteX937" fmla="*/ 3963376 w 5338201"/>
                  <a:gd name="connsiteY937" fmla="*/ 2417742 h 4122274"/>
                  <a:gd name="connsiteX938" fmla="*/ 4003841 w 5338201"/>
                  <a:gd name="connsiteY938" fmla="*/ 2443340 h 4122274"/>
                  <a:gd name="connsiteX939" fmla="*/ 4034645 w 5338201"/>
                  <a:gd name="connsiteY939" fmla="*/ 2527160 h 4122274"/>
                  <a:gd name="connsiteX940" fmla="*/ 4050439 w 5338201"/>
                  <a:gd name="connsiteY940" fmla="*/ 2527160 h 4122274"/>
                  <a:gd name="connsiteX941" fmla="*/ 4067887 w 5338201"/>
                  <a:gd name="connsiteY941" fmla="*/ 2540160 h 4122274"/>
                  <a:gd name="connsiteX942" fmla="*/ 4072327 w 5338201"/>
                  <a:gd name="connsiteY942" fmla="*/ 2553118 h 4122274"/>
                  <a:gd name="connsiteX943" fmla="*/ 4063794 w 5338201"/>
                  <a:gd name="connsiteY943" fmla="*/ 2566090 h 4122274"/>
                  <a:gd name="connsiteX944" fmla="*/ 4048219 w 5338201"/>
                  <a:gd name="connsiteY944" fmla="*/ 2566090 h 4122274"/>
                  <a:gd name="connsiteX945" fmla="*/ 4051439 w 5338201"/>
                  <a:gd name="connsiteY945" fmla="*/ 2575483 h 4122274"/>
                  <a:gd name="connsiteX946" fmla="*/ 4053586 w 5338201"/>
                  <a:gd name="connsiteY946" fmla="*/ 2589927 h 4122274"/>
                  <a:gd name="connsiteX947" fmla="*/ 4053586 w 5338201"/>
                  <a:gd name="connsiteY947" fmla="*/ 2708204 h 4122274"/>
                  <a:gd name="connsiteX948" fmla="*/ 4039849 w 5338201"/>
                  <a:gd name="connsiteY948" fmla="*/ 2721955 h 4122274"/>
                  <a:gd name="connsiteX949" fmla="*/ 3989431 w 5338201"/>
                  <a:gd name="connsiteY949" fmla="*/ 2721955 h 4122274"/>
                  <a:gd name="connsiteX950" fmla="*/ 3975676 w 5338201"/>
                  <a:gd name="connsiteY950" fmla="*/ 2708204 h 4122274"/>
                  <a:gd name="connsiteX951" fmla="*/ 3975676 w 5338201"/>
                  <a:gd name="connsiteY951" fmla="*/ 2682982 h 4122274"/>
                  <a:gd name="connsiteX952" fmla="*/ 3780881 w 5338201"/>
                  <a:gd name="connsiteY952" fmla="*/ 2682982 h 4122274"/>
                  <a:gd name="connsiteX953" fmla="*/ 3780881 w 5338201"/>
                  <a:gd name="connsiteY953" fmla="*/ 2708204 h 4122274"/>
                  <a:gd name="connsiteX954" fmla="*/ 3767126 w 5338201"/>
                  <a:gd name="connsiteY954" fmla="*/ 2721955 h 4122274"/>
                  <a:gd name="connsiteX955" fmla="*/ 3716726 w 5338201"/>
                  <a:gd name="connsiteY955" fmla="*/ 2721955 h 4122274"/>
                  <a:gd name="connsiteX956" fmla="*/ 3702953 w 5338201"/>
                  <a:gd name="connsiteY956" fmla="*/ 2708204 h 4122274"/>
                  <a:gd name="connsiteX957" fmla="*/ 3702953 w 5338201"/>
                  <a:gd name="connsiteY957" fmla="*/ 2589898 h 4122274"/>
                  <a:gd name="connsiteX958" fmla="*/ 3705118 w 5338201"/>
                  <a:gd name="connsiteY958" fmla="*/ 2575483 h 4122274"/>
                  <a:gd name="connsiteX959" fmla="*/ 3708411 w 5338201"/>
                  <a:gd name="connsiteY959" fmla="*/ 2566090 h 4122274"/>
                  <a:gd name="connsiteX960" fmla="*/ 3692763 w 5338201"/>
                  <a:gd name="connsiteY960" fmla="*/ 2566090 h 4122274"/>
                  <a:gd name="connsiteX961" fmla="*/ 3684230 w 5338201"/>
                  <a:gd name="connsiteY961" fmla="*/ 2553118 h 4122274"/>
                  <a:gd name="connsiteX962" fmla="*/ 3688651 w 5338201"/>
                  <a:gd name="connsiteY962" fmla="*/ 2540160 h 4122274"/>
                  <a:gd name="connsiteX963" fmla="*/ 3706118 w 5338201"/>
                  <a:gd name="connsiteY963" fmla="*/ 2527174 h 4122274"/>
                  <a:gd name="connsiteX964" fmla="*/ 3722221 w 5338201"/>
                  <a:gd name="connsiteY964" fmla="*/ 2527174 h 4122274"/>
                  <a:gd name="connsiteX965" fmla="*/ 3753389 w 5338201"/>
                  <a:gd name="connsiteY965" fmla="*/ 2442661 h 4122274"/>
                  <a:gd name="connsiteX966" fmla="*/ 3793199 w 5338201"/>
                  <a:gd name="connsiteY966" fmla="*/ 2417742 h 4122274"/>
                  <a:gd name="connsiteX967" fmla="*/ 3878279 w 5338201"/>
                  <a:gd name="connsiteY967" fmla="*/ 2410282 h 4122274"/>
                  <a:gd name="connsiteX968" fmla="*/ 2658974 w 5338201"/>
                  <a:gd name="connsiteY968" fmla="*/ 2369923 h 4122274"/>
                  <a:gd name="connsiteX969" fmla="*/ 2654792 w 5338201"/>
                  <a:gd name="connsiteY969" fmla="*/ 2377907 h 4122274"/>
                  <a:gd name="connsiteX970" fmla="*/ 2635032 w 5338201"/>
                  <a:gd name="connsiteY970" fmla="*/ 2405101 h 4122274"/>
                  <a:gd name="connsiteX971" fmla="*/ 2635032 w 5338201"/>
                  <a:gd name="connsiteY971" fmla="*/ 2405280 h 4122274"/>
                  <a:gd name="connsiteX972" fmla="*/ 2658606 w 5338201"/>
                  <a:gd name="connsiteY972" fmla="*/ 2405280 h 4122274"/>
                  <a:gd name="connsiteX973" fmla="*/ 2658606 w 5338201"/>
                  <a:gd name="connsiteY973" fmla="*/ 2378983 h 4122274"/>
                  <a:gd name="connsiteX974" fmla="*/ 2659158 w 5338201"/>
                  <a:gd name="connsiteY974" fmla="*/ 2369923 h 4122274"/>
                  <a:gd name="connsiteX975" fmla="*/ 1955029 w 5338201"/>
                  <a:gd name="connsiteY975" fmla="*/ 2364431 h 4122274"/>
                  <a:gd name="connsiteX976" fmla="*/ 1935044 w 5338201"/>
                  <a:gd name="connsiteY976" fmla="*/ 2375961 h 4122274"/>
                  <a:gd name="connsiteX977" fmla="*/ 1935044 w 5338201"/>
                  <a:gd name="connsiteY977" fmla="*/ 2399036 h 4122274"/>
                  <a:gd name="connsiteX978" fmla="*/ 1955029 w 5338201"/>
                  <a:gd name="connsiteY978" fmla="*/ 2410594 h 4122274"/>
                  <a:gd name="connsiteX979" fmla="*/ 1975001 w 5338201"/>
                  <a:gd name="connsiteY979" fmla="*/ 2399036 h 4122274"/>
                  <a:gd name="connsiteX980" fmla="*/ 1975001 w 5338201"/>
                  <a:gd name="connsiteY980" fmla="*/ 2375961 h 4122274"/>
                  <a:gd name="connsiteX981" fmla="*/ 2765940 w 5338201"/>
                  <a:gd name="connsiteY981" fmla="*/ 2354869 h 4122274"/>
                  <a:gd name="connsiteX982" fmla="*/ 2772113 w 5338201"/>
                  <a:gd name="connsiteY982" fmla="*/ 2359593 h 4122274"/>
                  <a:gd name="connsiteX983" fmla="*/ 2773201 w 5338201"/>
                  <a:gd name="connsiteY983" fmla="*/ 2368114 h 4122274"/>
                  <a:gd name="connsiteX984" fmla="*/ 2768299 w 5338201"/>
                  <a:gd name="connsiteY984" fmla="*/ 2374274 h 4122274"/>
                  <a:gd name="connsiteX985" fmla="*/ 2740558 w 5338201"/>
                  <a:gd name="connsiteY985" fmla="*/ 2377907 h 4122274"/>
                  <a:gd name="connsiteX986" fmla="*/ 2734400 w 5338201"/>
                  <a:gd name="connsiteY986" fmla="*/ 2373182 h 4122274"/>
                  <a:gd name="connsiteX987" fmla="*/ 2733313 w 5338201"/>
                  <a:gd name="connsiteY987" fmla="*/ 2364661 h 4122274"/>
                  <a:gd name="connsiteX988" fmla="*/ 2738015 w 5338201"/>
                  <a:gd name="connsiteY988" fmla="*/ 2358501 h 4122274"/>
                  <a:gd name="connsiteX989" fmla="*/ 2655528 w 5338201"/>
                  <a:gd name="connsiteY989" fmla="*/ 2354869 h 4122274"/>
                  <a:gd name="connsiteX990" fmla="*/ 2673833 w 5338201"/>
                  <a:gd name="connsiteY990" fmla="*/ 2354869 h 4122274"/>
                  <a:gd name="connsiteX991" fmla="*/ 2673833 w 5338201"/>
                  <a:gd name="connsiteY991" fmla="*/ 2405280 h 4122274"/>
                  <a:gd name="connsiteX992" fmla="*/ 2684892 w 5338201"/>
                  <a:gd name="connsiteY992" fmla="*/ 2405280 h 4122274"/>
                  <a:gd name="connsiteX993" fmla="*/ 2684892 w 5338201"/>
                  <a:gd name="connsiteY993" fmla="*/ 2418152 h 4122274"/>
                  <a:gd name="connsiteX994" fmla="*/ 2673833 w 5338201"/>
                  <a:gd name="connsiteY994" fmla="*/ 2418152 h 4122274"/>
                  <a:gd name="connsiteX995" fmla="*/ 2673833 w 5338201"/>
                  <a:gd name="connsiteY995" fmla="*/ 2440278 h 4122274"/>
                  <a:gd name="connsiteX996" fmla="*/ 2658606 w 5338201"/>
                  <a:gd name="connsiteY996" fmla="*/ 2440278 h 4122274"/>
                  <a:gd name="connsiteX997" fmla="*/ 2658606 w 5338201"/>
                  <a:gd name="connsiteY997" fmla="*/ 2418152 h 4122274"/>
                  <a:gd name="connsiteX998" fmla="*/ 2618718 w 5338201"/>
                  <a:gd name="connsiteY998" fmla="*/ 2418152 h 4122274"/>
                  <a:gd name="connsiteX999" fmla="*/ 2618718 w 5338201"/>
                  <a:gd name="connsiteY999" fmla="*/ 2408718 h 4122274"/>
                  <a:gd name="connsiteX1000" fmla="*/ 2581541 w 5338201"/>
                  <a:gd name="connsiteY1000" fmla="*/ 2354869 h 4122274"/>
                  <a:gd name="connsiteX1001" fmla="*/ 2609282 w 5338201"/>
                  <a:gd name="connsiteY1001" fmla="*/ 2380074 h 4122274"/>
                  <a:gd name="connsiteX1002" fmla="*/ 2570665 w 5338201"/>
                  <a:gd name="connsiteY1002" fmla="*/ 2428303 h 4122274"/>
                  <a:gd name="connsiteX1003" fmla="*/ 2610554 w 5338201"/>
                  <a:gd name="connsiteY1003" fmla="*/ 2428303 h 4122274"/>
                  <a:gd name="connsiteX1004" fmla="*/ 2610554 w 5338201"/>
                  <a:gd name="connsiteY1004" fmla="*/ 2441728 h 4122274"/>
                  <a:gd name="connsiteX1005" fmla="*/ 2553984 w 5338201"/>
                  <a:gd name="connsiteY1005" fmla="*/ 2441728 h 4122274"/>
                  <a:gd name="connsiteX1006" fmla="*/ 2553264 w 5338201"/>
                  <a:gd name="connsiteY1006" fmla="*/ 2434104 h 4122274"/>
                  <a:gd name="connsiteX1007" fmla="*/ 2593152 w 5338201"/>
                  <a:gd name="connsiteY1007" fmla="*/ 2381345 h 4122274"/>
                  <a:gd name="connsiteX1008" fmla="*/ 2580101 w 5338201"/>
                  <a:gd name="connsiteY1008" fmla="*/ 2369564 h 4122274"/>
                  <a:gd name="connsiteX1009" fmla="*/ 2564860 w 5338201"/>
                  <a:gd name="connsiteY1009" fmla="*/ 2379715 h 4122274"/>
                  <a:gd name="connsiteX1010" fmla="*/ 2553264 w 5338201"/>
                  <a:gd name="connsiteY1010" fmla="*/ 2371912 h 4122274"/>
                  <a:gd name="connsiteX1011" fmla="*/ 2581541 w 5338201"/>
                  <a:gd name="connsiteY1011" fmla="*/ 2354869 h 4122274"/>
                  <a:gd name="connsiteX1012" fmla="*/ 4130115 w 5338201"/>
                  <a:gd name="connsiteY1012" fmla="*/ 2333121 h 4122274"/>
                  <a:gd name="connsiteX1013" fmla="*/ 4130115 w 5338201"/>
                  <a:gd name="connsiteY1013" fmla="*/ 2335513 h 4122274"/>
                  <a:gd name="connsiteX1014" fmla="*/ 4130115 w 5338201"/>
                  <a:gd name="connsiteY1014" fmla="*/ 2618881 h 4122274"/>
                  <a:gd name="connsiteX1015" fmla="*/ 4132530 w 5338201"/>
                  <a:gd name="connsiteY1015" fmla="*/ 2621274 h 4122274"/>
                  <a:gd name="connsiteX1016" fmla="*/ 4562507 w 5338201"/>
                  <a:gd name="connsiteY1016" fmla="*/ 2621274 h 4122274"/>
                  <a:gd name="connsiteX1017" fmla="*/ 4564900 w 5338201"/>
                  <a:gd name="connsiteY1017" fmla="*/ 2618881 h 4122274"/>
                  <a:gd name="connsiteX1018" fmla="*/ 4564900 w 5338201"/>
                  <a:gd name="connsiteY1018" fmla="*/ 2333121 h 4122274"/>
                  <a:gd name="connsiteX1019" fmla="*/ 4130115 w 5338201"/>
                  <a:gd name="connsiteY1019" fmla="*/ 2306673 h 4122274"/>
                  <a:gd name="connsiteX1020" fmla="*/ 4564900 w 5338201"/>
                  <a:gd name="connsiteY1020" fmla="*/ 2306673 h 4122274"/>
                  <a:gd name="connsiteX1021" fmla="*/ 4564900 w 5338201"/>
                  <a:gd name="connsiteY1021" fmla="*/ 2307389 h 4122274"/>
                  <a:gd name="connsiteX1022" fmla="*/ 4591123 w 5338201"/>
                  <a:gd name="connsiteY1022" fmla="*/ 2333121 h 4122274"/>
                  <a:gd name="connsiteX1023" fmla="*/ 4591123 w 5338201"/>
                  <a:gd name="connsiteY1023" fmla="*/ 2618881 h 4122274"/>
                  <a:gd name="connsiteX1024" fmla="*/ 4587309 w 5338201"/>
                  <a:gd name="connsiteY1024" fmla="*/ 2633160 h 4122274"/>
                  <a:gd name="connsiteX1025" fmla="*/ 4562507 w 5338201"/>
                  <a:gd name="connsiteY1025" fmla="*/ 2647721 h 4122274"/>
                  <a:gd name="connsiteX1026" fmla="*/ 4405573 w 5338201"/>
                  <a:gd name="connsiteY1026" fmla="*/ 2647721 h 4122274"/>
                  <a:gd name="connsiteX1027" fmla="*/ 4405573 w 5338201"/>
                  <a:gd name="connsiteY1027" fmla="*/ 2687298 h 4122274"/>
                  <a:gd name="connsiteX1028" fmla="*/ 4435408 w 5338201"/>
                  <a:gd name="connsiteY1028" fmla="*/ 2687298 h 4122274"/>
                  <a:gd name="connsiteX1029" fmla="*/ 4448497 w 5338201"/>
                  <a:gd name="connsiteY1029" fmla="*/ 2700409 h 4122274"/>
                  <a:gd name="connsiteX1030" fmla="*/ 4435408 w 5338201"/>
                  <a:gd name="connsiteY1030" fmla="*/ 2713557 h 4122274"/>
                  <a:gd name="connsiteX1031" fmla="*/ 4259630 w 5338201"/>
                  <a:gd name="connsiteY1031" fmla="*/ 2713557 h 4122274"/>
                  <a:gd name="connsiteX1032" fmla="*/ 4246292 w 5338201"/>
                  <a:gd name="connsiteY1032" fmla="*/ 2700409 h 4122274"/>
                  <a:gd name="connsiteX1033" fmla="*/ 4259630 w 5338201"/>
                  <a:gd name="connsiteY1033" fmla="*/ 2687298 h 4122274"/>
                  <a:gd name="connsiteX1034" fmla="*/ 4289441 w 5338201"/>
                  <a:gd name="connsiteY1034" fmla="*/ 2687298 h 4122274"/>
                  <a:gd name="connsiteX1035" fmla="*/ 4289441 w 5338201"/>
                  <a:gd name="connsiteY1035" fmla="*/ 2647721 h 4122274"/>
                  <a:gd name="connsiteX1036" fmla="*/ 4132530 w 5338201"/>
                  <a:gd name="connsiteY1036" fmla="*/ 2647721 h 4122274"/>
                  <a:gd name="connsiteX1037" fmla="*/ 4107728 w 5338201"/>
                  <a:gd name="connsiteY1037" fmla="*/ 2633160 h 4122274"/>
                  <a:gd name="connsiteX1038" fmla="*/ 4103666 w 5338201"/>
                  <a:gd name="connsiteY1038" fmla="*/ 2618881 h 4122274"/>
                  <a:gd name="connsiteX1039" fmla="*/ 4103666 w 5338201"/>
                  <a:gd name="connsiteY1039" fmla="*/ 2333121 h 4122274"/>
                  <a:gd name="connsiteX1040" fmla="*/ 4130115 w 5338201"/>
                  <a:gd name="connsiteY1040" fmla="*/ 2307389 h 4122274"/>
                  <a:gd name="connsiteX1041" fmla="*/ 428938 w 5338201"/>
                  <a:gd name="connsiteY1041" fmla="*/ 2301219 h 4122274"/>
                  <a:gd name="connsiteX1042" fmla="*/ 462348 w 5338201"/>
                  <a:gd name="connsiteY1042" fmla="*/ 2334632 h 4122274"/>
                  <a:gd name="connsiteX1043" fmla="*/ 443929 w 5338201"/>
                  <a:gd name="connsiteY1043" fmla="*/ 2364493 h 4122274"/>
                  <a:gd name="connsiteX1044" fmla="*/ 444380 w 5338201"/>
                  <a:gd name="connsiteY1044" fmla="*/ 2368046 h 4122274"/>
                  <a:gd name="connsiteX1045" fmla="*/ 444380 w 5338201"/>
                  <a:gd name="connsiteY1045" fmla="*/ 2394129 h 4122274"/>
                  <a:gd name="connsiteX1046" fmla="*/ 544897 w 5338201"/>
                  <a:gd name="connsiteY1046" fmla="*/ 2509029 h 4122274"/>
                  <a:gd name="connsiteX1047" fmla="*/ 428911 w 5338201"/>
                  <a:gd name="connsiteY1047" fmla="*/ 2625008 h 4122274"/>
                  <a:gd name="connsiteX1048" fmla="*/ 318031 w 5338201"/>
                  <a:gd name="connsiteY1048" fmla="*/ 2542952 h 4122274"/>
                  <a:gd name="connsiteX1049" fmla="*/ 312597 w 5338201"/>
                  <a:gd name="connsiteY1049" fmla="*/ 2553430 h 4122274"/>
                  <a:gd name="connsiteX1050" fmla="*/ 298889 w 5338201"/>
                  <a:gd name="connsiteY1050" fmla="*/ 2561749 h 4122274"/>
                  <a:gd name="connsiteX1051" fmla="*/ 292130 w 5338201"/>
                  <a:gd name="connsiteY1051" fmla="*/ 2560175 h 4122274"/>
                  <a:gd name="connsiteX1052" fmla="*/ 260850 w 5338201"/>
                  <a:gd name="connsiteY1052" fmla="*/ 2544945 h 4122274"/>
                  <a:gd name="connsiteX1053" fmla="*/ 253723 w 5338201"/>
                  <a:gd name="connsiteY1053" fmla="*/ 2524304 h 4122274"/>
                  <a:gd name="connsiteX1054" fmla="*/ 274353 w 5338201"/>
                  <a:gd name="connsiteY1054" fmla="*/ 2517168 h 4122274"/>
                  <a:gd name="connsiteX1055" fmla="*/ 292130 w 5338201"/>
                  <a:gd name="connsiteY1055" fmla="*/ 2525833 h 4122274"/>
                  <a:gd name="connsiteX1056" fmla="*/ 325458 w 5338201"/>
                  <a:gd name="connsiteY1056" fmla="*/ 2461705 h 4122274"/>
                  <a:gd name="connsiteX1057" fmla="*/ 339153 w 5338201"/>
                  <a:gd name="connsiteY1057" fmla="*/ 2453400 h 4122274"/>
                  <a:gd name="connsiteX1058" fmla="*/ 413496 w 5338201"/>
                  <a:gd name="connsiteY1058" fmla="*/ 2453400 h 4122274"/>
                  <a:gd name="connsiteX1059" fmla="*/ 413496 w 5338201"/>
                  <a:gd name="connsiteY1059" fmla="*/ 2420107 h 4122274"/>
                  <a:gd name="connsiteX1060" fmla="*/ 355755 w 5338201"/>
                  <a:gd name="connsiteY1060" fmla="*/ 2420107 h 4122274"/>
                  <a:gd name="connsiteX1061" fmla="*/ 340313 w 5338201"/>
                  <a:gd name="connsiteY1061" fmla="*/ 2404652 h 4122274"/>
                  <a:gd name="connsiteX1062" fmla="*/ 355755 w 5338201"/>
                  <a:gd name="connsiteY1062" fmla="*/ 2389212 h 4122274"/>
                  <a:gd name="connsiteX1063" fmla="*/ 413496 w 5338201"/>
                  <a:gd name="connsiteY1063" fmla="*/ 2389212 h 4122274"/>
                  <a:gd name="connsiteX1064" fmla="*/ 413496 w 5338201"/>
                  <a:gd name="connsiteY1064" fmla="*/ 2368046 h 4122274"/>
                  <a:gd name="connsiteX1065" fmla="*/ 413933 w 5338201"/>
                  <a:gd name="connsiteY1065" fmla="*/ 2364493 h 4122274"/>
                  <a:gd name="connsiteX1066" fmla="*/ 395501 w 5338201"/>
                  <a:gd name="connsiteY1066" fmla="*/ 2334632 h 4122274"/>
                  <a:gd name="connsiteX1067" fmla="*/ 428938 w 5338201"/>
                  <a:gd name="connsiteY1067" fmla="*/ 2301219 h 4122274"/>
                  <a:gd name="connsiteX1068" fmla="*/ 2748355 w 5338201"/>
                  <a:gd name="connsiteY1068" fmla="*/ 2300480 h 4122274"/>
                  <a:gd name="connsiteX1069" fmla="*/ 2751618 w 5338201"/>
                  <a:gd name="connsiteY1069" fmla="*/ 2303201 h 4122274"/>
                  <a:gd name="connsiteX1070" fmla="*/ 2755784 w 5338201"/>
                  <a:gd name="connsiteY1070" fmla="*/ 2310631 h 4122274"/>
                  <a:gd name="connsiteX1071" fmla="*/ 2753793 w 5338201"/>
                  <a:gd name="connsiteY1071" fmla="*/ 2318062 h 4122274"/>
                  <a:gd name="connsiteX1072" fmla="*/ 2729315 w 5338201"/>
                  <a:gd name="connsiteY1072" fmla="*/ 2331846 h 4122274"/>
                  <a:gd name="connsiteX1073" fmla="*/ 2721702 w 5338201"/>
                  <a:gd name="connsiteY1073" fmla="*/ 2329678 h 4122274"/>
                  <a:gd name="connsiteX1074" fmla="*/ 2717535 w 5338201"/>
                  <a:gd name="connsiteY1074" fmla="*/ 2322412 h 4122274"/>
                  <a:gd name="connsiteX1075" fmla="*/ 2719710 w 5338201"/>
                  <a:gd name="connsiteY1075" fmla="*/ 2314802 h 4122274"/>
                  <a:gd name="connsiteX1076" fmla="*/ 2744189 w 5338201"/>
                  <a:gd name="connsiteY1076" fmla="*/ 2301019 h 4122274"/>
                  <a:gd name="connsiteX1077" fmla="*/ 2748355 w 5338201"/>
                  <a:gd name="connsiteY1077" fmla="*/ 2300480 h 4122274"/>
                  <a:gd name="connsiteX1078" fmla="*/ 2506299 w 5338201"/>
                  <a:gd name="connsiteY1078" fmla="*/ 2284155 h 4122274"/>
                  <a:gd name="connsiteX1079" fmla="*/ 2510113 w 5338201"/>
                  <a:gd name="connsiteY1079" fmla="*/ 2288147 h 4122274"/>
                  <a:gd name="connsiteX1080" fmla="*/ 2529322 w 5338201"/>
                  <a:gd name="connsiteY1080" fmla="*/ 2362852 h 4122274"/>
                  <a:gd name="connsiteX1081" fmla="*/ 2522628 w 5338201"/>
                  <a:gd name="connsiteY1081" fmla="*/ 2369564 h 4122274"/>
                  <a:gd name="connsiteX1082" fmla="*/ 2504859 w 5338201"/>
                  <a:gd name="connsiteY1082" fmla="*/ 2364661 h 4122274"/>
                  <a:gd name="connsiteX1083" fmla="*/ 2591161 w 5338201"/>
                  <a:gd name="connsiteY1083" fmla="*/ 2493754 h 4122274"/>
                  <a:gd name="connsiteX1084" fmla="*/ 2730770 w 5338201"/>
                  <a:gd name="connsiteY1084" fmla="*/ 2410169 h 4122274"/>
                  <a:gd name="connsiteX1085" fmla="*/ 2733665 w 5338201"/>
                  <a:gd name="connsiteY1085" fmla="*/ 2399479 h 4122274"/>
                  <a:gd name="connsiteX1086" fmla="*/ 2740374 w 5338201"/>
                  <a:gd name="connsiteY1086" fmla="*/ 2395667 h 4122274"/>
                  <a:gd name="connsiteX1087" fmla="*/ 2767028 w 5338201"/>
                  <a:gd name="connsiteY1087" fmla="*/ 2403097 h 4122274"/>
                  <a:gd name="connsiteX1088" fmla="*/ 2770842 w 5338201"/>
                  <a:gd name="connsiteY1088" fmla="*/ 2409810 h 4122274"/>
                  <a:gd name="connsiteX1089" fmla="*/ 2767932 w 5338201"/>
                  <a:gd name="connsiteY1089" fmla="*/ 2420140 h 4122274"/>
                  <a:gd name="connsiteX1090" fmla="*/ 2580101 w 5338201"/>
                  <a:gd name="connsiteY1090" fmla="*/ 2530755 h 4122274"/>
                  <a:gd name="connsiteX1091" fmla="*/ 2467498 w 5338201"/>
                  <a:gd name="connsiteY1091" fmla="*/ 2354151 h 4122274"/>
                  <a:gd name="connsiteX1092" fmla="*/ 2448289 w 5338201"/>
                  <a:gd name="connsiteY1092" fmla="*/ 2348709 h 4122274"/>
                  <a:gd name="connsiteX1093" fmla="*/ 2445746 w 5338201"/>
                  <a:gd name="connsiteY1093" fmla="*/ 2339455 h 4122274"/>
                  <a:gd name="connsiteX1094" fmla="*/ 2501045 w 5338201"/>
                  <a:gd name="connsiteY1094" fmla="*/ 2285426 h 4122274"/>
                  <a:gd name="connsiteX1095" fmla="*/ 2506299 w 5338201"/>
                  <a:gd name="connsiteY1095" fmla="*/ 2284155 h 4122274"/>
                  <a:gd name="connsiteX1096" fmla="*/ 1582257 w 5338201"/>
                  <a:gd name="connsiteY1096" fmla="*/ 2279407 h 4122274"/>
                  <a:gd name="connsiteX1097" fmla="*/ 1748944 w 5338201"/>
                  <a:gd name="connsiteY1097" fmla="*/ 2442469 h 4122274"/>
                  <a:gd name="connsiteX1098" fmla="*/ 1804571 w 5338201"/>
                  <a:gd name="connsiteY1098" fmla="*/ 2538681 h 4122274"/>
                  <a:gd name="connsiteX1099" fmla="*/ 1693428 w 5338201"/>
                  <a:gd name="connsiteY1099" fmla="*/ 2649847 h 4122274"/>
                  <a:gd name="connsiteX1100" fmla="*/ 1582257 w 5338201"/>
                  <a:gd name="connsiteY1100" fmla="*/ 2649847 h 4122274"/>
                  <a:gd name="connsiteX1101" fmla="*/ 1582257 w 5338201"/>
                  <a:gd name="connsiteY1101" fmla="*/ 2612769 h 4122274"/>
                  <a:gd name="connsiteX1102" fmla="*/ 1693510 w 5338201"/>
                  <a:gd name="connsiteY1102" fmla="*/ 2612769 h 4122274"/>
                  <a:gd name="connsiteX1103" fmla="*/ 1767468 w 5338201"/>
                  <a:gd name="connsiteY1103" fmla="*/ 2538681 h 4122274"/>
                  <a:gd name="connsiteX1104" fmla="*/ 1710332 w 5338201"/>
                  <a:gd name="connsiteY1104" fmla="*/ 2466531 h 4122274"/>
                  <a:gd name="connsiteX1105" fmla="*/ 1711952 w 5338201"/>
                  <a:gd name="connsiteY1105" fmla="*/ 2446071 h 4122274"/>
                  <a:gd name="connsiteX1106" fmla="*/ 1582257 w 5338201"/>
                  <a:gd name="connsiteY1106" fmla="*/ 2316503 h 4122274"/>
                  <a:gd name="connsiteX1107" fmla="*/ 1458161 w 5338201"/>
                  <a:gd name="connsiteY1107" fmla="*/ 2408547 h 4122274"/>
                  <a:gd name="connsiteX1108" fmla="*/ 1406349 w 5338201"/>
                  <a:gd name="connsiteY1108" fmla="*/ 2390556 h 4122274"/>
                  <a:gd name="connsiteX1109" fmla="*/ 1323500 w 5338201"/>
                  <a:gd name="connsiteY1109" fmla="*/ 2464627 h 4122274"/>
                  <a:gd name="connsiteX1110" fmla="*/ 1322978 w 5338201"/>
                  <a:gd name="connsiteY1110" fmla="*/ 2464627 h 4122274"/>
                  <a:gd name="connsiteX1111" fmla="*/ 1248883 w 5338201"/>
                  <a:gd name="connsiteY1111" fmla="*/ 2538681 h 4122274"/>
                  <a:gd name="connsiteX1112" fmla="*/ 1322978 w 5338201"/>
                  <a:gd name="connsiteY1112" fmla="*/ 2612769 h 4122274"/>
                  <a:gd name="connsiteX1113" fmla="*/ 1434121 w 5338201"/>
                  <a:gd name="connsiteY1113" fmla="*/ 2612769 h 4122274"/>
                  <a:gd name="connsiteX1114" fmla="*/ 1434121 w 5338201"/>
                  <a:gd name="connsiteY1114" fmla="*/ 2649847 h 4122274"/>
                  <a:gd name="connsiteX1115" fmla="*/ 1322978 w 5338201"/>
                  <a:gd name="connsiteY1115" fmla="*/ 2649847 h 4122274"/>
                  <a:gd name="connsiteX1116" fmla="*/ 1211808 w 5338201"/>
                  <a:gd name="connsiteY1116" fmla="*/ 2538681 h 4122274"/>
                  <a:gd name="connsiteX1117" fmla="*/ 1293560 w 5338201"/>
                  <a:gd name="connsiteY1117" fmla="*/ 2431510 h 4122274"/>
                  <a:gd name="connsiteX1118" fmla="*/ 1406349 w 5338201"/>
                  <a:gd name="connsiteY1118" fmla="*/ 2353461 h 4122274"/>
                  <a:gd name="connsiteX1119" fmla="*/ 1440570 w 5338201"/>
                  <a:gd name="connsiteY1119" fmla="*/ 2358451 h 4122274"/>
                  <a:gd name="connsiteX1120" fmla="*/ 1582257 w 5338201"/>
                  <a:gd name="connsiteY1120" fmla="*/ 2279407 h 4122274"/>
                  <a:gd name="connsiteX1121" fmla="*/ 2706475 w 5338201"/>
                  <a:gd name="connsiteY1121" fmla="*/ 2256781 h 4122274"/>
                  <a:gd name="connsiteX1122" fmla="*/ 2710642 w 5338201"/>
                  <a:gd name="connsiteY1122" fmla="*/ 2257873 h 4122274"/>
                  <a:gd name="connsiteX1123" fmla="*/ 2717167 w 5338201"/>
                  <a:gd name="connsiteY1123" fmla="*/ 2263135 h 4122274"/>
                  <a:gd name="connsiteX1124" fmla="*/ 2718071 w 5338201"/>
                  <a:gd name="connsiteY1124" fmla="*/ 2270924 h 4122274"/>
                  <a:gd name="connsiteX1125" fmla="*/ 2700670 w 5338201"/>
                  <a:gd name="connsiteY1125" fmla="*/ 2292871 h 4122274"/>
                  <a:gd name="connsiteX1126" fmla="*/ 2692873 w 5338201"/>
                  <a:gd name="connsiteY1126" fmla="*/ 2293768 h 4122274"/>
                  <a:gd name="connsiteX1127" fmla="*/ 2686164 w 5338201"/>
                  <a:gd name="connsiteY1127" fmla="*/ 2288505 h 4122274"/>
                  <a:gd name="connsiteX1128" fmla="*/ 2685260 w 5338201"/>
                  <a:gd name="connsiteY1128" fmla="*/ 2280716 h 4122274"/>
                  <a:gd name="connsiteX1129" fmla="*/ 2702845 w 5338201"/>
                  <a:gd name="connsiteY1129" fmla="*/ 2258770 h 4122274"/>
                  <a:gd name="connsiteX1130" fmla="*/ 2706475 w 5338201"/>
                  <a:gd name="connsiteY1130" fmla="*/ 2256781 h 4122274"/>
                  <a:gd name="connsiteX1131" fmla="*/ 2557063 w 5338201"/>
                  <a:gd name="connsiteY1131" fmla="*/ 2246077 h 4122274"/>
                  <a:gd name="connsiteX1132" fmla="*/ 2560341 w 5338201"/>
                  <a:gd name="connsiteY1132" fmla="*/ 2248798 h 4122274"/>
                  <a:gd name="connsiteX1133" fmla="*/ 2573208 w 5338201"/>
                  <a:gd name="connsiteY1133" fmla="*/ 2273645 h 4122274"/>
                  <a:gd name="connsiteX1134" fmla="*/ 2570849 w 5338201"/>
                  <a:gd name="connsiteY1134" fmla="*/ 2281075 h 4122274"/>
                  <a:gd name="connsiteX1135" fmla="*/ 2563236 w 5338201"/>
                  <a:gd name="connsiteY1135" fmla="*/ 2285067 h 4122274"/>
                  <a:gd name="connsiteX1136" fmla="*/ 2555807 w 5338201"/>
                  <a:gd name="connsiteY1136" fmla="*/ 2282705 h 4122274"/>
                  <a:gd name="connsiteX1137" fmla="*/ 2542924 w 5338201"/>
                  <a:gd name="connsiteY1137" fmla="*/ 2257693 h 4122274"/>
                  <a:gd name="connsiteX1138" fmla="*/ 2545283 w 5338201"/>
                  <a:gd name="connsiteY1138" fmla="*/ 2250248 h 4122274"/>
                  <a:gd name="connsiteX1139" fmla="*/ 2552896 w 5338201"/>
                  <a:gd name="connsiteY1139" fmla="*/ 2246451 h 4122274"/>
                  <a:gd name="connsiteX1140" fmla="*/ 2557063 w 5338201"/>
                  <a:gd name="connsiteY1140" fmla="*/ 2246077 h 4122274"/>
                  <a:gd name="connsiteX1141" fmla="*/ 969367 w 5338201"/>
                  <a:gd name="connsiteY1141" fmla="*/ 2241845 h 4122274"/>
                  <a:gd name="connsiteX1142" fmla="*/ 987302 w 5338201"/>
                  <a:gd name="connsiteY1142" fmla="*/ 2244481 h 4122274"/>
                  <a:gd name="connsiteX1143" fmla="*/ 997157 w 5338201"/>
                  <a:gd name="connsiteY1143" fmla="*/ 2261836 h 4122274"/>
                  <a:gd name="connsiteX1144" fmla="*/ 979998 w 5338201"/>
                  <a:gd name="connsiteY1144" fmla="*/ 2294689 h 4122274"/>
                  <a:gd name="connsiteX1145" fmla="*/ 948720 w 5338201"/>
                  <a:gd name="connsiteY1145" fmla="*/ 2371624 h 4122274"/>
                  <a:gd name="connsiteX1146" fmla="*/ 1058094 w 5338201"/>
                  <a:gd name="connsiteY1146" fmla="*/ 2477776 h 4122274"/>
                  <a:gd name="connsiteX1147" fmla="*/ 1167407 w 5338201"/>
                  <a:gd name="connsiteY1147" fmla="*/ 2371624 h 4122274"/>
                  <a:gd name="connsiteX1148" fmla="*/ 1136236 w 5338201"/>
                  <a:gd name="connsiteY1148" fmla="*/ 2298378 h 4122274"/>
                  <a:gd name="connsiteX1149" fmla="*/ 1116937 w 5338201"/>
                  <a:gd name="connsiteY1149" fmla="*/ 2265580 h 4122274"/>
                  <a:gd name="connsiteX1150" fmla="*/ 1123187 w 5338201"/>
                  <a:gd name="connsiteY1150" fmla="*/ 2247820 h 4122274"/>
                  <a:gd name="connsiteX1151" fmla="*/ 1157521 w 5338201"/>
                  <a:gd name="connsiteY1151" fmla="*/ 2248924 h 4122274"/>
                  <a:gd name="connsiteX1152" fmla="*/ 1221086 w 5338201"/>
                  <a:gd name="connsiteY1152" fmla="*/ 2371449 h 4122274"/>
                  <a:gd name="connsiteX1153" fmla="*/ 1058063 w 5338201"/>
                  <a:gd name="connsiteY1153" fmla="*/ 2528550 h 4122274"/>
                  <a:gd name="connsiteX1154" fmla="*/ 891038 w 5338201"/>
                  <a:gd name="connsiteY1154" fmla="*/ 2371449 h 4122274"/>
                  <a:gd name="connsiteX1155" fmla="*/ 951501 w 5338201"/>
                  <a:gd name="connsiteY1155" fmla="*/ 2249449 h 4122274"/>
                  <a:gd name="connsiteX1156" fmla="*/ 969367 w 5338201"/>
                  <a:gd name="connsiteY1156" fmla="*/ 2241845 h 4122274"/>
                  <a:gd name="connsiteX1157" fmla="*/ 4795808 w 5338201"/>
                  <a:gd name="connsiteY1157" fmla="*/ 2241299 h 4122274"/>
                  <a:gd name="connsiteX1158" fmla="*/ 4844410 w 5338201"/>
                  <a:gd name="connsiteY1158" fmla="*/ 2241299 h 4122274"/>
                  <a:gd name="connsiteX1159" fmla="*/ 4874684 w 5338201"/>
                  <a:gd name="connsiteY1159" fmla="*/ 2271394 h 4122274"/>
                  <a:gd name="connsiteX1160" fmla="*/ 4844410 w 5338201"/>
                  <a:gd name="connsiteY1160" fmla="*/ 2301668 h 4122274"/>
                  <a:gd name="connsiteX1161" fmla="*/ 4795808 w 5338201"/>
                  <a:gd name="connsiteY1161" fmla="*/ 2301668 h 4122274"/>
                  <a:gd name="connsiteX1162" fmla="*/ 1955107 w 5338201"/>
                  <a:gd name="connsiteY1162" fmla="*/ 2235782 h 4122274"/>
                  <a:gd name="connsiteX1163" fmla="*/ 1968002 w 5338201"/>
                  <a:gd name="connsiteY1163" fmla="*/ 2248719 h 4122274"/>
                  <a:gd name="connsiteX1164" fmla="*/ 1968002 w 5338201"/>
                  <a:gd name="connsiteY1164" fmla="*/ 2281004 h 4122274"/>
                  <a:gd name="connsiteX1165" fmla="*/ 1990203 w 5338201"/>
                  <a:gd name="connsiteY1165" fmla="*/ 2258829 h 4122274"/>
                  <a:gd name="connsiteX1166" fmla="*/ 2008439 w 5338201"/>
                  <a:gd name="connsiteY1166" fmla="*/ 2258829 h 4122274"/>
                  <a:gd name="connsiteX1167" fmla="*/ 2008439 w 5338201"/>
                  <a:gd name="connsiteY1167" fmla="*/ 2277053 h 4122274"/>
                  <a:gd name="connsiteX1168" fmla="*/ 1968002 w 5338201"/>
                  <a:gd name="connsiteY1168" fmla="*/ 2317493 h 4122274"/>
                  <a:gd name="connsiteX1169" fmla="*/ 1968002 w 5338201"/>
                  <a:gd name="connsiteY1169" fmla="*/ 2342115 h 4122274"/>
                  <a:gd name="connsiteX1170" fmla="*/ 1987922 w 5338201"/>
                  <a:gd name="connsiteY1170" fmla="*/ 2353589 h 4122274"/>
                  <a:gd name="connsiteX1171" fmla="*/ 2009100 w 5338201"/>
                  <a:gd name="connsiteY1171" fmla="*/ 2341454 h 4122274"/>
                  <a:gd name="connsiteX1172" fmla="*/ 2023913 w 5338201"/>
                  <a:gd name="connsiteY1172" fmla="*/ 2286235 h 4122274"/>
                  <a:gd name="connsiteX1173" fmla="*/ 2039699 w 5338201"/>
                  <a:gd name="connsiteY1173" fmla="*/ 2277095 h 4122274"/>
                  <a:gd name="connsiteX1174" fmla="*/ 2048849 w 5338201"/>
                  <a:gd name="connsiteY1174" fmla="*/ 2292914 h 4122274"/>
                  <a:gd name="connsiteX1175" fmla="*/ 2040710 w 5338201"/>
                  <a:gd name="connsiteY1175" fmla="*/ 2323329 h 4122274"/>
                  <a:gd name="connsiteX1176" fmla="*/ 2068795 w 5338201"/>
                  <a:gd name="connsiteY1176" fmla="*/ 2307186 h 4122274"/>
                  <a:gd name="connsiteX1177" fmla="*/ 2086408 w 5338201"/>
                  <a:gd name="connsiteY1177" fmla="*/ 2311953 h 4122274"/>
                  <a:gd name="connsiteX1178" fmla="*/ 2081651 w 5338201"/>
                  <a:gd name="connsiteY1178" fmla="*/ 2329586 h 4122274"/>
                  <a:gd name="connsiteX1179" fmla="*/ 2053605 w 5338201"/>
                  <a:gd name="connsiteY1179" fmla="*/ 2345701 h 4122274"/>
                  <a:gd name="connsiteX1180" fmla="*/ 2084010 w 5338201"/>
                  <a:gd name="connsiteY1180" fmla="*/ 2353814 h 4122274"/>
                  <a:gd name="connsiteX1181" fmla="*/ 2093147 w 5338201"/>
                  <a:gd name="connsiteY1181" fmla="*/ 2369633 h 4122274"/>
                  <a:gd name="connsiteX1182" fmla="*/ 2080705 w 5338201"/>
                  <a:gd name="connsiteY1182" fmla="*/ 2379223 h 4122274"/>
                  <a:gd name="connsiteX1183" fmla="*/ 2077361 w 5338201"/>
                  <a:gd name="connsiteY1183" fmla="*/ 2378773 h 4122274"/>
                  <a:gd name="connsiteX1184" fmla="*/ 2021865 w 5338201"/>
                  <a:gd name="connsiteY1184" fmla="*/ 2363924 h 4122274"/>
                  <a:gd name="connsiteX1185" fmla="*/ 2000844 w 5338201"/>
                  <a:gd name="connsiteY1185" fmla="*/ 2376003 h 4122274"/>
                  <a:gd name="connsiteX1186" fmla="*/ 2000805 w 5338201"/>
                  <a:gd name="connsiteY1186" fmla="*/ 2399036 h 4122274"/>
                  <a:gd name="connsiteX1187" fmla="*/ 2022112 w 5338201"/>
                  <a:gd name="connsiteY1187" fmla="*/ 2411368 h 4122274"/>
                  <a:gd name="connsiteX1188" fmla="*/ 2042002 w 5338201"/>
                  <a:gd name="connsiteY1188" fmla="*/ 2406032 h 4122274"/>
                  <a:gd name="connsiteX1189" fmla="*/ 2042122 w 5338201"/>
                  <a:gd name="connsiteY1189" fmla="*/ 2405856 h 4122274"/>
                  <a:gd name="connsiteX1190" fmla="*/ 2084899 w 5338201"/>
                  <a:gd name="connsiteY1190" fmla="*/ 2388469 h 4122274"/>
                  <a:gd name="connsiteX1191" fmla="*/ 2126965 w 5338201"/>
                  <a:gd name="connsiteY1191" fmla="*/ 2406190 h 4122274"/>
                  <a:gd name="connsiteX1192" fmla="*/ 2144550 w 5338201"/>
                  <a:gd name="connsiteY1192" fmla="*/ 2448622 h 4122274"/>
                  <a:gd name="connsiteX1193" fmla="*/ 2144550 w 5338201"/>
                  <a:gd name="connsiteY1193" fmla="*/ 2535845 h 4122274"/>
                  <a:gd name="connsiteX1194" fmla="*/ 2313440 w 5338201"/>
                  <a:gd name="connsiteY1194" fmla="*/ 2535845 h 4122274"/>
                  <a:gd name="connsiteX1195" fmla="*/ 2352887 w 5338201"/>
                  <a:gd name="connsiteY1195" fmla="*/ 2552230 h 4122274"/>
                  <a:gd name="connsiteX1196" fmla="*/ 2369295 w 5338201"/>
                  <a:gd name="connsiteY1196" fmla="*/ 2591567 h 4122274"/>
                  <a:gd name="connsiteX1197" fmla="*/ 2352920 w 5338201"/>
                  <a:gd name="connsiteY1197" fmla="*/ 2630949 h 4122274"/>
                  <a:gd name="connsiteX1198" fmla="*/ 2313606 w 5338201"/>
                  <a:gd name="connsiteY1198" fmla="*/ 2647289 h 4122274"/>
                  <a:gd name="connsiteX1199" fmla="*/ 2144550 w 5338201"/>
                  <a:gd name="connsiteY1199" fmla="*/ 2647289 h 4122274"/>
                  <a:gd name="connsiteX1200" fmla="*/ 2144550 w 5338201"/>
                  <a:gd name="connsiteY1200" fmla="*/ 2689543 h 4122274"/>
                  <a:gd name="connsiteX1201" fmla="*/ 2161836 w 5338201"/>
                  <a:gd name="connsiteY1201" fmla="*/ 2731730 h 4122274"/>
                  <a:gd name="connsiteX1202" fmla="*/ 2203885 w 5338201"/>
                  <a:gd name="connsiteY1202" fmla="*/ 2749094 h 4122274"/>
                  <a:gd name="connsiteX1203" fmla="*/ 2322539 w 5338201"/>
                  <a:gd name="connsiteY1203" fmla="*/ 2749094 h 4122274"/>
                  <a:gd name="connsiteX1204" fmla="*/ 2364953 w 5338201"/>
                  <a:gd name="connsiteY1204" fmla="*/ 2766793 h 4122274"/>
                  <a:gd name="connsiteX1205" fmla="*/ 2382604 w 5338201"/>
                  <a:gd name="connsiteY1205" fmla="*/ 2809247 h 4122274"/>
                  <a:gd name="connsiteX1206" fmla="*/ 2364953 w 5338201"/>
                  <a:gd name="connsiteY1206" fmla="*/ 2851611 h 4122274"/>
                  <a:gd name="connsiteX1207" fmla="*/ 2322573 w 5338201"/>
                  <a:gd name="connsiteY1207" fmla="*/ 2869332 h 4122274"/>
                  <a:gd name="connsiteX1208" fmla="*/ 2203968 w 5338201"/>
                  <a:gd name="connsiteY1208" fmla="*/ 2869332 h 4122274"/>
                  <a:gd name="connsiteX1209" fmla="*/ 2077159 w 5338201"/>
                  <a:gd name="connsiteY1209" fmla="*/ 2816593 h 4122274"/>
                  <a:gd name="connsiteX1210" fmla="*/ 2024603 w 5338201"/>
                  <a:gd name="connsiteY1210" fmla="*/ 2689565 h 4122274"/>
                  <a:gd name="connsiteX1211" fmla="*/ 2024603 w 5338201"/>
                  <a:gd name="connsiteY1211" fmla="*/ 2489616 h 4122274"/>
                  <a:gd name="connsiteX1212" fmla="*/ 2023913 w 5338201"/>
                  <a:gd name="connsiteY1212" fmla="*/ 2489086 h 4122274"/>
                  <a:gd name="connsiteX1213" fmla="*/ 2009035 w 5338201"/>
                  <a:gd name="connsiteY1213" fmla="*/ 2433599 h 4122274"/>
                  <a:gd name="connsiteX1214" fmla="*/ 1987897 w 5338201"/>
                  <a:gd name="connsiteY1214" fmla="*/ 2421408 h 4122274"/>
                  <a:gd name="connsiteX1215" fmla="*/ 1968002 w 5338201"/>
                  <a:gd name="connsiteY1215" fmla="*/ 2432868 h 4122274"/>
                  <a:gd name="connsiteX1216" fmla="*/ 1968002 w 5338201"/>
                  <a:gd name="connsiteY1216" fmla="*/ 2457827 h 4122274"/>
                  <a:gd name="connsiteX1217" fmla="*/ 2008439 w 5338201"/>
                  <a:gd name="connsiteY1217" fmla="*/ 2498268 h 4122274"/>
                  <a:gd name="connsiteX1218" fmla="*/ 2008439 w 5338201"/>
                  <a:gd name="connsiteY1218" fmla="*/ 2516506 h 4122274"/>
                  <a:gd name="connsiteX1219" fmla="*/ 1999328 w 5338201"/>
                  <a:gd name="connsiteY1219" fmla="*/ 2520288 h 4122274"/>
                  <a:gd name="connsiteX1220" fmla="*/ 1990203 w 5338201"/>
                  <a:gd name="connsiteY1220" fmla="*/ 2516506 h 4122274"/>
                  <a:gd name="connsiteX1221" fmla="*/ 1968002 w 5338201"/>
                  <a:gd name="connsiteY1221" fmla="*/ 2494331 h 4122274"/>
                  <a:gd name="connsiteX1222" fmla="*/ 1968002 w 5338201"/>
                  <a:gd name="connsiteY1222" fmla="*/ 2526602 h 4122274"/>
                  <a:gd name="connsiteX1223" fmla="*/ 1955107 w 5338201"/>
                  <a:gd name="connsiteY1223" fmla="*/ 2539510 h 4122274"/>
                  <a:gd name="connsiteX1224" fmla="*/ 1942186 w 5338201"/>
                  <a:gd name="connsiteY1224" fmla="*/ 2526602 h 4122274"/>
                  <a:gd name="connsiteX1225" fmla="*/ 1942186 w 5338201"/>
                  <a:gd name="connsiteY1225" fmla="*/ 2494162 h 4122274"/>
                  <a:gd name="connsiteX1226" fmla="*/ 1919842 w 5338201"/>
                  <a:gd name="connsiteY1226" fmla="*/ 2516506 h 4122274"/>
                  <a:gd name="connsiteX1227" fmla="*/ 1910718 w 5338201"/>
                  <a:gd name="connsiteY1227" fmla="*/ 2520288 h 4122274"/>
                  <a:gd name="connsiteX1228" fmla="*/ 1901607 w 5338201"/>
                  <a:gd name="connsiteY1228" fmla="*/ 2516506 h 4122274"/>
                  <a:gd name="connsiteX1229" fmla="*/ 1901607 w 5338201"/>
                  <a:gd name="connsiteY1229" fmla="*/ 2498268 h 4122274"/>
                  <a:gd name="connsiteX1230" fmla="*/ 1942186 w 5338201"/>
                  <a:gd name="connsiteY1230" fmla="*/ 2457672 h 4122274"/>
                  <a:gd name="connsiteX1231" fmla="*/ 1942186 w 5338201"/>
                  <a:gd name="connsiteY1231" fmla="*/ 2432966 h 4122274"/>
                  <a:gd name="connsiteX1232" fmla="*/ 1922136 w 5338201"/>
                  <a:gd name="connsiteY1232" fmla="*/ 2421408 h 4122274"/>
                  <a:gd name="connsiteX1233" fmla="*/ 1900985 w 5338201"/>
                  <a:gd name="connsiteY1233" fmla="*/ 2433599 h 4122274"/>
                  <a:gd name="connsiteX1234" fmla="*/ 1886132 w 5338201"/>
                  <a:gd name="connsiteY1234" fmla="*/ 2489086 h 4122274"/>
                  <a:gd name="connsiteX1235" fmla="*/ 1873664 w 5338201"/>
                  <a:gd name="connsiteY1235" fmla="*/ 2498676 h 4122274"/>
                  <a:gd name="connsiteX1236" fmla="*/ 1870334 w 5338201"/>
                  <a:gd name="connsiteY1236" fmla="*/ 2498240 h 4122274"/>
                  <a:gd name="connsiteX1237" fmla="*/ 1861210 w 5338201"/>
                  <a:gd name="connsiteY1237" fmla="*/ 2482406 h 4122274"/>
                  <a:gd name="connsiteX1238" fmla="*/ 1869401 w 5338201"/>
                  <a:gd name="connsiteY1238" fmla="*/ 2451865 h 4122274"/>
                  <a:gd name="connsiteX1239" fmla="*/ 1841277 w 5338201"/>
                  <a:gd name="connsiteY1239" fmla="*/ 2468078 h 4122274"/>
                  <a:gd name="connsiteX1240" fmla="*/ 1834835 w 5338201"/>
                  <a:gd name="connsiteY1240" fmla="*/ 2469835 h 4122274"/>
                  <a:gd name="connsiteX1241" fmla="*/ 1823651 w 5338201"/>
                  <a:gd name="connsiteY1241" fmla="*/ 2463367 h 4122274"/>
                  <a:gd name="connsiteX1242" fmla="*/ 1828381 w 5338201"/>
                  <a:gd name="connsiteY1242" fmla="*/ 2445734 h 4122274"/>
                  <a:gd name="connsiteX1243" fmla="*/ 1856337 w 5338201"/>
                  <a:gd name="connsiteY1243" fmla="*/ 2429592 h 4122274"/>
                  <a:gd name="connsiteX1244" fmla="*/ 1826009 w 5338201"/>
                  <a:gd name="connsiteY1244" fmla="*/ 2421464 h 4122274"/>
                  <a:gd name="connsiteX1245" fmla="*/ 1816898 w 5338201"/>
                  <a:gd name="connsiteY1245" fmla="*/ 2405659 h 4122274"/>
                  <a:gd name="connsiteX1246" fmla="*/ 1832697 w 5338201"/>
                  <a:gd name="connsiteY1246" fmla="*/ 2396547 h 4122274"/>
                  <a:gd name="connsiteX1247" fmla="*/ 1887921 w 5338201"/>
                  <a:gd name="connsiteY1247" fmla="*/ 2411326 h 4122274"/>
                  <a:gd name="connsiteX1248" fmla="*/ 1909228 w 5338201"/>
                  <a:gd name="connsiteY1248" fmla="*/ 2399036 h 4122274"/>
                  <a:gd name="connsiteX1249" fmla="*/ 1909228 w 5338201"/>
                  <a:gd name="connsiteY1249" fmla="*/ 2376003 h 4122274"/>
                  <a:gd name="connsiteX1250" fmla="*/ 1888206 w 5338201"/>
                  <a:gd name="connsiteY1250" fmla="*/ 2363924 h 4122274"/>
                  <a:gd name="connsiteX1251" fmla="*/ 1832697 w 5338201"/>
                  <a:gd name="connsiteY1251" fmla="*/ 2378773 h 4122274"/>
                  <a:gd name="connsiteX1252" fmla="*/ 1829353 w 5338201"/>
                  <a:gd name="connsiteY1252" fmla="*/ 2379223 h 4122274"/>
                  <a:gd name="connsiteX1253" fmla="*/ 1816898 w 5338201"/>
                  <a:gd name="connsiteY1253" fmla="*/ 2369633 h 4122274"/>
                  <a:gd name="connsiteX1254" fmla="*/ 1826009 w 5338201"/>
                  <a:gd name="connsiteY1254" fmla="*/ 2353814 h 4122274"/>
                  <a:gd name="connsiteX1255" fmla="*/ 1856440 w 5338201"/>
                  <a:gd name="connsiteY1255" fmla="*/ 2345701 h 4122274"/>
                  <a:gd name="connsiteX1256" fmla="*/ 1828420 w 5338201"/>
                  <a:gd name="connsiteY1256" fmla="*/ 2329586 h 4122274"/>
                  <a:gd name="connsiteX1257" fmla="*/ 1823638 w 5338201"/>
                  <a:gd name="connsiteY1257" fmla="*/ 2311953 h 4122274"/>
                  <a:gd name="connsiteX1258" fmla="*/ 1841264 w 5338201"/>
                  <a:gd name="connsiteY1258" fmla="*/ 2307186 h 4122274"/>
                  <a:gd name="connsiteX1259" fmla="*/ 1869362 w 5338201"/>
                  <a:gd name="connsiteY1259" fmla="*/ 2323329 h 4122274"/>
                  <a:gd name="connsiteX1260" fmla="*/ 1861210 w 5338201"/>
                  <a:gd name="connsiteY1260" fmla="*/ 2292914 h 4122274"/>
                  <a:gd name="connsiteX1261" fmla="*/ 1870334 w 5338201"/>
                  <a:gd name="connsiteY1261" fmla="*/ 2277095 h 4122274"/>
                  <a:gd name="connsiteX1262" fmla="*/ 1886132 w 5338201"/>
                  <a:gd name="connsiteY1262" fmla="*/ 2286235 h 4122274"/>
                  <a:gd name="connsiteX1263" fmla="*/ 1900946 w 5338201"/>
                  <a:gd name="connsiteY1263" fmla="*/ 2341454 h 4122274"/>
                  <a:gd name="connsiteX1264" fmla="*/ 1922123 w 5338201"/>
                  <a:gd name="connsiteY1264" fmla="*/ 2353617 h 4122274"/>
                  <a:gd name="connsiteX1265" fmla="*/ 1942186 w 5338201"/>
                  <a:gd name="connsiteY1265" fmla="*/ 2342017 h 4122274"/>
                  <a:gd name="connsiteX1266" fmla="*/ 1942186 w 5338201"/>
                  <a:gd name="connsiteY1266" fmla="*/ 2317662 h 4122274"/>
                  <a:gd name="connsiteX1267" fmla="*/ 1901607 w 5338201"/>
                  <a:gd name="connsiteY1267" fmla="*/ 2277053 h 4122274"/>
                  <a:gd name="connsiteX1268" fmla="*/ 1901607 w 5338201"/>
                  <a:gd name="connsiteY1268" fmla="*/ 2258829 h 4122274"/>
                  <a:gd name="connsiteX1269" fmla="*/ 1919842 w 5338201"/>
                  <a:gd name="connsiteY1269" fmla="*/ 2258829 h 4122274"/>
                  <a:gd name="connsiteX1270" fmla="*/ 1942186 w 5338201"/>
                  <a:gd name="connsiteY1270" fmla="*/ 2281173 h 4122274"/>
                  <a:gd name="connsiteX1271" fmla="*/ 1942186 w 5338201"/>
                  <a:gd name="connsiteY1271" fmla="*/ 2248719 h 4122274"/>
                  <a:gd name="connsiteX1272" fmla="*/ 1955107 w 5338201"/>
                  <a:gd name="connsiteY1272" fmla="*/ 2235782 h 4122274"/>
                  <a:gd name="connsiteX1273" fmla="*/ 2661149 w 5338201"/>
                  <a:gd name="connsiteY1273" fmla="*/ 2235029 h 4122274"/>
                  <a:gd name="connsiteX1274" fmla="*/ 2669298 w 5338201"/>
                  <a:gd name="connsiteY1274" fmla="*/ 2237556 h 4122274"/>
                  <a:gd name="connsiteX1275" fmla="*/ 2672929 w 5338201"/>
                  <a:gd name="connsiteY1275" fmla="*/ 2244448 h 4122274"/>
                  <a:gd name="connsiteX1276" fmla="*/ 2664948 w 5338201"/>
                  <a:gd name="connsiteY1276" fmla="*/ 2271283 h 4122274"/>
                  <a:gd name="connsiteX1277" fmla="*/ 2658070 w 5338201"/>
                  <a:gd name="connsiteY1277" fmla="*/ 2275095 h 4122274"/>
                  <a:gd name="connsiteX1278" fmla="*/ 2649906 w 5338201"/>
                  <a:gd name="connsiteY1278" fmla="*/ 2272554 h 4122274"/>
                  <a:gd name="connsiteX1279" fmla="*/ 2646092 w 5338201"/>
                  <a:gd name="connsiteY1279" fmla="*/ 2265662 h 4122274"/>
                  <a:gd name="connsiteX1280" fmla="*/ 2654256 w 5338201"/>
                  <a:gd name="connsiteY1280" fmla="*/ 2238827 h 4122274"/>
                  <a:gd name="connsiteX1281" fmla="*/ 2661149 w 5338201"/>
                  <a:gd name="connsiteY1281" fmla="*/ 2235029 h 4122274"/>
                  <a:gd name="connsiteX1282" fmla="*/ 2610370 w 5338201"/>
                  <a:gd name="connsiteY1282" fmla="*/ 2229408 h 4122274"/>
                  <a:gd name="connsiteX1283" fmla="*/ 2616359 w 5338201"/>
                  <a:gd name="connsiteY1283" fmla="*/ 2234476 h 4122274"/>
                  <a:gd name="connsiteX1284" fmla="*/ 2619086 w 5338201"/>
                  <a:gd name="connsiteY1284" fmla="*/ 2262403 h 4122274"/>
                  <a:gd name="connsiteX1285" fmla="*/ 2614000 w 5338201"/>
                  <a:gd name="connsiteY1285" fmla="*/ 2268383 h 4122274"/>
                  <a:gd name="connsiteX1286" fmla="*/ 2605483 w 5338201"/>
                  <a:gd name="connsiteY1286" fmla="*/ 2269295 h 4122274"/>
                  <a:gd name="connsiteX1287" fmla="*/ 2599494 w 5338201"/>
                  <a:gd name="connsiteY1287" fmla="*/ 2264212 h 4122274"/>
                  <a:gd name="connsiteX1288" fmla="*/ 2596967 w 5338201"/>
                  <a:gd name="connsiteY1288" fmla="*/ 2236300 h 4122274"/>
                  <a:gd name="connsiteX1289" fmla="*/ 2601853 w 5338201"/>
                  <a:gd name="connsiteY1289" fmla="*/ 2230305 h 4122274"/>
                  <a:gd name="connsiteX1290" fmla="*/ 4051262 w 5338201"/>
                  <a:gd name="connsiteY1290" fmla="*/ 2224875 h 4122274"/>
                  <a:gd name="connsiteX1291" fmla="*/ 4051262 w 5338201"/>
                  <a:gd name="connsiteY1291" fmla="*/ 2308377 h 4122274"/>
                  <a:gd name="connsiteX1292" fmla="*/ 4021632 w 5338201"/>
                  <a:gd name="connsiteY1292" fmla="*/ 2338020 h 4122274"/>
                  <a:gd name="connsiteX1293" fmla="*/ 3723546 w 5338201"/>
                  <a:gd name="connsiteY1293" fmla="*/ 2338020 h 4122274"/>
                  <a:gd name="connsiteX1294" fmla="*/ 3693916 w 5338201"/>
                  <a:gd name="connsiteY1294" fmla="*/ 2308377 h 4122274"/>
                  <a:gd name="connsiteX1295" fmla="*/ 3693916 w 5338201"/>
                  <a:gd name="connsiteY1295" fmla="*/ 2224912 h 4122274"/>
                  <a:gd name="connsiteX1296" fmla="*/ 3716068 w 5338201"/>
                  <a:gd name="connsiteY1296" fmla="*/ 2229946 h 4122274"/>
                  <a:gd name="connsiteX1297" fmla="*/ 3841801 w 5338201"/>
                  <a:gd name="connsiteY1297" fmla="*/ 2229946 h 4122274"/>
                  <a:gd name="connsiteX1298" fmla="*/ 3872589 w 5338201"/>
                  <a:gd name="connsiteY1298" fmla="*/ 2252905 h 4122274"/>
                  <a:gd name="connsiteX1299" fmla="*/ 3903377 w 5338201"/>
                  <a:gd name="connsiteY1299" fmla="*/ 2229946 h 4122274"/>
                  <a:gd name="connsiteX1300" fmla="*/ 4029110 w 5338201"/>
                  <a:gd name="connsiteY1300" fmla="*/ 2229946 h 4122274"/>
                  <a:gd name="connsiteX1301" fmla="*/ 4051262 w 5338201"/>
                  <a:gd name="connsiteY1301" fmla="*/ 2224875 h 4122274"/>
                  <a:gd name="connsiteX1302" fmla="*/ 1655706 w 5338201"/>
                  <a:gd name="connsiteY1302" fmla="*/ 2208516 h 4122274"/>
                  <a:gd name="connsiteX1303" fmla="*/ 1739133 w 5338201"/>
                  <a:gd name="connsiteY1303" fmla="*/ 2208516 h 4122274"/>
                  <a:gd name="connsiteX1304" fmla="*/ 1697404 w 5338201"/>
                  <a:gd name="connsiteY1304" fmla="*/ 2250241 h 4122274"/>
                  <a:gd name="connsiteX1305" fmla="*/ 1689053 w 5338201"/>
                  <a:gd name="connsiteY1305" fmla="*/ 2249397 h 4122274"/>
                  <a:gd name="connsiteX1306" fmla="*/ 1659070 w 5338201"/>
                  <a:gd name="connsiteY1306" fmla="*/ 2224758 h 4122274"/>
                  <a:gd name="connsiteX1307" fmla="*/ 1655706 w 5338201"/>
                  <a:gd name="connsiteY1307" fmla="*/ 2208516 h 4122274"/>
                  <a:gd name="connsiteX1308" fmla="*/ 2329333 w 5338201"/>
                  <a:gd name="connsiteY1308" fmla="*/ 2203069 h 4122274"/>
                  <a:gd name="connsiteX1309" fmla="*/ 2392906 w 5338201"/>
                  <a:gd name="connsiteY1309" fmla="*/ 2204449 h 4122274"/>
                  <a:gd name="connsiteX1310" fmla="*/ 2402404 w 5338201"/>
                  <a:gd name="connsiteY1310" fmla="*/ 2209644 h 4122274"/>
                  <a:gd name="connsiteX1311" fmla="*/ 2403655 w 5338201"/>
                  <a:gd name="connsiteY1311" fmla="*/ 2220412 h 4122274"/>
                  <a:gd name="connsiteX1312" fmla="*/ 2363166 w 5338201"/>
                  <a:gd name="connsiteY1312" fmla="*/ 2326614 h 4122274"/>
                  <a:gd name="connsiteX1313" fmla="*/ 2354861 w 5338201"/>
                  <a:gd name="connsiteY1313" fmla="*/ 2333876 h 4122274"/>
                  <a:gd name="connsiteX1314" fmla="*/ 2352150 w 5338201"/>
                  <a:gd name="connsiteY1314" fmla="*/ 2334198 h 4122274"/>
                  <a:gd name="connsiteX1315" fmla="*/ 2344201 w 5338201"/>
                  <a:gd name="connsiteY1315" fmla="*/ 2331105 h 4122274"/>
                  <a:gd name="connsiteX1316" fmla="*/ 2297148 w 5338201"/>
                  <a:gd name="connsiteY1316" fmla="*/ 2288064 h 4122274"/>
                  <a:gd name="connsiteX1317" fmla="*/ 2294052 w 5338201"/>
                  <a:gd name="connsiteY1317" fmla="*/ 2275266 h 4122274"/>
                  <a:gd name="connsiteX1318" fmla="*/ 2318063 w 5338201"/>
                  <a:gd name="connsiteY1318" fmla="*/ 2210732 h 4122274"/>
                  <a:gd name="connsiteX1319" fmla="*/ 2329333 w 5338201"/>
                  <a:gd name="connsiteY1319" fmla="*/ 2203069 h 4122274"/>
                  <a:gd name="connsiteX1320" fmla="*/ 4758275 w 5338201"/>
                  <a:gd name="connsiteY1320" fmla="*/ 2197059 h 4122274"/>
                  <a:gd name="connsiteX1321" fmla="*/ 4748850 w 5338201"/>
                  <a:gd name="connsiteY1321" fmla="*/ 2206304 h 4122274"/>
                  <a:gd name="connsiteX1322" fmla="*/ 4748850 w 5338201"/>
                  <a:gd name="connsiteY1322" fmla="*/ 2431310 h 4122274"/>
                  <a:gd name="connsiteX1323" fmla="*/ 4758275 w 5338201"/>
                  <a:gd name="connsiteY1323" fmla="*/ 2440734 h 4122274"/>
                  <a:gd name="connsiteX1324" fmla="*/ 4786563 w 5338201"/>
                  <a:gd name="connsiteY1324" fmla="*/ 2440734 h 4122274"/>
                  <a:gd name="connsiteX1325" fmla="*/ 4795808 w 5338201"/>
                  <a:gd name="connsiteY1325" fmla="*/ 2431310 h 4122274"/>
                  <a:gd name="connsiteX1326" fmla="*/ 4795808 w 5338201"/>
                  <a:gd name="connsiteY1326" fmla="*/ 2351360 h 4122274"/>
                  <a:gd name="connsiteX1327" fmla="*/ 4844410 w 5338201"/>
                  <a:gd name="connsiteY1327" fmla="*/ 2351360 h 4122274"/>
                  <a:gd name="connsiteX1328" fmla="*/ 4921642 w 5338201"/>
                  <a:gd name="connsiteY1328" fmla="*/ 2274291 h 4122274"/>
                  <a:gd name="connsiteX1329" fmla="*/ 4844410 w 5338201"/>
                  <a:gd name="connsiteY1329" fmla="*/ 2197059 h 4122274"/>
                  <a:gd name="connsiteX1330" fmla="*/ 3874881 w 5338201"/>
                  <a:gd name="connsiteY1330" fmla="*/ 2192157 h 4122274"/>
                  <a:gd name="connsiteX1331" fmla="*/ 3893121 w 5338201"/>
                  <a:gd name="connsiteY1331" fmla="*/ 2210395 h 4122274"/>
                  <a:gd name="connsiteX1332" fmla="*/ 3893121 w 5338201"/>
                  <a:gd name="connsiteY1332" fmla="*/ 2218683 h 4122274"/>
                  <a:gd name="connsiteX1333" fmla="*/ 3874881 w 5338201"/>
                  <a:gd name="connsiteY1333" fmla="*/ 2236923 h 4122274"/>
                  <a:gd name="connsiteX1334" fmla="*/ 3856591 w 5338201"/>
                  <a:gd name="connsiteY1334" fmla="*/ 2218683 h 4122274"/>
                  <a:gd name="connsiteX1335" fmla="*/ 3856591 w 5338201"/>
                  <a:gd name="connsiteY1335" fmla="*/ 2210395 h 4122274"/>
                  <a:gd name="connsiteX1336" fmla="*/ 3874881 w 5338201"/>
                  <a:gd name="connsiteY1336" fmla="*/ 2192157 h 4122274"/>
                  <a:gd name="connsiteX1337" fmla="*/ 1059189 w 5338201"/>
                  <a:gd name="connsiteY1337" fmla="*/ 2186704 h 4122274"/>
                  <a:gd name="connsiteX1338" fmla="*/ 1084757 w 5338201"/>
                  <a:gd name="connsiteY1338" fmla="*/ 2211521 h 4122274"/>
                  <a:gd name="connsiteX1339" fmla="*/ 1084757 w 5338201"/>
                  <a:gd name="connsiteY1339" fmla="*/ 2365388 h 4122274"/>
                  <a:gd name="connsiteX1340" fmla="*/ 1058381 w 5338201"/>
                  <a:gd name="connsiteY1340" fmla="*/ 2389370 h 4122274"/>
                  <a:gd name="connsiteX1341" fmla="*/ 1033575 w 5338201"/>
                  <a:gd name="connsiteY1341" fmla="*/ 2365388 h 4122274"/>
                  <a:gd name="connsiteX1342" fmla="*/ 1033575 w 5338201"/>
                  <a:gd name="connsiteY1342" fmla="*/ 2211521 h 4122274"/>
                  <a:gd name="connsiteX1343" fmla="*/ 1059189 w 5338201"/>
                  <a:gd name="connsiteY1343" fmla="*/ 2186704 h 4122274"/>
                  <a:gd name="connsiteX1344" fmla="*/ 162810 w 5338201"/>
                  <a:gd name="connsiteY1344" fmla="*/ 2181251 h 4122274"/>
                  <a:gd name="connsiteX1345" fmla="*/ 354038 w 5338201"/>
                  <a:gd name="connsiteY1345" fmla="*/ 2181251 h 4122274"/>
                  <a:gd name="connsiteX1346" fmla="*/ 258415 w 5338201"/>
                  <a:gd name="connsiteY1346" fmla="*/ 2246716 h 4122274"/>
                  <a:gd name="connsiteX1347" fmla="*/ 162810 w 5338201"/>
                  <a:gd name="connsiteY1347" fmla="*/ 2181251 h 4122274"/>
                  <a:gd name="connsiteX1348" fmla="*/ 4706776 w 5338201"/>
                  <a:gd name="connsiteY1348" fmla="*/ 2143021 h 4122274"/>
                  <a:gd name="connsiteX1349" fmla="*/ 4963716 w 5338201"/>
                  <a:gd name="connsiteY1349" fmla="*/ 2143021 h 4122274"/>
                  <a:gd name="connsiteX1350" fmla="*/ 5011032 w 5338201"/>
                  <a:gd name="connsiteY1350" fmla="*/ 2190532 h 4122274"/>
                  <a:gd name="connsiteX1351" fmla="*/ 5011032 w 5338201"/>
                  <a:gd name="connsiteY1351" fmla="*/ 2447277 h 4122274"/>
                  <a:gd name="connsiteX1352" fmla="*/ 4963716 w 5338201"/>
                  <a:gd name="connsiteY1352" fmla="*/ 2494593 h 4122274"/>
                  <a:gd name="connsiteX1353" fmla="*/ 4706776 w 5338201"/>
                  <a:gd name="connsiteY1353" fmla="*/ 2494593 h 4122274"/>
                  <a:gd name="connsiteX1354" fmla="*/ 4659460 w 5338201"/>
                  <a:gd name="connsiteY1354" fmla="*/ 2447277 h 4122274"/>
                  <a:gd name="connsiteX1355" fmla="*/ 4659460 w 5338201"/>
                  <a:gd name="connsiteY1355" fmla="*/ 2190532 h 4122274"/>
                  <a:gd name="connsiteX1356" fmla="*/ 4706776 w 5338201"/>
                  <a:gd name="connsiteY1356" fmla="*/ 2143021 h 4122274"/>
                  <a:gd name="connsiteX1357" fmla="*/ 2747149 w 5338201"/>
                  <a:gd name="connsiteY1357" fmla="*/ 2113557 h 4122274"/>
                  <a:gd name="connsiteX1358" fmla="*/ 2727677 w 5338201"/>
                  <a:gd name="connsiteY1358" fmla="*/ 2133040 h 4122274"/>
                  <a:gd name="connsiteX1359" fmla="*/ 2747149 w 5338201"/>
                  <a:gd name="connsiteY1359" fmla="*/ 2152524 h 4122274"/>
                  <a:gd name="connsiteX1360" fmla="*/ 2766649 w 5338201"/>
                  <a:gd name="connsiteY1360" fmla="*/ 2133040 h 4122274"/>
                  <a:gd name="connsiteX1361" fmla="*/ 2747149 w 5338201"/>
                  <a:gd name="connsiteY1361" fmla="*/ 2113557 h 4122274"/>
                  <a:gd name="connsiteX1362" fmla="*/ 2545318 w 5338201"/>
                  <a:gd name="connsiteY1362" fmla="*/ 2113557 h 4122274"/>
                  <a:gd name="connsiteX1363" fmla="*/ 2525849 w 5338201"/>
                  <a:gd name="connsiteY1363" fmla="*/ 2133040 h 4122274"/>
                  <a:gd name="connsiteX1364" fmla="*/ 2545318 w 5338201"/>
                  <a:gd name="connsiteY1364" fmla="*/ 2152524 h 4122274"/>
                  <a:gd name="connsiteX1365" fmla="*/ 2564802 w 5338201"/>
                  <a:gd name="connsiteY1365" fmla="*/ 2133040 h 4122274"/>
                  <a:gd name="connsiteX1366" fmla="*/ 2545318 w 5338201"/>
                  <a:gd name="connsiteY1366" fmla="*/ 2113557 h 4122274"/>
                  <a:gd name="connsiteX1367" fmla="*/ 2747149 w 5338201"/>
                  <a:gd name="connsiteY1367" fmla="*/ 2094001 h 4122274"/>
                  <a:gd name="connsiteX1368" fmla="*/ 2786135 w 5338201"/>
                  <a:gd name="connsiteY1368" fmla="*/ 2133040 h 4122274"/>
                  <a:gd name="connsiteX1369" fmla="*/ 2747149 w 5338201"/>
                  <a:gd name="connsiteY1369" fmla="*/ 2172007 h 4122274"/>
                  <a:gd name="connsiteX1370" fmla="*/ 2708177 w 5338201"/>
                  <a:gd name="connsiteY1370" fmla="*/ 2133040 h 4122274"/>
                  <a:gd name="connsiteX1371" fmla="*/ 2747149 w 5338201"/>
                  <a:gd name="connsiteY1371" fmla="*/ 2094001 h 4122274"/>
                  <a:gd name="connsiteX1372" fmla="*/ 2545318 w 5338201"/>
                  <a:gd name="connsiteY1372" fmla="*/ 2094001 h 4122274"/>
                  <a:gd name="connsiteX1373" fmla="*/ 2584369 w 5338201"/>
                  <a:gd name="connsiteY1373" fmla="*/ 2133040 h 4122274"/>
                  <a:gd name="connsiteX1374" fmla="*/ 2545318 w 5338201"/>
                  <a:gd name="connsiteY1374" fmla="*/ 2172007 h 4122274"/>
                  <a:gd name="connsiteX1375" fmla="*/ 2506347 w 5338201"/>
                  <a:gd name="connsiteY1375" fmla="*/ 2133040 h 4122274"/>
                  <a:gd name="connsiteX1376" fmla="*/ 2545318 w 5338201"/>
                  <a:gd name="connsiteY1376" fmla="*/ 2094001 h 4122274"/>
                  <a:gd name="connsiteX1377" fmla="*/ 320493 w 5338201"/>
                  <a:gd name="connsiteY1377" fmla="*/ 2072189 h 4122274"/>
                  <a:gd name="connsiteX1378" fmla="*/ 348585 w 5338201"/>
                  <a:gd name="connsiteY1378" fmla="*/ 2100278 h 4122274"/>
                  <a:gd name="connsiteX1379" fmla="*/ 320493 w 5338201"/>
                  <a:gd name="connsiteY1379" fmla="*/ 2128351 h 4122274"/>
                  <a:gd name="connsiteX1380" fmla="*/ 292418 w 5338201"/>
                  <a:gd name="connsiteY1380" fmla="*/ 2100278 h 4122274"/>
                  <a:gd name="connsiteX1381" fmla="*/ 320493 w 5338201"/>
                  <a:gd name="connsiteY1381" fmla="*/ 2072189 h 4122274"/>
                  <a:gd name="connsiteX1382" fmla="*/ 189635 w 5338201"/>
                  <a:gd name="connsiteY1382" fmla="*/ 2072189 h 4122274"/>
                  <a:gd name="connsiteX1383" fmla="*/ 217710 w 5338201"/>
                  <a:gd name="connsiteY1383" fmla="*/ 2100278 h 4122274"/>
                  <a:gd name="connsiteX1384" fmla="*/ 189635 w 5338201"/>
                  <a:gd name="connsiteY1384" fmla="*/ 2128351 h 4122274"/>
                  <a:gd name="connsiteX1385" fmla="*/ 161565 w 5338201"/>
                  <a:gd name="connsiteY1385" fmla="*/ 2100278 h 4122274"/>
                  <a:gd name="connsiteX1386" fmla="*/ 189635 w 5338201"/>
                  <a:gd name="connsiteY1386" fmla="*/ 2072189 h 4122274"/>
                  <a:gd name="connsiteX1387" fmla="*/ 2451763 w 5338201"/>
                  <a:gd name="connsiteY1387" fmla="*/ 2066736 h 4122274"/>
                  <a:gd name="connsiteX1388" fmla="*/ 2840666 w 5338201"/>
                  <a:gd name="connsiteY1388" fmla="*/ 2066736 h 4122274"/>
                  <a:gd name="connsiteX1389" fmla="*/ 2840666 w 5338201"/>
                  <a:gd name="connsiteY1389" fmla="*/ 2108350 h 4122274"/>
                  <a:gd name="connsiteX1390" fmla="*/ 2821869 w 5338201"/>
                  <a:gd name="connsiteY1390" fmla="*/ 2127147 h 4122274"/>
                  <a:gd name="connsiteX1391" fmla="*/ 2796680 w 5338201"/>
                  <a:gd name="connsiteY1391" fmla="*/ 2127147 h 4122274"/>
                  <a:gd name="connsiteX1392" fmla="*/ 2745691 w 5338201"/>
                  <a:gd name="connsiteY1392" fmla="*/ 2083036 h 4122274"/>
                  <a:gd name="connsiteX1393" fmla="*/ 2694665 w 5338201"/>
                  <a:gd name="connsiteY1393" fmla="*/ 2127147 h 4122274"/>
                  <a:gd name="connsiteX1394" fmla="*/ 2592740 w 5338201"/>
                  <a:gd name="connsiteY1394" fmla="*/ 2127147 h 4122274"/>
                  <a:gd name="connsiteX1395" fmla="*/ 2541715 w 5338201"/>
                  <a:gd name="connsiteY1395" fmla="*/ 2083036 h 4122274"/>
                  <a:gd name="connsiteX1396" fmla="*/ 2490671 w 5338201"/>
                  <a:gd name="connsiteY1396" fmla="*/ 2127147 h 4122274"/>
                  <a:gd name="connsiteX1397" fmla="*/ 2470560 w 5338201"/>
                  <a:gd name="connsiteY1397" fmla="*/ 2127147 h 4122274"/>
                  <a:gd name="connsiteX1398" fmla="*/ 2451763 w 5338201"/>
                  <a:gd name="connsiteY1398" fmla="*/ 2108350 h 4122274"/>
                  <a:gd name="connsiteX1399" fmla="*/ 3847484 w 5338201"/>
                  <a:gd name="connsiteY1399" fmla="*/ 2061763 h 4122274"/>
                  <a:gd name="connsiteX1400" fmla="*/ 3820388 w 5338201"/>
                  <a:gd name="connsiteY1400" fmla="*/ 2081481 h 4122274"/>
                  <a:gd name="connsiteX1401" fmla="*/ 3931634 w 5338201"/>
                  <a:gd name="connsiteY1401" fmla="*/ 2081481 h 4122274"/>
                  <a:gd name="connsiteX1402" fmla="*/ 3904521 w 5338201"/>
                  <a:gd name="connsiteY1402" fmla="*/ 2061763 h 4122274"/>
                  <a:gd name="connsiteX1403" fmla="*/ 3847484 w 5338201"/>
                  <a:gd name="connsiteY1403" fmla="*/ 2034016 h 4122274"/>
                  <a:gd name="connsiteX1404" fmla="*/ 3904521 w 5338201"/>
                  <a:gd name="connsiteY1404" fmla="*/ 2034016 h 4122274"/>
                  <a:gd name="connsiteX1405" fmla="*/ 3960161 w 5338201"/>
                  <a:gd name="connsiteY1405" fmla="*/ 2081481 h 4122274"/>
                  <a:gd name="connsiteX1406" fmla="*/ 4031315 w 5338201"/>
                  <a:gd name="connsiteY1406" fmla="*/ 2081481 h 4122274"/>
                  <a:gd name="connsiteX1407" fmla="*/ 4062169 w 5338201"/>
                  <a:gd name="connsiteY1407" fmla="*/ 2111159 h 4122274"/>
                  <a:gd name="connsiteX1408" fmla="*/ 4062169 w 5338201"/>
                  <a:gd name="connsiteY1408" fmla="*/ 2179533 h 4122274"/>
                  <a:gd name="connsiteX1409" fmla="*/ 4032539 w 5338201"/>
                  <a:gd name="connsiteY1409" fmla="*/ 2209211 h 4122274"/>
                  <a:gd name="connsiteX1410" fmla="*/ 3908175 w 5338201"/>
                  <a:gd name="connsiteY1410" fmla="*/ 2209211 h 4122274"/>
                  <a:gd name="connsiteX1411" fmla="*/ 3898315 w 5338201"/>
                  <a:gd name="connsiteY1411" fmla="*/ 2187474 h 4122274"/>
                  <a:gd name="connsiteX1412" fmla="*/ 3897764 w 5338201"/>
                  <a:gd name="connsiteY1412" fmla="*/ 2186995 h 4122274"/>
                  <a:gd name="connsiteX1413" fmla="*/ 3893662 w 5338201"/>
                  <a:gd name="connsiteY1413" fmla="*/ 2183743 h 4122274"/>
                  <a:gd name="connsiteX1414" fmla="*/ 3892007 w 5338201"/>
                  <a:gd name="connsiteY1414" fmla="*/ 2182843 h 4122274"/>
                  <a:gd name="connsiteX1415" fmla="*/ 3888353 w 5338201"/>
                  <a:gd name="connsiteY1415" fmla="*/ 2180928 h 4122274"/>
                  <a:gd name="connsiteX1416" fmla="*/ 3885181 w 5338201"/>
                  <a:gd name="connsiteY1416" fmla="*/ 2179947 h 4122274"/>
                  <a:gd name="connsiteX1417" fmla="*/ 3882423 w 5338201"/>
                  <a:gd name="connsiteY1417" fmla="*/ 2179104 h 4122274"/>
                  <a:gd name="connsiteX1418" fmla="*/ 3876011 w 5338201"/>
                  <a:gd name="connsiteY1418" fmla="*/ 2178463 h 4122274"/>
                  <a:gd name="connsiteX1419" fmla="*/ 3869599 w 5338201"/>
                  <a:gd name="connsiteY1419" fmla="*/ 2179104 h 4122274"/>
                  <a:gd name="connsiteX1420" fmla="*/ 3866841 w 5338201"/>
                  <a:gd name="connsiteY1420" fmla="*/ 2179947 h 4122274"/>
                  <a:gd name="connsiteX1421" fmla="*/ 3863704 w 5338201"/>
                  <a:gd name="connsiteY1421" fmla="*/ 2180928 h 4122274"/>
                  <a:gd name="connsiteX1422" fmla="*/ 3860015 w 5338201"/>
                  <a:gd name="connsiteY1422" fmla="*/ 2182843 h 4122274"/>
                  <a:gd name="connsiteX1423" fmla="*/ 3858360 w 5338201"/>
                  <a:gd name="connsiteY1423" fmla="*/ 2183743 h 4122274"/>
                  <a:gd name="connsiteX1424" fmla="*/ 3854293 w 5338201"/>
                  <a:gd name="connsiteY1424" fmla="*/ 2186995 h 4122274"/>
                  <a:gd name="connsiteX1425" fmla="*/ 3853707 w 5338201"/>
                  <a:gd name="connsiteY1425" fmla="*/ 2187474 h 4122274"/>
                  <a:gd name="connsiteX1426" fmla="*/ 3843847 w 5338201"/>
                  <a:gd name="connsiteY1426" fmla="*/ 2209211 h 4122274"/>
                  <a:gd name="connsiteX1427" fmla="*/ 3719483 w 5338201"/>
                  <a:gd name="connsiteY1427" fmla="*/ 2209211 h 4122274"/>
                  <a:gd name="connsiteX1428" fmla="*/ 3689853 w 5338201"/>
                  <a:gd name="connsiteY1428" fmla="*/ 2179582 h 4122274"/>
                  <a:gd name="connsiteX1429" fmla="*/ 3689853 w 5338201"/>
                  <a:gd name="connsiteY1429" fmla="*/ 2111159 h 4122274"/>
                  <a:gd name="connsiteX1430" fmla="*/ 3720707 w 5338201"/>
                  <a:gd name="connsiteY1430" fmla="*/ 2081481 h 4122274"/>
                  <a:gd name="connsiteX1431" fmla="*/ 3791861 w 5338201"/>
                  <a:gd name="connsiteY1431" fmla="*/ 2081481 h 4122274"/>
                  <a:gd name="connsiteX1432" fmla="*/ 3847484 w 5338201"/>
                  <a:gd name="connsiteY1432" fmla="*/ 2034016 h 4122274"/>
                  <a:gd name="connsiteX1433" fmla="*/ 741231 w 5338201"/>
                  <a:gd name="connsiteY1433" fmla="*/ 2017657 h 4122274"/>
                  <a:gd name="connsiteX1434" fmla="*/ 932070 w 5338201"/>
                  <a:gd name="connsiteY1434" fmla="*/ 2152382 h 4122274"/>
                  <a:gd name="connsiteX1435" fmla="*/ 741231 w 5338201"/>
                  <a:gd name="connsiteY1435" fmla="*/ 2287081 h 4122274"/>
                  <a:gd name="connsiteX1436" fmla="*/ 741231 w 5338201"/>
                  <a:gd name="connsiteY1436" fmla="*/ 2017657 h 4122274"/>
                  <a:gd name="connsiteX1437" fmla="*/ 539465 w 5338201"/>
                  <a:gd name="connsiteY1437" fmla="*/ 2017657 h 4122274"/>
                  <a:gd name="connsiteX1438" fmla="*/ 730304 w 5338201"/>
                  <a:gd name="connsiteY1438" fmla="*/ 2152382 h 4122274"/>
                  <a:gd name="connsiteX1439" fmla="*/ 539465 w 5338201"/>
                  <a:gd name="connsiteY1439" fmla="*/ 2287081 h 4122274"/>
                  <a:gd name="connsiteX1440" fmla="*/ 539465 w 5338201"/>
                  <a:gd name="connsiteY1440" fmla="*/ 2017657 h 4122274"/>
                  <a:gd name="connsiteX1441" fmla="*/ 259647 w 5338201"/>
                  <a:gd name="connsiteY1441" fmla="*/ 1995089 h 4122274"/>
                  <a:gd name="connsiteX1442" fmla="*/ 109936 w 5338201"/>
                  <a:gd name="connsiteY1442" fmla="*/ 2144758 h 4122274"/>
                  <a:gd name="connsiteX1443" fmla="*/ 259647 w 5338201"/>
                  <a:gd name="connsiteY1443" fmla="*/ 2294426 h 4122274"/>
                  <a:gd name="connsiteX1444" fmla="*/ 409340 w 5338201"/>
                  <a:gd name="connsiteY1444" fmla="*/ 2144758 h 4122274"/>
                  <a:gd name="connsiteX1445" fmla="*/ 259647 w 5338201"/>
                  <a:gd name="connsiteY1445" fmla="*/ 1995089 h 4122274"/>
                  <a:gd name="connsiteX1446" fmla="*/ 3382073 w 5338201"/>
                  <a:gd name="connsiteY1446" fmla="*/ 1968774 h 4122274"/>
                  <a:gd name="connsiteX1447" fmla="*/ 3411695 w 5338201"/>
                  <a:gd name="connsiteY1447" fmla="*/ 1976872 h 4122274"/>
                  <a:gd name="connsiteX1448" fmla="*/ 3453068 w 5338201"/>
                  <a:gd name="connsiteY1448" fmla="*/ 2065944 h 4122274"/>
                  <a:gd name="connsiteX1449" fmla="*/ 3434812 w 5338201"/>
                  <a:gd name="connsiteY1449" fmla="*/ 2061502 h 4122274"/>
                  <a:gd name="connsiteX1450" fmla="*/ 3403326 w 5338201"/>
                  <a:gd name="connsiteY1450" fmla="*/ 1993661 h 4122274"/>
                  <a:gd name="connsiteX1451" fmla="*/ 3357581 w 5338201"/>
                  <a:gd name="connsiteY1451" fmla="*/ 1990551 h 4122274"/>
                  <a:gd name="connsiteX1452" fmla="*/ 3323027 w 5338201"/>
                  <a:gd name="connsiteY1452" fmla="*/ 2020631 h 4122274"/>
                  <a:gd name="connsiteX1453" fmla="*/ 3319862 w 5338201"/>
                  <a:gd name="connsiteY1453" fmla="*/ 2066370 h 4122274"/>
                  <a:gd name="connsiteX1454" fmla="*/ 3331396 w 5338201"/>
                  <a:gd name="connsiteY1454" fmla="*/ 2086620 h 4122274"/>
                  <a:gd name="connsiteX1455" fmla="*/ 3346144 w 5338201"/>
                  <a:gd name="connsiteY1455" fmla="*/ 2078254 h 4122274"/>
                  <a:gd name="connsiteX1456" fmla="*/ 3536222 w 5338201"/>
                  <a:gd name="connsiteY1456" fmla="*/ 2078254 h 4122274"/>
                  <a:gd name="connsiteX1457" fmla="*/ 3574528 w 5338201"/>
                  <a:gd name="connsiteY1457" fmla="*/ 2041436 h 4122274"/>
                  <a:gd name="connsiteX1458" fmla="*/ 3597221 w 5338201"/>
                  <a:gd name="connsiteY1458" fmla="*/ 2032292 h 4122274"/>
                  <a:gd name="connsiteX1459" fmla="*/ 3638317 w 5338201"/>
                  <a:gd name="connsiteY1459" fmla="*/ 2032292 h 4122274"/>
                  <a:gd name="connsiteX1460" fmla="*/ 3647730 w 5338201"/>
                  <a:gd name="connsiteY1460" fmla="*/ 2041696 h 4122274"/>
                  <a:gd name="connsiteX1461" fmla="*/ 3638317 w 5338201"/>
                  <a:gd name="connsiteY1461" fmla="*/ 2051080 h 4122274"/>
                  <a:gd name="connsiteX1462" fmla="*/ 3597221 w 5338201"/>
                  <a:gd name="connsiteY1462" fmla="*/ 2051080 h 4122274"/>
                  <a:gd name="connsiteX1463" fmla="*/ 3587547 w 5338201"/>
                  <a:gd name="connsiteY1463" fmla="*/ 2054968 h 4122274"/>
                  <a:gd name="connsiteX1464" fmla="*/ 3563304 w 5338201"/>
                  <a:gd name="connsiteY1464" fmla="*/ 2078254 h 4122274"/>
                  <a:gd name="connsiteX1465" fmla="*/ 3590597 w 5338201"/>
                  <a:gd name="connsiteY1465" fmla="*/ 2078254 h 4122274"/>
                  <a:gd name="connsiteX1466" fmla="*/ 3598102 w 5338201"/>
                  <a:gd name="connsiteY1466" fmla="*/ 2097394 h 4122274"/>
                  <a:gd name="connsiteX1467" fmla="*/ 3479595 w 5338201"/>
                  <a:gd name="connsiteY1467" fmla="*/ 2207087 h 4122274"/>
                  <a:gd name="connsiteX1468" fmla="*/ 3470198 w 5338201"/>
                  <a:gd name="connsiteY1468" fmla="*/ 2212843 h 4122274"/>
                  <a:gd name="connsiteX1469" fmla="*/ 3470198 w 5338201"/>
                  <a:gd name="connsiteY1469" fmla="*/ 2338215 h 4122274"/>
                  <a:gd name="connsiteX1470" fmla="*/ 3525193 w 5338201"/>
                  <a:gd name="connsiteY1470" fmla="*/ 2362131 h 4122274"/>
                  <a:gd name="connsiteX1471" fmla="*/ 3524378 w 5338201"/>
                  <a:gd name="connsiteY1471" fmla="*/ 2365851 h 4122274"/>
                  <a:gd name="connsiteX1472" fmla="*/ 3394010 w 5338201"/>
                  <a:gd name="connsiteY1472" fmla="*/ 2365851 h 4122274"/>
                  <a:gd name="connsiteX1473" fmla="*/ 3393276 w 5338201"/>
                  <a:gd name="connsiteY1473" fmla="*/ 2362260 h 4122274"/>
                  <a:gd name="connsiteX1474" fmla="*/ 3451420 w 5338201"/>
                  <a:gd name="connsiteY1474" fmla="*/ 2338067 h 4122274"/>
                  <a:gd name="connsiteX1475" fmla="*/ 3451420 w 5338201"/>
                  <a:gd name="connsiteY1475" fmla="*/ 2213158 h 4122274"/>
                  <a:gd name="connsiteX1476" fmla="*/ 3439462 w 5338201"/>
                  <a:gd name="connsiteY1476" fmla="*/ 2205809 h 4122274"/>
                  <a:gd name="connsiteX1477" fmla="*/ 3362149 w 5338201"/>
                  <a:gd name="connsiteY1477" fmla="*/ 2124604 h 4122274"/>
                  <a:gd name="connsiteX1478" fmla="*/ 3341593 w 5338201"/>
                  <a:gd name="connsiteY1478" fmla="*/ 2117755 h 4122274"/>
                  <a:gd name="connsiteX1479" fmla="*/ 3337286 w 5338201"/>
                  <a:gd name="connsiteY1479" fmla="*/ 2115460 h 4122274"/>
                  <a:gd name="connsiteX1480" fmla="*/ 3302047 w 5338201"/>
                  <a:gd name="connsiteY1480" fmla="*/ 2072367 h 4122274"/>
                  <a:gd name="connsiteX1481" fmla="*/ 3306191 w 5338201"/>
                  <a:gd name="connsiteY1481" fmla="*/ 2012264 h 4122274"/>
                  <a:gd name="connsiteX1482" fmla="*/ 3351593 w 5338201"/>
                  <a:gd name="connsiteY1482" fmla="*/ 1972725 h 4122274"/>
                  <a:gd name="connsiteX1483" fmla="*/ 3382073 w 5338201"/>
                  <a:gd name="connsiteY1483" fmla="*/ 1968774 h 4122274"/>
                  <a:gd name="connsiteX1484" fmla="*/ 4347569 w 5338201"/>
                  <a:gd name="connsiteY1484" fmla="*/ 1968579 h 4122274"/>
                  <a:gd name="connsiteX1485" fmla="*/ 4454793 w 5338201"/>
                  <a:gd name="connsiteY1485" fmla="*/ 2075852 h 4122274"/>
                  <a:gd name="connsiteX1486" fmla="*/ 4347569 w 5338201"/>
                  <a:gd name="connsiteY1486" fmla="*/ 2183086 h 4122274"/>
                  <a:gd name="connsiteX1487" fmla="*/ 4240326 w 5338201"/>
                  <a:gd name="connsiteY1487" fmla="*/ 2075852 h 4122274"/>
                  <a:gd name="connsiteX1488" fmla="*/ 4347569 w 5338201"/>
                  <a:gd name="connsiteY1488" fmla="*/ 1968579 h 4122274"/>
                  <a:gd name="connsiteX1489" fmla="*/ 2553026 w 5338201"/>
                  <a:gd name="connsiteY1489" fmla="*/ 1963044 h 4122274"/>
                  <a:gd name="connsiteX1490" fmla="*/ 2550951 w 5338201"/>
                  <a:gd name="connsiteY1490" fmla="*/ 1963854 h 4122274"/>
                  <a:gd name="connsiteX1491" fmla="*/ 2493125 w 5338201"/>
                  <a:gd name="connsiteY1491" fmla="*/ 2019060 h 4122274"/>
                  <a:gd name="connsiteX1492" fmla="*/ 2495136 w 5338201"/>
                  <a:gd name="connsiteY1492" fmla="*/ 2024134 h 4122274"/>
                  <a:gd name="connsiteX1493" fmla="*/ 2566623 w 5338201"/>
                  <a:gd name="connsiteY1493" fmla="*/ 2024134 h 4122274"/>
                  <a:gd name="connsiteX1494" fmla="*/ 2569563 w 5338201"/>
                  <a:gd name="connsiteY1494" fmla="*/ 2021189 h 4122274"/>
                  <a:gd name="connsiteX1495" fmla="*/ 2569563 w 5338201"/>
                  <a:gd name="connsiteY1495" fmla="*/ 1965990 h 4122274"/>
                  <a:gd name="connsiteX1496" fmla="*/ 2566623 w 5338201"/>
                  <a:gd name="connsiteY1496" fmla="*/ 1963044 h 4122274"/>
                  <a:gd name="connsiteX1497" fmla="*/ 4346040 w 5338201"/>
                  <a:gd name="connsiteY1497" fmla="*/ 1962121 h 4122274"/>
                  <a:gd name="connsiteX1498" fmla="*/ 4230865 w 5338201"/>
                  <a:gd name="connsiteY1498" fmla="*/ 2077345 h 4122274"/>
                  <a:gd name="connsiteX1499" fmla="*/ 4346040 w 5338201"/>
                  <a:gd name="connsiteY1499" fmla="*/ 2192531 h 4122274"/>
                  <a:gd name="connsiteX1500" fmla="*/ 4461214 w 5338201"/>
                  <a:gd name="connsiteY1500" fmla="*/ 2077345 h 4122274"/>
                  <a:gd name="connsiteX1501" fmla="*/ 4346040 w 5338201"/>
                  <a:gd name="connsiteY1501" fmla="*/ 1962121 h 4122274"/>
                  <a:gd name="connsiteX1502" fmla="*/ 3078723 w 5338201"/>
                  <a:gd name="connsiteY1502" fmla="*/ 1957672 h 4122274"/>
                  <a:gd name="connsiteX1503" fmla="*/ 3136598 w 5338201"/>
                  <a:gd name="connsiteY1503" fmla="*/ 1957672 h 4122274"/>
                  <a:gd name="connsiteX1504" fmla="*/ 3136598 w 5338201"/>
                  <a:gd name="connsiteY1504" fmla="*/ 2011093 h 4122274"/>
                  <a:gd name="connsiteX1505" fmla="*/ 3262248 w 5338201"/>
                  <a:gd name="connsiteY1505" fmla="*/ 2120906 h 4122274"/>
                  <a:gd name="connsiteX1506" fmla="*/ 3182503 w 5338201"/>
                  <a:gd name="connsiteY1506" fmla="*/ 2153615 h 4122274"/>
                  <a:gd name="connsiteX1507" fmla="*/ 3110336 w 5338201"/>
                  <a:gd name="connsiteY1507" fmla="*/ 2086301 h 4122274"/>
                  <a:gd name="connsiteX1508" fmla="*/ 3071005 w 5338201"/>
                  <a:gd name="connsiteY1508" fmla="*/ 2101354 h 4122274"/>
                  <a:gd name="connsiteX1509" fmla="*/ 3056148 w 5338201"/>
                  <a:gd name="connsiteY1509" fmla="*/ 2137798 h 4122274"/>
                  <a:gd name="connsiteX1510" fmla="*/ 3070487 w 5338201"/>
                  <a:gd name="connsiteY1510" fmla="*/ 2171356 h 4122274"/>
                  <a:gd name="connsiteX1511" fmla="*/ 3131704 w 5338201"/>
                  <a:gd name="connsiteY1511" fmla="*/ 2200245 h 4122274"/>
                  <a:gd name="connsiteX1512" fmla="*/ 3212578 w 5338201"/>
                  <a:gd name="connsiteY1512" fmla="*/ 2235812 h 4122274"/>
                  <a:gd name="connsiteX1513" fmla="*/ 3259456 w 5338201"/>
                  <a:gd name="connsiteY1513" fmla="*/ 2282046 h 4122274"/>
                  <a:gd name="connsiteX1514" fmla="*/ 3276917 w 5338201"/>
                  <a:gd name="connsiteY1514" fmla="*/ 2351058 h 4122274"/>
                  <a:gd name="connsiteX1515" fmla="*/ 3240833 w 5338201"/>
                  <a:gd name="connsiteY1515" fmla="*/ 2452042 h 4122274"/>
                  <a:gd name="connsiteX1516" fmla="*/ 3136598 w 5338201"/>
                  <a:gd name="connsiteY1516" fmla="*/ 2499663 h 4122274"/>
                  <a:gd name="connsiteX1517" fmla="*/ 3136598 w 5338201"/>
                  <a:gd name="connsiteY1517" fmla="*/ 2568844 h 4122274"/>
                  <a:gd name="connsiteX1518" fmla="*/ 3078723 w 5338201"/>
                  <a:gd name="connsiteY1518" fmla="*/ 2568844 h 4122274"/>
                  <a:gd name="connsiteX1519" fmla="*/ 3078723 w 5338201"/>
                  <a:gd name="connsiteY1519" fmla="*/ 2500031 h 4122274"/>
                  <a:gd name="connsiteX1520" fmla="*/ 2938044 w 5338201"/>
                  <a:gd name="connsiteY1520" fmla="*/ 2368006 h 4122274"/>
                  <a:gd name="connsiteX1521" fmla="*/ 3027563 w 5338201"/>
                  <a:gd name="connsiteY1521" fmla="*/ 2344663 h 4122274"/>
                  <a:gd name="connsiteX1522" fmla="*/ 3109897 w 5338201"/>
                  <a:gd name="connsiteY1522" fmla="*/ 2420295 h 4122274"/>
                  <a:gd name="connsiteX1523" fmla="*/ 3158107 w 5338201"/>
                  <a:gd name="connsiteY1523" fmla="*/ 2404111 h 4122274"/>
                  <a:gd name="connsiteX1524" fmla="*/ 3173498 w 5338201"/>
                  <a:gd name="connsiteY1524" fmla="*/ 2365035 h 4122274"/>
                  <a:gd name="connsiteX1525" fmla="*/ 3158107 w 5338201"/>
                  <a:gd name="connsiteY1525" fmla="*/ 2329101 h 4122274"/>
                  <a:gd name="connsiteX1526" fmla="*/ 3089580 w 5338201"/>
                  <a:gd name="connsiteY1526" fmla="*/ 2298061 h 4122274"/>
                  <a:gd name="connsiteX1527" fmla="*/ 3014965 w 5338201"/>
                  <a:gd name="connsiteY1527" fmla="*/ 2265267 h 4122274"/>
                  <a:gd name="connsiteX1528" fmla="*/ 2971335 w 5338201"/>
                  <a:gd name="connsiteY1528" fmla="*/ 2220023 h 4122274"/>
                  <a:gd name="connsiteX1529" fmla="*/ 2954564 w 5338201"/>
                  <a:gd name="connsiteY1529" fmla="*/ 2152115 h 4122274"/>
                  <a:gd name="connsiteX1530" fmla="*/ 2984529 w 5338201"/>
                  <a:gd name="connsiteY1530" fmla="*/ 2060666 h 4122274"/>
                  <a:gd name="connsiteX1531" fmla="*/ 3078723 w 5338201"/>
                  <a:gd name="connsiteY1531" fmla="*/ 2011093 h 4122274"/>
                  <a:gd name="connsiteX1532" fmla="*/ 259803 w 5338201"/>
                  <a:gd name="connsiteY1532" fmla="*/ 1957672 h 4122274"/>
                  <a:gd name="connsiteX1533" fmla="*/ 446742 w 5338201"/>
                  <a:gd name="connsiteY1533" fmla="*/ 2144758 h 4122274"/>
                  <a:gd name="connsiteX1534" fmla="*/ 259803 w 5338201"/>
                  <a:gd name="connsiteY1534" fmla="*/ 2331843 h 4122274"/>
                  <a:gd name="connsiteX1535" fmla="*/ 72552 w 5338201"/>
                  <a:gd name="connsiteY1535" fmla="*/ 2144758 h 4122274"/>
                  <a:gd name="connsiteX1536" fmla="*/ 259803 w 5338201"/>
                  <a:gd name="connsiteY1536" fmla="*/ 1957672 h 4122274"/>
                  <a:gd name="connsiteX1537" fmla="*/ 4346040 w 5338201"/>
                  <a:gd name="connsiteY1537" fmla="*/ 1941313 h 4122274"/>
                  <a:gd name="connsiteX1538" fmla="*/ 4482060 w 5338201"/>
                  <a:gd name="connsiteY1538" fmla="*/ 2077345 h 4122274"/>
                  <a:gd name="connsiteX1539" fmla="*/ 4346040 w 5338201"/>
                  <a:gd name="connsiteY1539" fmla="*/ 2213376 h 4122274"/>
                  <a:gd name="connsiteX1540" fmla="*/ 4209994 w 5338201"/>
                  <a:gd name="connsiteY1540" fmla="*/ 2077345 h 4122274"/>
                  <a:gd name="connsiteX1541" fmla="*/ 4346040 w 5338201"/>
                  <a:gd name="connsiteY1541" fmla="*/ 1941313 h 4122274"/>
                  <a:gd name="connsiteX1542" fmla="*/ 4716611 w 5338201"/>
                  <a:gd name="connsiteY1542" fmla="*/ 1925379 h 4122274"/>
                  <a:gd name="connsiteX1543" fmla="*/ 4720651 w 5338201"/>
                  <a:gd name="connsiteY1543" fmla="*/ 1925726 h 4122274"/>
                  <a:gd name="connsiteX1544" fmla="*/ 4777430 w 5338201"/>
                  <a:gd name="connsiteY1544" fmla="*/ 1945027 h 4122274"/>
                  <a:gd name="connsiteX1545" fmla="*/ 4834194 w 5338201"/>
                  <a:gd name="connsiteY1545" fmla="*/ 1925726 h 4122274"/>
                  <a:gd name="connsiteX1546" fmla="*/ 4838250 w 5338201"/>
                  <a:gd name="connsiteY1546" fmla="*/ 1925379 h 4122274"/>
                  <a:gd name="connsiteX1547" fmla="*/ 4897284 w 5338201"/>
                  <a:gd name="connsiteY1547" fmla="*/ 1956111 h 4122274"/>
                  <a:gd name="connsiteX1548" fmla="*/ 4905881 w 5338201"/>
                  <a:gd name="connsiteY1548" fmla="*/ 1965269 h 4122274"/>
                  <a:gd name="connsiteX1549" fmla="*/ 4943916 w 5338201"/>
                  <a:gd name="connsiteY1549" fmla="*/ 2050956 h 4122274"/>
                  <a:gd name="connsiteX1550" fmla="*/ 4942491 w 5338201"/>
                  <a:gd name="connsiteY1550" fmla="*/ 2069045 h 4122274"/>
                  <a:gd name="connsiteX1551" fmla="*/ 4926535 w 5338201"/>
                  <a:gd name="connsiteY1551" fmla="*/ 2077693 h 4122274"/>
                  <a:gd name="connsiteX1552" fmla="*/ 4628326 w 5338201"/>
                  <a:gd name="connsiteY1552" fmla="*/ 2077693 h 4122274"/>
                  <a:gd name="connsiteX1553" fmla="*/ 4612385 w 5338201"/>
                  <a:gd name="connsiteY1553" fmla="*/ 2069045 h 4122274"/>
                  <a:gd name="connsiteX1554" fmla="*/ 4610944 w 5338201"/>
                  <a:gd name="connsiteY1554" fmla="*/ 2050956 h 4122274"/>
                  <a:gd name="connsiteX1555" fmla="*/ 4648980 w 5338201"/>
                  <a:gd name="connsiteY1555" fmla="*/ 1965269 h 4122274"/>
                  <a:gd name="connsiteX1556" fmla="*/ 4657577 w 5338201"/>
                  <a:gd name="connsiteY1556" fmla="*/ 1956111 h 4122274"/>
                  <a:gd name="connsiteX1557" fmla="*/ 4493416 w 5338201"/>
                  <a:gd name="connsiteY1557" fmla="*/ 1914048 h 4122274"/>
                  <a:gd name="connsiteX1558" fmla="*/ 4505301 w 5338201"/>
                  <a:gd name="connsiteY1558" fmla="*/ 1925953 h 4122274"/>
                  <a:gd name="connsiteX1559" fmla="*/ 4505301 w 5338201"/>
                  <a:gd name="connsiteY1559" fmla="*/ 1998033 h 4122274"/>
                  <a:gd name="connsiteX1560" fmla="*/ 4511894 w 5338201"/>
                  <a:gd name="connsiteY1560" fmla="*/ 1998033 h 4122274"/>
                  <a:gd name="connsiteX1561" fmla="*/ 4511894 w 5338201"/>
                  <a:gd name="connsiteY1561" fmla="*/ 1925953 h 4122274"/>
                  <a:gd name="connsiteX1562" fmla="*/ 4523832 w 5338201"/>
                  <a:gd name="connsiteY1562" fmla="*/ 1914048 h 4122274"/>
                  <a:gd name="connsiteX1563" fmla="*/ 4535728 w 5338201"/>
                  <a:gd name="connsiteY1563" fmla="*/ 1925953 h 4122274"/>
                  <a:gd name="connsiteX1564" fmla="*/ 4535728 w 5338201"/>
                  <a:gd name="connsiteY1564" fmla="*/ 1998033 h 4122274"/>
                  <a:gd name="connsiteX1565" fmla="*/ 4542358 w 5338201"/>
                  <a:gd name="connsiteY1565" fmla="*/ 1998033 h 4122274"/>
                  <a:gd name="connsiteX1566" fmla="*/ 4542358 w 5338201"/>
                  <a:gd name="connsiteY1566" fmla="*/ 1925953 h 4122274"/>
                  <a:gd name="connsiteX1567" fmla="*/ 4554242 w 5338201"/>
                  <a:gd name="connsiteY1567" fmla="*/ 1914048 h 4122274"/>
                  <a:gd name="connsiteX1568" fmla="*/ 4566149 w 5338201"/>
                  <a:gd name="connsiteY1568" fmla="*/ 1925953 h 4122274"/>
                  <a:gd name="connsiteX1569" fmla="*/ 4566149 w 5338201"/>
                  <a:gd name="connsiteY1569" fmla="*/ 1998033 h 4122274"/>
                  <a:gd name="connsiteX1570" fmla="*/ 4572789 w 5338201"/>
                  <a:gd name="connsiteY1570" fmla="*/ 1998033 h 4122274"/>
                  <a:gd name="connsiteX1571" fmla="*/ 4572789 w 5338201"/>
                  <a:gd name="connsiteY1571" fmla="*/ 1928537 h 4122274"/>
                  <a:gd name="connsiteX1572" fmla="*/ 4584674 w 5338201"/>
                  <a:gd name="connsiteY1572" fmla="*/ 1916618 h 4122274"/>
                  <a:gd name="connsiteX1573" fmla="*/ 4596575 w 5338201"/>
                  <a:gd name="connsiteY1573" fmla="*/ 1928537 h 4122274"/>
                  <a:gd name="connsiteX1574" fmla="*/ 4596575 w 5338201"/>
                  <a:gd name="connsiteY1574" fmla="*/ 2007292 h 4122274"/>
                  <a:gd name="connsiteX1575" fmla="*/ 4575800 w 5338201"/>
                  <a:gd name="connsiteY1575" fmla="*/ 2040938 h 4122274"/>
                  <a:gd name="connsiteX1576" fmla="*/ 4555266 w 5338201"/>
                  <a:gd name="connsiteY1576" fmla="*/ 2051201 h 4122274"/>
                  <a:gd name="connsiteX1577" fmla="*/ 4547629 w 5338201"/>
                  <a:gd name="connsiteY1577" fmla="*/ 2053877 h 4122274"/>
                  <a:gd name="connsiteX1578" fmla="*/ 4555575 w 5338201"/>
                  <a:gd name="connsiteY1578" fmla="*/ 2232459 h 4122274"/>
                  <a:gd name="connsiteX1579" fmla="*/ 4535728 w 5338201"/>
                  <a:gd name="connsiteY1579" fmla="*/ 2242448 h 4122274"/>
                  <a:gd name="connsiteX1580" fmla="*/ 4515880 w 5338201"/>
                  <a:gd name="connsiteY1580" fmla="*/ 2232459 h 4122274"/>
                  <a:gd name="connsiteX1581" fmla="*/ 4523832 w 5338201"/>
                  <a:gd name="connsiteY1581" fmla="*/ 2052949 h 4122274"/>
                  <a:gd name="connsiteX1582" fmla="*/ 4515966 w 5338201"/>
                  <a:gd name="connsiteY1582" fmla="*/ 2049544 h 4122274"/>
                  <a:gd name="connsiteX1583" fmla="*/ 4500734 w 5338201"/>
                  <a:gd name="connsiteY1583" fmla="*/ 2040284 h 4122274"/>
                  <a:gd name="connsiteX1584" fmla="*/ 4481457 w 5338201"/>
                  <a:gd name="connsiteY1584" fmla="*/ 2005970 h 4122274"/>
                  <a:gd name="connsiteX1585" fmla="*/ 4481457 w 5338201"/>
                  <a:gd name="connsiteY1585" fmla="*/ 1925953 h 4122274"/>
                  <a:gd name="connsiteX1586" fmla="*/ 4493416 w 5338201"/>
                  <a:gd name="connsiteY1586" fmla="*/ 1914048 h 4122274"/>
                  <a:gd name="connsiteX1587" fmla="*/ 4156097 w 5338201"/>
                  <a:gd name="connsiteY1587" fmla="*/ 1908595 h 4122274"/>
                  <a:gd name="connsiteX1588" fmla="*/ 4161025 w 5338201"/>
                  <a:gd name="connsiteY1588" fmla="*/ 1909692 h 4122274"/>
                  <a:gd name="connsiteX1589" fmla="*/ 4161025 w 5338201"/>
                  <a:gd name="connsiteY1589" fmla="*/ 1909570 h 4122274"/>
                  <a:gd name="connsiteX1590" fmla="*/ 4161764 w 5338201"/>
                  <a:gd name="connsiteY1590" fmla="*/ 1910073 h 4122274"/>
                  <a:gd name="connsiteX1591" fmla="*/ 4164820 w 5338201"/>
                  <a:gd name="connsiteY1591" fmla="*/ 1912435 h 4122274"/>
                  <a:gd name="connsiteX1592" fmla="*/ 4203655 w 5338201"/>
                  <a:gd name="connsiteY1592" fmla="*/ 1988125 h 4122274"/>
                  <a:gd name="connsiteX1593" fmla="*/ 4168038 w 5338201"/>
                  <a:gd name="connsiteY1593" fmla="*/ 2094857 h 4122274"/>
                  <a:gd name="connsiteX1594" fmla="*/ 4175977 w 5338201"/>
                  <a:gd name="connsiteY1594" fmla="*/ 2225802 h 4122274"/>
                  <a:gd name="connsiteX1595" fmla="*/ 4156139 w 5338201"/>
                  <a:gd name="connsiteY1595" fmla="*/ 2237703 h 4122274"/>
                  <a:gd name="connsiteX1596" fmla="*/ 4136266 w 5338201"/>
                  <a:gd name="connsiteY1596" fmla="*/ 2225802 h 4122274"/>
                  <a:gd name="connsiteX1597" fmla="*/ 4144202 w 5338201"/>
                  <a:gd name="connsiteY1597" fmla="*/ 1920512 h 4122274"/>
                  <a:gd name="connsiteX1598" fmla="*/ 4156097 w 5338201"/>
                  <a:gd name="connsiteY1598" fmla="*/ 1908595 h 4122274"/>
                  <a:gd name="connsiteX1599" fmla="*/ 2610463 w 5338201"/>
                  <a:gd name="connsiteY1599" fmla="*/ 1908595 h 4122274"/>
                  <a:gd name="connsiteX1600" fmla="*/ 2825640 w 5338201"/>
                  <a:gd name="connsiteY1600" fmla="*/ 1908595 h 4122274"/>
                  <a:gd name="connsiteX1601" fmla="*/ 2844447 w 5338201"/>
                  <a:gd name="connsiteY1601" fmla="*/ 1927387 h 4122274"/>
                  <a:gd name="connsiteX1602" fmla="*/ 2844447 w 5338201"/>
                  <a:gd name="connsiteY1602" fmla="*/ 1930340 h 4122274"/>
                  <a:gd name="connsiteX1603" fmla="*/ 2920712 w 5338201"/>
                  <a:gd name="connsiteY1603" fmla="*/ 1939123 h 4122274"/>
                  <a:gd name="connsiteX1604" fmla="*/ 2785540 w 5338201"/>
                  <a:gd name="connsiteY1604" fmla="*/ 1956724 h 4122274"/>
                  <a:gd name="connsiteX1605" fmla="*/ 2922463 w 5338201"/>
                  <a:gd name="connsiteY1605" fmla="*/ 1970321 h 4122274"/>
                  <a:gd name="connsiteX1606" fmla="*/ 2786037 w 5338201"/>
                  <a:gd name="connsiteY1606" fmla="*/ 1989730 h 4122274"/>
                  <a:gd name="connsiteX1607" fmla="*/ 2922463 w 5338201"/>
                  <a:gd name="connsiteY1607" fmla="*/ 2001559 h 4122274"/>
                  <a:gd name="connsiteX1608" fmla="*/ 2844425 w 5338201"/>
                  <a:gd name="connsiteY1608" fmla="*/ 2016275 h 4122274"/>
                  <a:gd name="connsiteX1609" fmla="*/ 2844447 w 5338201"/>
                  <a:gd name="connsiteY1609" fmla="*/ 2053203 h 4122274"/>
                  <a:gd name="connsiteX1610" fmla="*/ 2455533 w 5338201"/>
                  <a:gd name="connsiteY1610" fmla="*/ 2053203 h 4122274"/>
                  <a:gd name="connsiteX1611" fmla="*/ 2455533 w 5338201"/>
                  <a:gd name="connsiteY1611" fmla="*/ 2039479 h 4122274"/>
                  <a:gd name="connsiteX1612" fmla="*/ 2462904 w 5338201"/>
                  <a:gd name="connsiteY1612" fmla="*/ 2021691 h 4122274"/>
                  <a:gd name="connsiteX1613" fmla="*/ 2536792 w 5338201"/>
                  <a:gd name="connsiteY1613" fmla="*/ 1948637 h 4122274"/>
                  <a:gd name="connsiteX1614" fmla="*/ 2554388 w 5338201"/>
                  <a:gd name="connsiteY1614" fmla="*/ 1941366 h 4122274"/>
                  <a:gd name="connsiteX1615" fmla="*/ 2591678 w 5338201"/>
                  <a:gd name="connsiteY1615" fmla="*/ 1941366 h 4122274"/>
                  <a:gd name="connsiteX1616" fmla="*/ 2591678 w 5338201"/>
                  <a:gd name="connsiteY1616" fmla="*/ 1927387 h 4122274"/>
                  <a:gd name="connsiteX1617" fmla="*/ 2610463 w 5338201"/>
                  <a:gd name="connsiteY1617" fmla="*/ 1908595 h 4122274"/>
                  <a:gd name="connsiteX1618" fmla="*/ 1029615 w 5338201"/>
                  <a:gd name="connsiteY1618" fmla="*/ 1905566 h 4122274"/>
                  <a:gd name="connsiteX1619" fmla="*/ 1029615 w 5338201"/>
                  <a:gd name="connsiteY1619" fmla="*/ 2069994 h 4122274"/>
                  <a:gd name="connsiteX1620" fmla="*/ 1166581 w 5338201"/>
                  <a:gd name="connsiteY1620" fmla="*/ 2069994 h 4122274"/>
                  <a:gd name="connsiteX1621" fmla="*/ 1166581 w 5338201"/>
                  <a:gd name="connsiteY1621" fmla="*/ 1905566 h 4122274"/>
                  <a:gd name="connsiteX1622" fmla="*/ 1258006 w 5338201"/>
                  <a:gd name="connsiteY1622" fmla="*/ 1886782 h 4122274"/>
                  <a:gd name="connsiteX1623" fmla="*/ 1406493 w 5338201"/>
                  <a:gd name="connsiteY1623" fmla="*/ 1886782 h 4122274"/>
                  <a:gd name="connsiteX1624" fmla="*/ 1329493 w 5338201"/>
                  <a:gd name="connsiteY1624" fmla="*/ 1973705 h 4122274"/>
                  <a:gd name="connsiteX1625" fmla="*/ 1258006 w 5338201"/>
                  <a:gd name="connsiteY1625" fmla="*/ 1886782 h 4122274"/>
                  <a:gd name="connsiteX1626" fmla="*/ 5083093 w 5338201"/>
                  <a:gd name="connsiteY1626" fmla="*/ 1858509 h 4122274"/>
                  <a:gd name="connsiteX1627" fmla="*/ 5033907 w 5338201"/>
                  <a:gd name="connsiteY1627" fmla="*/ 1908467 h 4122274"/>
                  <a:gd name="connsiteX1628" fmla="*/ 5084586 w 5338201"/>
                  <a:gd name="connsiteY1628" fmla="*/ 1958390 h 4122274"/>
                  <a:gd name="connsiteX1629" fmla="*/ 5130238 w 5338201"/>
                  <a:gd name="connsiteY1629" fmla="*/ 1925806 h 4122274"/>
                  <a:gd name="connsiteX1630" fmla="*/ 5131532 w 5338201"/>
                  <a:gd name="connsiteY1630" fmla="*/ 1913651 h 4122274"/>
                  <a:gd name="connsiteX1631" fmla="*/ 5131532 w 5338201"/>
                  <a:gd name="connsiteY1631" fmla="*/ 1902904 h 4122274"/>
                  <a:gd name="connsiteX1632" fmla="*/ 5083093 w 5338201"/>
                  <a:gd name="connsiteY1632" fmla="*/ 1858509 h 4122274"/>
                  <a:gd name="connsiteX1633" fmla="*/ 1992707 w 5338201"/>
                  <a:gd name="connsiteY1633" fmla="*/ 1854063 h 4122274"/>
                  <a:gd name="connsiteX1634" fmla="*/ 2039856 w 5338201"/>
                  <a:gd name="connsiteY1634" fmla="*/ 1854063 h 4122274"/>
                  <a:gd name="connsiteX1635" fmla="*/ 2051617 w 5338201"/>
                  <a:gd name="connsiteY1635" fmla="*/ 1865832 h 4122274"/>
                  <a:gd name="connsiteX1636" fmla="*/ 2051617 w 5338201"/>
                  <a:gd name="connsiteY1636" fmla="*/ 2045310 h 4122274"/>
                  <a:gd name="connsiteX1637" fmla="*/ 2073813 w 5338201"/>
                  <a:gd name="connsiteY1637" fmla="*/ 2053783 h 4122274"/>
                  <a:gd name="connsiteX1638" fmla="*/ 2073813 w 5338201"/>
                  <a:gd name="connsiteY1638" fmla="*/ 1865832 h 4122274"/>
                  <a:gd name="connsiteX1639" fmla="*/ 2085592 w 5338201"/>
                  <a:gd name="connsiteY1639" fmla="*/ 1854063 h 4122274"/>
                  <a:gd name="connsiteX1640" fmla="*/ 2132740 w 5338201"/>
                  <a:gd name="connsiteY1640" fmla="*/ 1854063 h 4122274"/>
                  <a:gd name="connsiteX1641" fmla="*/ 2144519 w 5338201"/>
                  <a:gd name="connsiteY1641" fmla="*/ 1865832 h 4122274"/>
                  <a:gd name="connsiteX1642" fmla="*/ 2132740 w 5338201"/>
                  <a:gd name="connsiteY1642" fmla="*/ 1877602 h 4122274"/>
                  <a:gd name="connsiteX1643" fmla="*/ 2097353 w 5338201"/>
                  <a:gd name="connsiteY1643" fmla="*/ 1877602 h 4122274"/>
                  <a:gd name="connsiteX1644" fmla="*/ 2097353 w 5338201"/>
                  <a:gd name="connsiteY1644" fmla="*/ 2062763 h 4122274"/>
                  <a:gd name="connsiteX1645" fmla="*/ 2309592 w 5338201"/>
                  <a:gd name="connsiteY1645" fmla="*/ 2143669 h 4122274"/>
                  <a:gd name="connsiteX1646" fmla="*/ 2316397 w 5338201"/>
                  <a:gd name="connsiteY1646" fmla="*/ 2158840 h 4122274"/>
                  <a:gd name="connsiteX1647" fmla="*/ 2261483 w 5338201"/>
                  <a:gd name="connsiteY1647" fmla="*/ 2302883 h 4122274"/>
                  <a:gd name="connsiteX1648" fmla="*/ 2255289 w 5338201"/>
                  <a:gd name="connsiteY1648" fmla="*/ 2309433 h 4122274"/>
                  <a:gd name="connsiteX1649" fmla="*/ 2250473 w 5338201"/>
                  <a:gd name="connsiteY1649" fmla="*/ 2310468 h 4122274"/>
                  <a:gd name="connsiteX1650" fmla="*/ 2246285 w 5338201"/>
                  <a:gd name="connsiteY1650" fmla="*/ 2309686 h 4122274"/>
                  <a:gd name="connsiteX1651" fmla="*/ 1980528 w 5338201"/>
                  <a:gd name="connsiteY1651" fmla="*/ 2208369 h 4122274"/>
                  <a:gd name="connsiteX1652" fmla="*/ 1951596 w 5338201"/>
                  <a:gd name="connsiteY1652" fmla="*/ 2143796 h 4122274"/>
                  <a:gd name="connsiteX1653" fmla="*/ 1979236 w 5338201"/>
                  <a:gd name="connsiteY1653" fmla="*/ 2071278 h 4122274"/>
                  <a:gd name="connsiteX1654" fmla="*/ 2026001 w 5338201"/>
                  <a:gd name="connsiteY1654" fmla="*/ 2039055 h 4122274"/>
                  <a:gd name="connsiteX1655" fmla="*/ 2028078 w 5338201"/>
                  <a:gd name="connsiteY1655" fmla="*/ 2039140 h 4122274"/>
                  <a:gd name="connsiteX1656" fmla="*/ 2028078 w 5338201"/>
                  <a:gd name="connsiteY1656" fmla="*/ 1877602 h 4122274"/>
                  <a:gd name="connsiteX1657" fmla="*/ 1992707 w 5338201"/>
                  <a:gd name="connsiteY1657" fmla="*/ 1877602 h 4122274"/>
                  <a:gd name="connsiteX1658" fmla="*/ 1980946 w 5338201"/>
                  <a:gd name="connsiteY1658" fmla="*/ 1865832 h 4122274"/>
                  <a:gd name="connsiteX1659" fmla="*/ 1992707 w 5338201"/>
                  <a:gd name="connsiteY1659" fmla="*/ 1854063 h 4122274"/>
                  <a:gd name="connsiteX1660" fmla="*/ 1827677 w 5338201"/>
                  <a:gd name="connsiteY1660" fmla="*/ 1837704 h 4122274"/>
                  <a:gd name="connsiteX1661" fmla="*/ 1913633 w 5338201"/>
                  <a:gd name="connsiteY1661" fmla="*/ 2001367 h 4122274"/>
                  <a:gd name="connsiteX1662" fmla="*/ 1871919 w 5338201"/>
                  <a:gd name="connsiteY1662" fmla="*/ 2001367 h 4122274"/>
                  <a:gd name="connsiteX1663" fmla="*/ 1797940 w 5338201"/>
                  <a:gd name="connsiteY1663" fmla="*/ 1867527 h 4122274"/>
                  <a:gd name="connsiteX1664" fmla="*/ 1562090 w 5338201"/>
                  <a:gd name="connsiteY1664" fmla="*/ 1837704 h 4122274"/>
                  <a:gd name="connsiteX1665" fmla="*/ 1591900 w 5338201"/>
                  <a:gd name="connsiteY1665" fmla="*/ 1867527 h 4122274"/>
                  <a:gd name="connsiteX1666" fmla="*/ 1517681 w 5338201"/>
                  <a:gd name="connsiteY1666" fmla="*/ 2001367 h 4122274"/>
                  <a:gd name="connsiteX1667" fmla="*/ 1475966 w 5338201"/>
                  <a:gd name="connsiteY1667" fmla="*/ 2001367 h 4122274"/>
                  <a:gd name="connsiteX1668" fmla="*/ 1562090 w 5338201"/>
                  <a:gd name="connsiteY1668" fmla="*/ 1837704 h 4122274"/>
                  <a:gd name="connsiteX1669" fmla="*/ 1262880 w 5338201"/>
                  <a:gd name="connsiteY1669" fmla="*/ 1833265 h 4122274"/>
                  <a:gd name="connsiteX1670" fmla="*/ 1251377 w 5338201"/>
                  <a:gd name="connsiteY1670" fmla="*/ 1882779 h 4122274"/>
                  <a:gd name="connsiteX1671" fmla="*/ 1331148 w 5338201"/>
                  <a:gd name="connsiteY1671" fmla="*/ 1978652 h 4122274"/>
                  <a:gd name="connsiteX1672" fmla="*/ 1410947 w 5338201"/>
                  <a:gd name="connsiteY1672" fmla="*/ 1882779 h 4122274"/>
                  <a:gd name="connsiteX1673" fmla="*/ 1399453 w 5338201"/>
                  <a:gd name="connsiteY1673" fmla="*/ 1833265 h 4122274"/>
                  <a:gd name="connsiteX1674" fmla="*/ 1698229 w 5338201"/>
                  <a:gd name="connsiteY1674" fmla="*/ 1832251 h 4122274"/>
                  <a:gd name="connsiteX1675" fmla="*/ 1729491 w 5338201"/>
                  <a:gd name="connsiteY1675" fmla="*/ 1863526 h 4122274"/>
                  <a:gd name="connsiteX1676" fmla="*/ 1729491 w 5338201"/>
                  <a:gd name="connsiteY1676" fmla="*/ 1877720 h 4122274"/>
                  <a:gd name="connsiteX1677" fmla="*/ 1833763 w 5338201"/>
                  <a:gd name="connsiteY1677" fmla="*/ 2009499 h 4122274"/>
                  <a:gd name="connsiteX1678" fmla="*/ 1833763 w 5338201"/>
                  <a:gd name="connsiteY1678" fmla="*/ 2124164 h 4122274"/>
                  <a:gd name="connsiteX1679" fmla="*/ 1875462 w 5338201"/>
                  <a:gd name="connsiteY1679" fmla="*/ 2165842 h 4122274"/>
                  <a:gd name="connsiteX1680" fmla="*/ 1875462 w 5338201"/>
                  <a:gd name="connsiteY1680" fmla="*/ 2186681 h 4122274"/>
                  <a:gd name="connsiteX1681" fmla="*/ 1520997 w 5338201"/>
                  <a:gd name="connsiteY1681" fmla="*/ 2186681 h 4122274"/>
                  <a:gd name="connsiteX1682" fmla="*/ 1520997 w 5338201"/>
                  <a:gd name="connsiteY1682" fmla="*/ 2165842 h 4122274"/>
                  <a:gd name="connsiteX1683" fmla="*/ 1562712 w 5338201"/>
                  <a:gd name="connsiteY1683" fmla="*/ 2124164 h 4122274"/>
                  <a:gd name="connsiteX1684" fmla="*/ 1562712 w 5338201"/>
                  <a:gd name="connsiteY1684" fmla="*/ 2009499 h 4122274"/>
                  <a:gd name="connsiteX1685" fmla="*/ 1666967 w 5338201"/>
                  <a:gd name="connsiteY1685" fmla="*/ 1877720 h 4122274"/>
                  <a:gd name="connsiteX1686" fmla="*/ 1666967 w 5338201"/>
                  <a:gd name="connsiteY1686" fmla="*/ 1863526 h 4122274"/>
                  <a:gd name="connsiteX1687" fmla="*/ 1698229 w 5338201"/>
                  <a:gd name="connsiteY1687" fmla="*/ 1832251 h 4122274"/>
                  <a:gd name="connsiteX1688" fmla="*/ 801945 w 5338201"/>
                  <a:gd name="connsiteY1688" fmla="*/ 1819102 h 4122274"/>
                  <a:gd name="connsiteX1689" fmla="*/ 801945 w 5338201"/>
                  <a:gd name="connsiteY1689" fmla="*/ 1923827 h 4122274"/>
                  <a:gd name="connsiteX1690" fmla="*/ 875377 w 5338201"/>
                  <a:gd name="connsiteY1690" fmla="*/ 1892532 h 4122274"/>
                  <a:gd name="connsiteX1691" fmla="*/ 762162 w 5338201"/>
                  <a:gd name="connsiteY1691" fmla="*/ 1819102 h 4122274"/>
                  <a:gd name="connsiteX1692" fmla="*/ 688730 w 5338201"/>
                  <a:gd name="connsiteY1692" fmla="*/ 1892532 h 4122274"/>
                  <a:gd name="connsiteX1693" fmla="*/ 762162 w 5338201"/>
                  <a:gd name="connsiteY1693" fmla="*/ 1923827 h 4122274"/>
                  <a:gd name="connsiteX1694" fmla="*/ 1252654 w 5338201"/>
                  <a:gd name="connsiteY1694" fmla="*/ 1815892 h 4122274"/>
                  <a:gd name="connsiteX1695" fmla="*/ 1409813 w 5338201"/>
                  <a:gd name="connsiteY1695" fmla="*/ 1815892 h 4122274"/>
                  <a:gd name="connsiteX1696" fmla="*/ 1412224 w 5338201"/>
                  <a:gd name="connsiteY1696" fmla="*/ 1820235 h 4122274"/>
                  <a:gd name="connsiteX1697" fmla="*/ 1428304 w 5338201"/>
                  <a:gd name="connsiteY1697" fmla="*/ 1882779 h 4122274"/>
                  <a:gd name="connsiteX1698" fmla="*/ 1344944 w 5338201"/>
                  <a:gd name="connsiteY1698" fmla="*/ 1994869 h 4122274"/>
                  <a:gd name="connsiteX1699" fmla="*/ 1344944 w 5338201"/>
                  <a:gd name="connsiteY1699" fmla="*/ 2127997 h 4122274"/>
                  <a:gd name="connsiteX1700" fmla="*/ 1392303 w 5338201"/>
                  <a:gd name="connsiteY1700" fmla="*/ 2138223 h 4122274"/>
                  <a:gd name="connsiteX1701" fmla="*/ 1330663 w 5338201"/>
                  <a:gd name="connsiteY1701" fmla="*/ 2148557 h 4122274"/>
                  <a:gd name="connsiteX1702" fmla="*/ 1268995 w 5338201"/>
                  <a:gd name="connsiteY1702" fmla="*/ 2138223 h 4122274"/>
                  <a:gd name="connsiteX1703" fmla="*/ 1316363 w 5338201"/>
                  <a:gd name="connsiteY1703" fmla="*/ 2127997 h 4122274"/>
                  <a:gd name="connsiteX1704" fmla="*/ 1316363 w 5338201"/>
                  <a:gd name="connsiteY1704" fmla="*/ 1994746 h 4122274"/>
                  <a:gd name="connsiteX1705" fmla="*/ 1234047 w 5338201"/>
                  <a:gd name="connsiteY1705" fmla="*/ 1882779 h 4122274"/>
                  <a:gd name="connsiteX1706" fmla="*/ 1250109 w 5338201"/>
                  <a:gd name="connsiteY1706" fmla="*/ 1820235 h 4122274"/>
                  <a:gd name="connsiteX1707" fmla="*/ 5085668 w 5338201"/>
                  <a:gd name="connsiteY1707" fmla="*/ 1777719 h 4122274"/>
                  <a:gd name="connsiteX1708" fmla="*/ 5218232 w 5338201"/>
                  <a:gd name="connsiteY1708" fmla="*/ 1898750 h 4122274"/>
                  <a:gd name="connsiteX1709" fmla="*/ 5218232 w 5338201"/>
                  <a:gd name="connsiteY1709" fmla="*/ 1915385 h 4122274"/>
                  <a:gd name="connsiteX1710" fmla="*/ 5217672 w 5338201"/>
                  <a:gd name="connsiteY1710" fmla="*/ 1925463 h 4122274"/>
                  <a:gd name="connsiteX1711" fmla="*/ 5159254 w 5338201"/>
                  <a:gd name="connsiteY1711" fmla="*/ 2044381 h 4122274"/>
                  <a:gd name="connsiteX1712" fmla="*/ 5083789 w 5338201"/>
                  <a:gd name="connsiteY1712" fmla="*/ 2167850 h 4122274"/>
                  <a:gd name="connsiteX1713" fmla="*/ 5037378 w 5338201"/>
                  <a:gd name="connsiteY1713" fmla="*/ 2088072 h 4122274"/>
                  <a:gd name="connsiteX1714" fmla="*/ 5024239 w 5338201"/>
                  <a:gd name="connsiteY1714" fmla="*/ 2065567 h 4122274"/>
                  <a:gd name="connsiteX1715" fmla="*/ 5013737 w 5338201"/>
                  <a:gd name="connsiteY1715" fmla="*/ 2051335 h 4122274"/>
                  <a:gd name="connsiteX1716" fmla="*/ 4949471 w 5338201"/>
                  <a:gd name="connsiteY1716" fmla="*/ 1916089 h 4122274"/>
                  <a:gd name="connsiteX1717" fmla="*/ 4949471 w 5338201"/>
                  <a:gd name="connsiteY1717" fmla="*/ 1897702 h 4122274"/>
                  <a:gd name="connsiteX1718" fmla="*/ 4955817 w 5338201"/>
                  <a:gd name="connsiteY1718" fmla="*/ 1874836 h 4122274"/>
                  <a:gd name="connsiteX1719" fmla="*/ 4962138 w 5338201"/>
                  <a:gd name="connsiteY1719" fmla="*/ 1859213 h 4122274"/>
                  <a:gd name="connsiteX1720" fmla="*/ 5085668 w 5338201"/>
                  <a:gd name="connsiteY1720" fmla="*/ 1777719 h 4122274"/>
                  <a:gd name="connsiteX1721" fmla="*/ 4777477 w 5338201"/>
                  <a:gd name="connsiteY1721" fmla="*/ 1745001 h 4122274"/>
                  <a:gd name="connsiteX1722" fmla="*/ 4852873 w 5338201"/>
                  <a:gd name="connsiteY1722" fmla="*/ 1833249 h 4122274"/>
                  <a:gd name="connsiteX1723" fmla="*/ 4777477 w 5338201"/>
                  <a:gd name="connsiteY1723" fmla="*/ 1921496 h 4122274"/>
                  <a:gd name="connsiteX1724" fmla="*/ 4702080 w 5338201"/>
                  <a:gd name="connsiteY1724" fmla="*/ 1833249 h 4122274"/>
                  <a:gd name="connsiteX1725" fmla="*/ 4777477 w 5338201"/>
                  <a:gd name="connsiteY1725" fmla="*/ 1745001 h 4122274"/>
                  <a:gd name="connsiteX1726" fmla="*/ 342501 w 5338201"/>
                  <a:gd name="connsiteY1726" fmla="*/ 1739548 h 4122274"/>
                  <a:gd name="connsiteX1727" fmla="*/ 344101 w 5338201"/>
                  <a:gd name="connsiteY1727" fmla="*/ 1739548 h 4122274"/>
                  <a:gd name="connsiteX1728" fmla="*/ 354959 w 5338201"/>
                  <a:gd name="connsiteY1728" fmla="*/ 1743957 h 4122274"/>
                  <a:gd name="connsiteX1729" fmla="*/ 359398 w 5338201"/>
                  <a:gd name="connsiteY1729" fmla="*/ 1754827 h 4122274"/>
                  <a:gd name="connsiteX1730" fmla="*/ 359398 w 5338201"/>
                  <a:gd name="connsiteY1730" fmla="*/ 1801519 h 4122274"/>
                  <a:gd name="connsiteX1731" fmla="*/ 420537 w 5338201"/>
                  <a:gd name="connsiteY1731" fmla="*/ 1801519 h 4122274"/>
                  <a:gd name="connsiteX1732" fmla="*/ 435834 w 5338201"/>
                  <a:gd name="connsiteY1732" fmla="*/ 1813978 h 4122274"/>
                  <a:gd name="connsiteX1733" fmla="*/ 420537 w 5338201"/>
                  <a:gd name="connsiteY1733" fmla="*/ 1826440 h 4122274"/>
                  <a:gd name="connsiteX1734" fmla="*/ 79399 w 5338201"/>
                  <a:gd name="connsiteY1734" fmla="*/ 1826440 h 4122274"/>
                  <a:gd name="connsiteX1735" fmla="*/ 79399 w 5338201"/>
                  <a:gd name="connsiteY1735" fmla="*/ 1786208 h 4122274"/>
                  <a:gd name="connsiteX1736" fmla="*/ 86230 w 5338201"/>
                  <a:gd name="connsiteY1736" fmla="*/ 1770524 h 4122274"/>
                  <a:gd name="connsiteX1737" fmla="*/ 103541 w 5338201"/>
                  <a:gd name="connsiteY1737" fmla="*/ 1762880 h 4122274"/>
                  <a:gd name="connsiteX1738" fmla="*/ 2289506 w 5338201"/>
                  <a:gd name="connsiteY1738" fmla="*/ 1728315 h 4122274"/>
                  <a:gd name="connsiteX1739" fmla="*/ 2269678 w 5338201"/>
                  <a:gd name="connsiteY1739" fmla="*/ 1800874 h 4122274"/>
                  <a:gd name="connsiteX1740" fmla="*/ 2438003 w 5338201"/>
                  <a:gd name="connsiteY1740" fmla="*/ 1800874 h 4122274"/>
                  <a:gd name="connsiteX1741" fmla="*/ 2418160 w 5338201"/>
                  <a:gd name="connsiteY1741" fmla="*/ 1728315 h 4122274"/>
                  <a:gd name="connsiteX1742" fmla="*/ 405656 w 5338201"/>
                  <a:gd name="connsiteY1742" fmla="*/ 1723189 h 4122274"/>
                  <a:gd name="connsiteX1743" fmla="*/ 426980 w 5338201"/>
                  <a:gd name="connsiteY1743" fmla="*/ 1732042 h 4122274"/>
                  <a:gd name="connsiteX1744" fmla="*/ 435836 w 5338201"/>
                  <a:gd name="connsiteY1744" fmla="*/ 1753377 h 4122274"/>
                  <a:gd name="connsiteX1745" fmla="*/ 426980 w 5338201"/>
                  <a:gd name="connsiteY1745" fmla="*/ 1774695 h 4122274"/>
                  <a:gd name="connsiteX1746" fmla="*/ 405656 w 5338201"/>
                  <a:gd name="connsiteY1746" fmla="*/ 1783547 h 4122274"/>
                  <a:gd name="connsiteX1747" fmla="*/ 383933 w 5338201"/>
                  <a:gd name="connsiteY1747" fmla="*/ 1774695 h 4122274"/>
                  <a:gd name="connsiteX1748" fmla="*/ 374684 w 5338201"/>
                  <a:gd name="connsiteY1748" fmla="*/ 1753377 h 4122274"/>
                  <a:gd name="connsiteX1749" fmla="*/ 383933 w 5338201"/>
                  <a:gd name="connsiteY1749" fmla="*/ 1732042 h 4122274"/>
                  <a:gd name="connsiteX1750" fmla="*/ 405656 w 5338201"/>
                  <a:gd name="connsiteY1750" fmla="*/ 1723189 h 4122274"/>
                  <a:gd name="connsiteX1751" fmla="*/ 3752523 w 5338201"/>
                  <a:gd name="connsiteY1751" fmla="*/ 1708482 h 4122274"/>
                  <a:gd name="connsiteX1752" fmla="*/ 3752523 w 5338201"/>
                  <a:gd name="connsiteY1752" fmla="*/ 1829984 h 4122274"/>
                  <a:gd name="connsiteX1753" fmla="*/ 3763948 w 5338201"/>
                  <a:gd name="connsiteY1753" fmla="*/ 1841422 h 4122274"/>
                  <a:gd name="connsiteX1754" fmla="*/ 3964241 w 5338201"/>
                  <a:gd name="connsiteY1754" fmla="*/ 1841422 h 4122274"/>
                  <a:gd name="connsiteX1755" fmla="*/ 3975666 w 5338201"/>
                  <a:gd name="connsiteY1755" fmla="*/ 1829984 h 4122274"/>
                  <a:gd name="connsiteX1756" fmla="*/ 3975666 w 5338201"/>
                  <a:gd name="connsiteY1756" fmla="*/ 1708482 h 4122274"/>
                  <a:gd name="connsiteX1757" fmla="*/ 3949261 w 5338201"/>
                  <a:gd name="connsiteY1757" fmla="*/ 1708482 h 4122274"/>
                  <a:gd name="connsiteX1758" fmla="*/ 3952950 w 5338201"/>
                  <a:gd name="connsiteY1758" fmla="*/ 1733155 h 4122274"/>
                  <a:gd name="connsiteX1759" fmla="*/ 3863549 w 5338201"/>
                  <a:gd name="connsiteY1759" fmla="*/ 1819784 h 4122274"/>
                  <a:gd name="connsiteX1760" fmla="*/ 3774148 w 5338201"/>
                  <a:gd name="connsiteY1760" fmla="*/ 1733155 h 4122274"/>
                  <a:gd name="connsiteX1761" fmla="*/ 3777836 w 5338201"/>
                  <a:gd name="connsiteY1761" fmla="*/ 1708482 h 4122274"/>
                  <a:gd name="connsiteX1762" fmla="*/ 473888 w 5338201"/>
                  <a:gd name="connsiteY1762" fmla="*/ 1701375 h 4122274"/>
                  <a:gd name="connsiteX1763" fmla="*/ 485541 w 5338201"/>
                  <a:gd name="connsiteY1763" fmla="*/ 1706605 h 4122274"/>
                  <a:gd name="connsiteX1764" fmla="*/ 490366 w 5338201"/>
                  <a:gd name="connsiteY1764" fmla="*/ 1718286 h 4122274"/>
                  <a:gd name="connsiteX1765" fmla="*/ 490366 w 5338201"/>
                  <a:gd name="connsiteY1765" fmla="*/ 1952419 h 4122274"/>
                  <a:gd name="connsiteX1766" fmla="*/ 457391 w 5338201"/>
                  <a:gd name="connsiteY1766" fmla="*/ 1952419 h 4122274"/>
                  <a:gd name="connsiteX1767" fmla="*/ 457391 w 5338201"/>
                  <a:gd name="connsiteY1767" fmla="*/ 1886439 h 4122274"/>
                  <a:gd name="connsiteX1768" fmla="*/ 111395 w 5338201"/>
                  <a:gd name="connsiteY1768" fmla="*/ 1886439 h 4122274"/>
                  <a:gd name="connsiteX1769" fmla="*/ 111395 w 5338201"/>
                  <a:gd name="connsiteY1769" fmla="*/ 1952419 h 4122274"/>
                  <a:gd name="connsiteX1770" fmla="*/ 78420 w 5338201"/>
                  <a:gd name="connsiteY1770" fmla="*/ 1952419 h 4122274"/>
                  <a:gd name="connsiteX1771" fmla="*/ 78420 w 5338201"/>
                  <a:gd name="connsiteY1771" fmla="*/ 1853454 h 4122274"/>
                  <a:gd name="connsiteX1772" fmla="*/ 457391 w 5338201"/>
                  <a:gd name="connsiteY1772" fmla="*/ 1853454 h 4122274"/>
                  <a:gd name="connsiteX1773" fmla="*/ 457391 w 5338201"/>
                  <a:gd name="connsiteY1773" fmla="*/ 1718286 h 4122274"/>
                  <a:gd name="connsiteX1774" fmla="*/ 462197 w 5338201"/>
                  <a:gd name="connsiteY1774" fmla="*/ 1706605 h 4122274"/>
                  <a:gd name="connsiteX1775" fmla="*/ 473888 w 5338201"/>
                  <a:gd name="connsiteY1775" fmla="*/ 1701375 h 4122274"/>
                  <a:gd name="connsiteX1776" fmla="*/ 1064338 w 5338201"/>
                  <a:gd name="connsiteY1776" fmla="*/ 1690469 h 4122274"/>
                  <a:gd name="connsiteX1777" fmla="*/ 1133385 w 5338201"/>
                  <a:gd name="connsiteY1777" fmla="*/ 1690469 h 4122274"/>
                  <a:gd name="connsiteX1778" fmla="*/ 1133385 w 5338201"/>
                  <a:gd name="connsiteY1778" fmla="*/ 1746252 h 4122274"/>
                  <a:gd name="connsiteX1779" fmla="*/ 1182914 w 5338201"/>
                  <a:gd name="connsiteY1779" fmla="*/ 1822965 h 4122274"/>
                  <a:gd name="connsiteX1780" fmla="*/ 1182914 w 5338201"/>
                  <a:gd name="connsiteY1780" fmla="*/ 2154614 h 4122274"/>
                  <a:gd name="connsiteX1781" fmla="*/ 1014809 w 5338201"/>
                  <a:gd name="connsiteY1781" fmla="*/ 2154614 h 4122274"/>
                  <a:gd name="connsiteX1782" fmla="*/ 1014809 w 5338201"/>
                  <a:gd name="connsiteY1782" fmla="*/ 1822965 h 4122274"/>
                  <a:gd name="connsiteX1783" fmla="*/ 1064338 w 5338201"/>
                  <a:gd name="connsiteY1783" fmla="*/ 1746252 h 4122274"/>
                  <a:gd name="connsiteX1784" fmla="*/ 3543192 w 5338201"/>
                  <a:gd name="connsiteY1784" fmla="*/ 1684084 h 4122274"/>
                  <a:gd name="connsiteX1785" fmla="*/ 3486304 w 5338201"/>
                  <a:gd name="connsiteY1785" fmla="*/ 1719741 h 4122274"/>
                  <a:gd name="connsiteX1786" fmla="*/ 3493120 w 5338201"/>
                  <a:gd name="connsiteY1786" fmla="*/ 1724785 h 4122274"/>
                  <a:gd name="connsiteX1787" fmla="*/ 3543260 w 5338201"/>
                  <a:gd name="connsiteY1787" fmla="*/ 1692565 h 4122274"/>
                  <a:gd name="connsiteX1788" fmla="*/ 3543904 w 5338201"/>
                  <a:gd name="connsiteY1788" fmla="*/ 1692565 h 4122274"/>
                  <a:gd name="connsiteX1789" fmla="*/ 3593433 w 5338201"/>
                  <a:gd name="connsiteY1789" fmla="*/ 1719582 h 4122274"/>
                  <a:gd name="connsiteX1790" fmla="*/ 3600131 w 5338201"/>
                  <a:gd name="connsiteY1790" fmla="*/ 1714347 h 4122274"/>
                  <a:gd name="connsiteX1791" fmla="*/ 3543904 w 5338201"/>
                  <a:gd name="connsiteY1791" fmla="*/ 1684084 h 4122274"/>
                  <a:gd name="connsiteX1792" fmla="*/ 3543192 w 5338201"/>
                  <a:gd name="connsiteY1792" fmla="*/ 1684084 h 4122274"/>
                  <a:gd name="connsiteX1793" fmla="*/ 3370408 w 5338201"/>
                  <a:gd name="connsiteY1793" fmla="*/ 1684084 h 4122274"/>
                  <a:gd name="connsiteX1794" fmla="*/ 3313520 w 5338201"/>
                  <a:gd name="connsiteY1794" fmla="*/ 1719741 h 4122274"/>
                  <a:gd name="connsiteX1795" fmla="*/ 3320337 w 5338201"/>
                  <a:gd name="connsiteY1795" fmla="*/ 1724785 h 4122274"/>
                  <a:gd name="connsiteX1796" fmla="*/ 3370459 w 5338201"/>
                  <a:gd name="connsiteY1796" fmla="*/ 1692565 h 4122274"/>
                  <a:gd name="connsiteX1797" fmla="*/ 3420633 w 5338201"/>
                  <a:gd name="connsiteY1797" fmla="*/ 1719582 h 4122274"/>
                  <a:gd name="connsiteX1798" fmla="*/ 3427330 w 5338201"/>
                  <a:gd name="connsiteY1798" fmla="*/ 1714347 h 4122274"/>
                  <a:gd name="connsiteX1799" fmla="*/ 3371104 w 5338201"/>
                  <a:gd name="connsiteY1799" fmla="*/ 1684084 h 4122274"/>
                  <a:gd name="connsiteX1800" fmla="*/ 3370408 w 5338201"/>
                  <a:gd name="connsiteY1800" fmla="*/ 1684084 h 4122274"/>
                  <a:gd name="connsiteX1801" fmla="*/ 3863549 w 5338201"/>
                  <a:gd name="connsiteY1801" fmla="*/ 1674062 h 4122274"/>
                  <a:gd name="connsiteX1802" fmla="*/ 3805786 w 5338201"/>
                  <a:gd name="connsiteY1802" fmla="*/ 1730039 h 4122274"/>
                  <a:gd name="connsiteX1803" fmla="*/ 3863549 w 5338201"/>
                  <a:gd name="connsiteY1803" fmla="*/ 1786017 h 4122274"/>
                  <a:gd name="connsiteX1804" fmla="*/ 3921312 w 5338201"/>
                  <a:gd name="connsiteY1804" fmla="*/ 1730039 h 4122274"/>
                  <a:gd name="connsiteX1805" fmla="*/ 3863549 w 5338201"/>
                  <a:gd name="connsiteY1805" fmla="*/ 1674062 h 4122274"/>
                  <a:gd name="connsiteX1806" fmla="*/ 2705618 w 5338201"/>
                  <a:gd name="connsiteY1806" fmla="*/ 1670086 h 4122274"/>
                  <a:gd name="connsiteX1807" fmla="*/ 2655215 w 5338201"/>
                  <a:gd name="connsiteY1807" fmla="*/ 1726542 h 4122274"/>
                  <a:gd name="connsiteX1808" fmla="*/ 2659458 w 5338201"/>
                  <a:gd name="connsiteY1808" fmla="*/ 1749202 h 4122274"/>
                  <a:gd name="connsiteX1809" fmla="*/ 2678450 w 5338201"/>
                  <a:gd name="connsiteY1809" fmla="*/ 1741630 h 4122274"/>
                  <a:gd name="connsiteX1810" fmla="*/ 2675287 w 5338201"/>
                  <a:gd name="connsiteY1810" fmla="*/ 1726542 h 4122274"/>
                  <a:gd name="connsiteX1811" fmla="*/ 2705618 w 5338201"/>
                  <a:gd name="connsiteY1811" fmla="*/ 1692581 h 4122274"/>
                  <a:gd name="connsiteX1812" fmla="*/ 2735949 w 5338201"/>
                  <a:gd name="connsiteY1812" fmla="*/ 1726542 h 4122274"/>
                  <a:gd name="connsiteX1813" fmla="*/ 2705618 w 5338201"/>
                  <a:gd name="connsiteY1813" fmla="*/ 1760541 h 4122274"/>
                  <a:gd name="connsiteX1814" fmla="*/ 2688855 w 5338201"/>
                  <a:gd name="connsiteY1814" fmla="*/ 1754890 h 4122274"/>
                  <a:gd name="connsiteX1815" fmla="*/ 2678450 w 5338201"/>
                  <a:gd name="connsiteY1815" fmla="*/ 1774074 h 4122274"/>
                  <a:gd name="connsiteX1816" fmla="*/ 2705618 w 5338201"/>
                  <a:gd name="connsiteY1816" fmla="*/ 1783036 h 4122274"/>
                  <a:gd name="connsiteX1817" fmla="*/ 2755972 w 5338201"/>
                  <a:gd name="connsiteY1817" fmla="*/ 1726542 h 4122274"/>
                  <a:gd name="connsiteX1818" fmla="*/ 2705618 w 5338201"/>
                  <a:gd name="connsiteY1818" fmla="*/ 1670086 h 4122274"/>
                  <a:gd name="connsiteX1819" fmla="*/ 3038227 w 5338201"/>
                  <a:gd name="connsiteY1819" fmla="*/ 1665670 h 4122274"/>
                  <a:gd name="connsiteX1820" fmla="*/ 3008615 w 5338201"/>
                  <a:gd name="connsiteY1820" fmla="*/ 1697710 h 4122274"/>
                  <a:gd name="connsiteX1821" fmla="*/ 3017956 w 5338201"/>
                  <a:gd name="connsiteY1821" fmla="*/ 1720484 h 4122274"/>
                  <a:gd name="connsiteX1822" fmla="*/ 3017956 w 5338201"/>
                  <a:gd name="connsiteY1822" fmla="*/ 1773676 h 4122274"/>
                  <a:gd name="connsiteX1823" fmla="*/ 3029160 w 5338201"/>
                  <a:gd name="connsiteY1823" fmla="*/ 1784920 h 4122274"/>
                  <a:gd name="connsiteX1824" fmla="*/ 3054333 w 5338201"/>
                  <a:gd name="connsiteY1824" fmla="*/ 1784920 h 4122274"/>
                  <a:gd name="connsiteX1825" fmla="*/ 3065537 w 5338201"/>
                  <a:gd name="connsiteY1825" fmla="*/ 1773676 h 4122274"/>
                  <a:gd name="connsiteX1826" fmla="*/ 3065537 w 5338201"/>
                  <a:gd name="connsiteY1826" fmla="*/ 1720484 h 4122274"/>
                  <a:gd name="connsiteX1827" fmla="*/ 3074878 w 5338201"/>
                  <a:gd name="connsiteY1827" fmla="*/ 1697710 h 4122274"/>
                  <a:gd name="connsiteX1828" fmla="*/ 3045253 w 5338201"/>
                  <a:gd name="connsiteY1828" fmla="*/ 1665670 h 4122274"/>
                  <a:gd name="connsiteX1829" fmla="*/ 3038227 w 5338201"/>
                  <a:gd name="connsiteY1829" fmla="*/ 1665670 h 4122274"/>
                  <a:gd name="connsiteX1830" fmla="*/ 1284169 w 5338201"/>
                  <a:gd name="connsiteY1830" fmla="*/ 1663203 h 4122274"/>
                  <a:gd name="connsiteX1831" fmla="*/ 1613612 w 5338201"/>
                  <a:gd name="connsiteY1831" fmla="*/ 1663203 h 4122274"/>
                  <a:gd name="connsiteX1832" fmla="*/ 1630071 w 5338201"/>
                  <a:gd name="connsiteY1832" fmla="*/ 1679695 h 4122274"/>
                  <a:gd name="connsiteX1833" fmla="*/ 1613612 w 5338201"/>
                  <a:gd name="connsiteY1833" fmla="*/ 1696157 h 4122274"/>
                  <a:gd name="connsiteX1834" fmla="*/ 1284169 w 5338201"/>
                  <a:gd name="connsiteY1834" fmla="*/ 1696157 h 4122274"/>
                  <a:gd name="connsiteX1835" fmla="*/ 1267677 w 5338201"/>
                  <a:gd name="connsiteY1835" fmla="*/ 1679695 h 4122274"/>
                  <a:gd name="connsiteX1836" fmla="*/ 1284169 w 5338201"/>
                  <a:gd name="connsiteY1836" fmla="*/ 1663203 h 4122274"/>
                  <a:gd name="connsiteX1837" fmla="*/ 3543904 w 5338201"/>
                  <a:gd name="connsiteY1837" fmla="*/ 1654394 h 4122274"/>
                  <a:gd name="connsiteX1838" fmla="*/ 3543192 w 5338201"/>
                  <a:gd name="connsiteY1838" fmla="*/ 1654409 h 4122274"/>
                  <a:gd name="connsiteX1839" fmla="*/ 3486304 w 5338201"/>
                  <a:gd name="connsiteY1839" fmla="*/ 1690051 h 4122274"/>
                  <a:gd name="connsiteX1840" fmla="*/ 3493120 w 5338201"/>
                  <a:gd name="connsiteY1840" fmla="*/ 1695110 h 4122274"/>
                  <a:gd name="connsiteX1841" fmla="*/ 3543260 w 5338201"/>
                  <a:gd name="connsiteY1841" fmla="*/ 1662874 h 4122274"/>
                  <a:gd name="connsiteX1842" fmla="*/ 3543904 w 5338201"/>
                  <a:gd name="connsiteY1842" fmla="*/ 1662874 h 4122274"/>
                  <a:gd name="connsiteX1843" fmla="*/ 3593433 w 5338201"/>
                  <a:gd name="connsiteY1843" fmla="*/ 1689892 h 4122274"/>
                  <a:gd name="connsiteX1844" fmla="*/ 3600131 w 5338201"/>
                  <a:gd name="connsiteY1844" fmla="*/ 1684673 h 4122274"/>
                  <a:gd name="connsiteX1845" fmla="*/ 3543904 w 5338201"/>
                  <a:gd name="connsiteY1845" fmla="*/ 1654394 h 4122274"/>
                  <a:gd name="connsiteX1846" fmla="*/ 3371104 w 5338201"/>
                  <a:gd name="connsiteY1846" fmla="*/ 1654394 h 4122274"/>
                  <a:gd name="connsiteX1847" fmla="*/ 3370408 w 5338201"/>
                  <a:gd name="connsiteY1847" fmla="*/ 1654409 h 4122274"/>
                  <a:gd name="connsiteX1848" fmla="*/ 3313520 w 5338201"/>
                  <a:gd name="connsiteY1848" fmla="*/ 1690051 h 4122274"/>
                  <a:gd name="connsiteX1849" fmla="*/ 3320337 w 5338201"/>
                  <a:gd name="connsiteY1849" fmla="*/ 1695110 h 4122274"/>
                  <a:gd name="connsiteX1850" fmla="*/ 3370459 w 5338201"/>
                  <a:gd name="connsiteY1850" fmla="*/ 1662874 h 4122274"/>
                  <a:gd name="connsiteX1851" fmla="*/ 3371087 w 5338201"/>
                  <a:gd name="connsiteY1851" fmla="*/ 1662874 h 4122274"/>
                  <a:gd name="connsiteX1852" fmla="*/ 3420633 w 5338201"/>
                  <a:gd name="connsiteY1852" fmla="*/ 1689892 h 4122274"/>
                  <a:gd name="connsiteX1853" fmla="*/ 3427330 w 5338201"/>
                  <a:gd name="connsiteY1853" fmla="*/ 1684673 h 4122274"/>
                  <a:gd name="connsiteX1854" fmla="*/ 3371104 w 5338201"/>
                  <a:gd name="connsiteY1854" fmla="*/ 1654394 h 4122274"/>
                  <a:gd name="connsiteX1855" fmla="*/ 801945 w 5338201"/>
                  <a:gd name="connsiteY1855" fmla="*/ 1626276 h 4122274"/>
                  <a:gd name="connsiteX1856" fmla="*/ 801945 w 5338201"/>
                  <a:gd name="connsiteY1856" fmla="*/ 1762837 h 4122274"/>
                  <a:gd name="connsiteX1857" fmla="*/ 902979 w 5338201"/>
                  <a:gd name="connsiteY1857" fmla="*/ 1863850 h 4122274"/>
                  <a:gd name="connsiteX1858" fmla="*/ 932149 w 5338201"/>
                  <a:gd name="connsiteY1858" fmla="*/ 1775052 h 4122274"/>
                  <a:gd name="connsiteX1859" fmla="*/ 801945 w 5338201"/>
                  <a:gd name="connsiteY1859" fmla="*/ 1626276 h 4122274"/>
                  <a:gd name="connsiteX1860" fmla="*/ 762162 w 5338201"/>
                  <a:gd name="connsiteY1860" fmla="*/ 1626276 h 4122274"/>
                  <a:gd name="connsiteX1861" fmla="*/ 631940 w 5338201"/>
                  <a:gd name="connsiteY1861" fmla="*/ 1775052 h 4122274"/>
                  <a:gd name="connsiteX1862" fmla="*/ 661128 w 5338201"/>
                  <a:gd name="connsiteY1862" fmla="*/ 1863850 h 4122274"/>
                  <a:gd name="connsiteX1863" fmla="*/ 762162 w 5338201"/>
                  <a:gd name="connsiteY1863" fmla="*/ 1762837 h 4122274"/>
                  <a:gd name="connsiteX1864" fmla="*/ 3543192 w 5338201"/>
                  <a:gd name="connsiteY1864" fmla="*/ 1624719 h 4122274"/>
                  <a:gd name="connsiteX1865" fmla="*/ 3486304 w 5338201"/>
                  <a:gd name="connsiteY1865" fmla="*/ 1660376 h 4122274"/>
                  <a:gd name="connsiteX1866" fmla="*/ 3493120 w 5338201"/>
                  <a:gd name="connsiteY1866" fmla="*/ 1665420 h 4122274"/>
                  <a:gd name="connsiteX1867" fmla="*/ 3543260 w 5338201"/>
                  <a:gd name="connsiteY1867" fmla="*/ 1633200 h 4122274"/>
                  <a:gd name="connsiteX1868" fmla="*/ 3543904 w 5338201"/>
                  <a:gd name="connsiteY1868" fmla="*/ 1633200 h 4122274"/>
                  <a:gd name="connsiteX1869" fmla="*/ 3593433 w 5338201"/>
                  <a:gd name="connsiteY1869" fmla="*/ 1660217 h 4122274"/>
                  <a:gd name="connsiteX1870" fmla="*/ 3600131 w 5338201"/>
                  <a:gd name="connsiteY1870" fmla="*/ 1654982 h 4122274"/>
                  <a:gd name="connsiteX1871" fmla="*/ 3543904 w 5338201"/>
                  <a:gd name="connsiteY1871" fmla="*/ 1624719 h 4122274"/>
                  <a:gd name="connsiteX1872" fmla="*/ 3543192 w 5338201"/>
                  <a:gd name="connsiteY1872" fmla="*/ 1624719 h 4122274"/>
                  <a:gd name="connsiteX1873" fmla="*/ 3370408 w 5338201"/>
                  <a:gd name="connsiteY1873" fmla="*/ 1624719 h 4122274"/>
                  <a:gd name="connsiteX1874" fmla="*/ 3313520 w 5338201"/>
                  <a:gd name="connsiteY1874" fmla="*/ 1660376 h 4122274"/>
                  <a:gd name="connsiteX1875" fmla="*/ 3320337 w 5338201"/>
                  <a:gd name="connsiteY1875" fmla="*/ 1665420 h 4122274"/>
                  <a:gd name="connsiteX1876" fmla="*/ 3370459 w 5338201"/>
                  <a:gd name="connsiteY1876" fmla="*/ 1633200 h 4122274"/>
                  <a:gd name="connsiteX1877" fmla="*/ 3371087 w 5338201"/>
                  <a:gd name="connsiteY1877" fmla="*/ 1633200 h 4122274"/>
                  <a:gd name="connsiteX1878" fmla="*/ 3420633 w 5338201"/>
                  <a:gd name="connsiteY1878" fmla="*/ 1660217 h 4122274"/>
                  <a:gd name="connsiteX1879" fmla="*/ 3427330 w 5338201"/>
                  <a:gd name="connsiteY1879" fmla="*/ 1654982 h 4122274"/>
                  <a:gd name="connsiteX1880" fmla="*/ 3371104 w 5338201"/>
                  <a:gd name="connsiteY1880" fmla="*/ 1624719 h 4122274"/>
                  <a:gd name="connsiteX1881" fmla="*/ 3370408 w 5338201"/>
                  <a:gd name="connsiteY1881" fmla="*/ 1624719 h 4122274"/>
                  <a:gd name="connsiteX1882" fmla="*/ 3765599 w 5338201"/>
                  <a:gd name="connsiteY1882" fmla="*/ 1618817 h 4122274"/>
                  <a:gd name="connsiteX1883" fmla="*/ 3752670 w 5338201"/>
                  <a:gd name="connsiteY1883" fmla="*/ 1631759 h 4122274"/>
                  <a:gd name="connsiteX1884" fmla="*/ 3752670 w 5338201"/>
                  <a:gd name="connsiteY1884" fmla="*/ 1662757 h 4122274"/>
                  <a:gd name="connsiteX1885" fmla="*/ 3765599 w 5338201"/>
                  <a:gd name="connsiteY1885" fmla="*/ 1675713 h 4122274"/>
                  <a:gd name="connsiteX1886" fmla="*/ 3798116 w 5338201"/>
                  <a:gd name="connsiteY1886" fmla="*/ 1675713 h 4122274"/>
                  <a:gd name="connsiteX1887" fmla="*/ 3811072 w 5338201"/>
                  <a:gd name="connsiteY1887" fmla="*/ 1662757 h 4122274"/>
                  <a:gd name="connsiteX1888" fmla="*/ 3811072 w 5338201"/>
                  <a:gd name="connsiteY1888" fmla="*/ 1631759 h 4122274"/>
                  <a:gd name="connsiteX1889" fmla="*/ 3798116 w 5338201"/>
                  <a:gd name="connsiteY1889" fmla="*/ 1618817 h 4122274"/>
                  <a:gd name="connsiteX1890" fmla="*/ 1064787 w 5338201"/>
                  <a:gd name="connsiteY1890" fmla="*/ 1614125 h 4122274"/>
                  <a:gd name="connsiteX1891" fmla="*/ 1133836 w 5338201"/>
                  <a:gd name="connsiteY1891" fmla="*/ 1614125 h 4122274"/>
                  <a:gd name="connsiteX1892" fmla="*/ 1133836 w 5338201"/>
                  <a:gd name="connsiteY1892" fmla="*/ 1673993 h 4122274"/>
                  <a:gd name="connsiteX1893" fmla="*/ 1064787 w 5338201"/>
                  <a:gd name="connsiteY1893" fmla="*/ 1673993 h 4122274"/>
                  <a:gd name="connsiteX1894" fmla="*/ 1064787 w 5338201"/>
                  <a:gd name="connsiteY1894" fmla="*/ 1614125 h 4122274"/>
                  <a:gd name="connsiteX1895" fmla="*/ 2326454 w 5338201"/>
                  <a:gd name="connsiteY1895" fmla="*/ 1593203 h 4122274"/>
                  <a:gd name="connsiteX1896" fmla="*/ 2311458 w 5338201"/>
                  <a:gd name="connsiteY1896" fmla="*/ 1648073 h 4122274"/>
                  <a:gd name="connsiteX1897" fmla="*/ 2396208 w 5338201"/>
                  <a:gd name="connsiteY1897" fmla="*/ 1648073 h 4122274"/>
                  <a:gd name="connsiteX1898" fmla="*/ 2381212 w 5338201"/>
                  <a:gd name="connsiteY1898" fmla="*/ 1593203 h 4122274"/>
                  <a:gd name="connsiteX1899" fmla="*/ 5293058 w 5338201"/>
                  <a:gd name="connsiteY1899" fmla="*/ 1587866 h 4122274"/>
                  <a:gd name="connsiteX1900" fmla="*/ 5312609 w 5338201"/>
                  <a:gd name="connsiteY1900" fmla="*/ 1599167 h 4122274"/>
                  <a:gd name="connsiteX1901" fmla="*/ 5315381 w 5338201"/>
                  <a:gd name="connsiteY1901" fmla="*/ 1609421 h 4122274"/>
                  <a:gd name="connsiteX1902" fmla="*/ 5308878 w 5338201"/>
                  <a:gd name="connsiteY1902" fmla="*/ 1613196 h 4122274"/>
                  <a:gd name="connsiteX1903" fmla="*/ 5305090 w 5338201"/>
                  <a:gd name="connsiteY1903" fmla="*/ 1612181 h 4122274"/>
                  <a:gd name="connsiteX1904" fmla="*/ 5285530 w 5338201"/>
                  <a:gd name="connsiteY1904" fmla="*/ 1600919 h 4122274"/>
                  <a:gd name="connsiteX1905" fmla="*/ 5282769 w 5338201"/>
                  <a:gd name="connsiteY1905" fmla="*/ 1590633 h 4122274"/>
                  <a:gd name="connsiteX1906" fmla="*/ 5293058 w 5338201"/>
                  <a:gd name="connsiteY1906" fmla="*/ 1587866 h 4122274"/>
                  <a:gd name="connsiteX1907" fmla="*/ 5032453 w 5338201"/>
                  <a:gd name="connsiteY1907" fmla="*/ 1587866 h 4122274"/>
                  <a:gd name="connsiteX1908" fmla="*/ 5042733 w 5338201"/>
                  <a:gd name="connsiteY1908" fmla="*/ 1590633 h 4122274"/>
                  <a:gd name="connsiteX1909" fmla="*/ 5039972 w 5338201"/>
                  <a:gd name="connsiteY1909" fmla="*/ 1600919 h 4122274"/>
                  <a:gd name="connsiteX1910" fmla="*/ 5020421 w 5338201"/>
                  <a:gd name="connsiteY1910" fmla="*/ 1612181 h 4122274"/>
                  <a:gd name="connsiteX1911" fmla="*/ 5016682 w 5338201"/>
                  <a:gd name="connsiteY1911" fmla="*/ 1613196 h 4122274"/>
                  <a:gd name="connsiteX1912" fmla="*/ 5010132 w 5338201"/>
                  <a:gd name="connsiteY1912" fmla="*/ 1609458 h 4122274"/>
                  <a:gd name="connsiteX1913" fmla="*/ 5012902 w 5338201"/>
                  <a:gd name="connsiteY1913" fmla="*/ 1599167 h 4122274"/>
                  <a:gd name="connsiteX1914" fmla="*/ 5161241 w 5338201"/>
                  <a:gd name="connsiteY1914" fmla="*/ 1586860 h 4122274"/>
                  <a:gd name="connsiteX1915" fmla="*/ 5180060 w 5338201"/>
                  <a:gd name="connsiteY1915" fmla="*/ 1605642 h 4122274"/>
                  <a:gd name="connsiteX1916" fmla="*/ 5161241 w 5338201"/>
                  <a:gd name="connsiteY1916" fmla="*/ 1624462 h 4122274"/>
                  <a:gd name="connsiteX1917" fmla="*/ 5142428 w 5338201"/>
                  <a:gd name="connsiteY1917" fmla="*/ 1605642 h 4122274"/>
                  <a:gd name="connsiteX1918" fmla="*/ 5161241 w 5338201"/>
                  <a:gd name="connsiteY1918" fmla="*/ 1586860 h 4122274"/>
                  <a:gd name="connsiteX1919" fmla="*/ 3756931 w 5338201"/>
                  <a:gd name="connsiteY1919" fmla="*/ 1586860 h 4122274"/>
                  <a:gd name="connsiteX1920" fmla="*/ 3970726 w 5338201"/>
                  <a:gd name="connsiteY1920" fmla="*/ 1586860 h 4122274"/>
                  <a:gd name="connsiteX1921" fmla="*/ 4007637 w 5338201"/>
                  <a:gd name="connsiteY1921" fmla="*/ 1623770 h 4122274"/>
                  <a:gd name="connsiteX1922" fmla="*/ 4007637 w 5338201"/>
                  <a:gd name="connsiteY1922" fmla="*/ 1837560 h 4122274"/>
                  <a:gd name="connsiteX1923" fmla="*/ 3970726 w 5338201"/>
                  <a:gd name="connsiteY1923" fmla="*/ 1874470 h 4122274"/>
                  <a:gd name="connsiteX1924" fmla="*/ 3756931 w 5338201"/>
                  <a:gd name="connsiteY1924" fmla="*/ 1874470 h 4122274"/>
                  <a:gd name="connsiteX1925" fmla="*/ 3720020 w 5338201"/>
                  <a:gd name="connsiteY1925" fmla="*/ 1837560 h 4122274"/>
                  <a:gd name="connsiteX1926" fmla="*/ 3720020 w 5338201"/>
                  <a:gd name="connsiteY1926" fmla="*/ 1623770 h 4122274"/>
                  <a:gd name="connsiteX1927" fmla="*/ 3756931 w 5338201"/>
                  <a:gd name="connsiteY1927" fmla="*/ 1586860 h 4122274"/>
                  <a:gd name="connsiteX1928" fmla="*/ 782045 w 5338201"/>
                  <a:gd name="connsiteY1928" fmla="*/ 1586860 h 4122274"/>
                  <a:gd name="connsiteX1929" fmla="*/ 915124 w 5338201"/>
                  <a:gd name="connsiteY1929" fmla="*/ 1641993 h 4122274"/>
                  <a:gd name="connsiteX1930" fmla="*/ 970242 w 5338201"/>
                  <a:gd name="connsiteY1930" fmla="*/ 1775052 h 4122274"/>
                  <a:gd name="connsiteX1931" fmla="*/ 915124 w 5338201"/>
                  <a:gd name="connsiteY1931" fmla="*/ 1908110 h 4122274"/>
                  <a:gd name="connsiteX1932" fmla="*/ 782045 w 5338201"/>
                  <a:gd name="connsiteY1932" fmla="*/ 1963243 h 4122274"/>
                  <a:gd name="connsiteX1933" fmla="*/ 648983 w 5338201"/>
                  <a:gd name="connsiteY1933" fmla="*/ 1908110 h 4122274"/>
                  <a:gd name="connsiteX1934" fmla="*/ 593848 w 5338201"/>
                  <a:gd name="connsiteY1934" fmla="*/ 1775052 h 4122274"/>
                  <a:gd name="connsiteX1935" fmla="*/ 648983 w 5338201"/>
                  <a:gd name="connsiteY1935" fmla="*/ 1641993 h 4122274"/>
                  <a:gd name="connsiteX1936" fmla="*/ 782045 w 5338201"/>
                  <a:gd name="connsiteY1936" fmla="*/ 1586860 h 4122274"/>
                  <a:gd name="connsiteX1937" fmla="*/ 231723 w 5338201"/>
                  <a:gd name="connsiteY1937" fmla="*/ 1581477 h 4122274"/>
                  <a:gd name="connsiteX1938" fmla="*/ 240064 w 5338201"/>
                  <a:gd name="connsiteY1938" fmla="*/ 1593816 h 4122274"/>
                  <a:gd name="connsiteX1939" fmla="*/ 240064 w 5338201"/>
                  <a:gd name="connsiteY1939" fmla="*/ 1602339 h 4122274"/>
                  <a:gd name="connsiteX1940" fmla="*/ 223558 w 5338201"/>
                  <a:gd name="connsiteY1940" fmla="*/ 1602339 h 4122274"/>
                  <a:gd name="connsiteX1941" fmla="*/ 223558 w 5338201"/>
                  <a:gd name="connsiteY1941" fmla="*/ 1593816 h 4122274"/>
                  <a:gd name="connsiteX1942" fmla="*/ 231723 w 5338201"/>
                  <a:gd name="connsiteY1942" fmla="*/ 1581477 h 4122274"/>
                  <a:gd name="connsiteX1943" fmla="*/ 166267 w 5338201"/>
                  <a:gd name="connsiteY1943" fmla="*/ 1581477 h 4122274"/>
                  <a:gd name="connsiteX1944" fmla="*/ 173524 w 5338201"/>
                  <a:gd name="connsiteY1944" fmla="*/ 1593635 h 4122274"/>
                  <a:gd name="connsiteX1945" fmla="*/ 173524 w 5338201"/>
                  <a:gd name="connsiteY1945" fmla="*/ 1632433 h 4122274"/>
                  <a:gd name="connsiteX1946" fmla="*/ 166267 w 5338201"/>
                  <a:gd name="connsiteY1946" fmla="*/ 1644757 h 4122274"/>
                  <a:gd name="connsiteX1947" fmla="*/ 158102 w 5338201"/>
                  <a:gd name="connsiteY1947" fmla="*/ 1640775 h 4122274"/>
                  <a:gd name="connsiteX1948" fmla="*/ 158102 w 5338201"/>
                  <a:gd name="connsiteY1948" fmla="*/ 1585475 h 4122274"/>
                  <a:gd name="connsiteX1949" fmla="*/ 166267 w 5338201"/>
                  <a:gd name="connsiteY1949" fmla="*/ 1581477 h 4122274"/>
                  <a:gd name="connsiteX1950" fmla="*/ 2319881 w 5338201"/>
                  <a:gd name="connsiteY1950" fmla="*/ 1575953 h 4122274"/>
                  <a:gd name="connsiteX1951" fmla="*/ 2387816 w 5338201"/>
                  <a:gd name="connsiteY1951" fmla="*/ 1575953 h 4122274"/>
                  <a:gd name="connsiteX1952" fmla="*/ 2396132 w 5338201"/>
                  <a:gd name="connsiteY1952" fmla="*/ 1582304 h 4122274"/>
                  <a:gd name="connsiteX1953" fmla="*/ 2430222 w 5338201"/>
                  <a:gd name="connsiteY1953" fmla="*/ 1707004 h 4122274"/>
                  <a:gd name="connsiteX1954" fmla="*/ 2433065 w 5338201"/>
                  <a:gd name="connsiteY1954" fmla="*/ 1717417 h 4122274"/>
                  <a:gd name="connsiteX1955" fmla="*/ 2475777 w 5338201"/>
                  <a:gd name="connsiteY1955" fmla="*/ 1873558 h 4122274"/>
                  <a:gd name="connsiteX1956" fmla="*/ 2510310 w 5338201"/>
                  <a:gd name="connsiteY1956" fmla="*/ 1873558 h 4122274"/>
                  <a:gd name="connsiteX1957" fmla="*/ 2518932 w 5338201"/>
                  <a:gd name="connsiteY1957" fmla="*/ 1882183 h 4122274"/>
                  <a:gd name="connsiteX1958" fmla="*/ 2518932 w 5338201"/>
                  <a:gd name="connsiteY1958" fmla="*/ 1906050 h 4122274"/>
                  <a:gd name="connsiteX1959" fmla="*/ 2510310 w 5338201"/>
                  <a:gd name="connsiteY1959" fmla="*/ 1914675 h 4122274"/>
                  <a:gd name="connsiteX1960" fmla="*/ 2197356 w 5338201"/>
                  <a:gd name="connsiteY1960" fmla="*/ 1914675 h 4122274"/>
                  <a:gd name="connsiteX1961" fmla="*/ 2188734 w 5338201"/>
                  <a:gd name="connsiteY1961" fmla="*/ 1906050 h 4122274"/>
                  <a:gd name="connsiteX1962" fmla="*/ 2188734 w 5338201"/>
                  <a:gd name="connsiteY1962" fmla="*/ 1882183 h 4122274"/>
                  <a:gd name="connsiteX1963" fmla="*/ 2197356 w 5338201"/>
                  <a:gd name="connsiteY1963" fmla="*/ 1873558 h 4122274"/>
                  <a:gd name="connsiteX1964" fmla="*/ 2231889 w 5338201"/>
                  <a:gd name="connsiteY1964" fmla="*/ 1873558 h 4122274"/>
                  <a:gd name="connsiteX1965" fmla="*/ 2274387 w 5338201"/>
                  <a:gd name="connsiteY1965" fmla="*/ 1718138 h 4122274"/>
                  <a:gd name="connsiteX1966" fmla="*/ 2274540 w 5338201"/>
                  <a:gd name="connsiteY1966" fmla="*/ 1717589 h 4122274"/>
                  <a:gd name="connsiteX1967" fmla="*/ 2291309 w 5338201"/>
                  <a:gd name="connsiteY1967" fmla="*/ 1656337 h 4122274"/>
                  <a:gd name="connsiteX1968" fmla="*/ 2291814 w 5338201"/>
                  <a:gd name="connsiteY1968" fmla="*/ 1654424 h 4122274"/>
                  <a:gd name="connsiteX1969" fmla="*/ 2311549 w 5338201"/>
                  <a:gd name="connsiteY1969" fmla="*/ 1582304 h 4122274"/>
                  <a:gd name="connsiteX1970" fmla="*/ 2319881 w 5338201"/>
                  <a:gd name="connsiteY1970" fmla="*/ 1575953 h 4122274"/>
                  <a:gd name="connsiteX1971" fmla="*/ 4113162 w 5338201"/>
                  <a:gd name="connsiteY1971" fmla="*/ 1570459 h 4122274"/>
                  <a:gd name="connsiteX1972" fmla="*/ 4206916 w 5338201"/>
                  <a:gd name="connsiteY1972" fmla="*/ 1570459 h 4122274"/>
                  <a:gd name="connsiteX1973" fmla="*/ 4206916 w 5338201"/>
                  <a:gd name="connsiteY1973" fmla="*/ 1851862 h 4122274"/>
                  <a:gd name="connsiteX1974" fmla="*/ 4113162 w 5338201"/>
                  <a:gd name="connsiteY1974" fmla="*/ 1851862 h 4122274"/>
                  <a:gd name="connsiteX1975" fmla="*/ 1811347 w 5338201"/>
                  <a:gd name="connsiteY1975" fmla="*/ 1570426 h 4122274"/>
                  <a:gd name="connsiteX1976" fmla="*/ 1863748 w 5338201"/>
                  <a:gd name="connsiteY1976" fmla="*/ 1570426 h 4122274"/>
                  <a:gd name="connsiteX1977" fmla="*/ 1882786 w 5338201"/>
                  <a:gd name="connsiteY1977" fmla="*/ 1595266 h 4122274"/>
                  <a:gd name="connsiteX1978" fmla="*/ 1861209 w 5338201"/>
                  <a:gd name="connsiteY1978" fmla="*/ 1618656 h 4122274"/>
                  <a:gd name="connsiteX1979" fmla="*/ 1857945 w 5338201"/>
                  <a:gd name="connsiteY1979" fmla="*/ 1618656 h 4122274"/>
                  <a:gd name="connsiteX1980" fmla="*/ 1811347 w 5338201"/>
                  <a:gd name="connsiteY1980" fmla="*/ 1618656 h 4122274"/>
                  <a:gd name="connsiteX1981" fmla="*/ 79958 w 5338201"/>
                  <a:gd name="connsiteY1981" fmla="*/ 1567886 h 4122274"/>
                  <a:gd name="connsiteX1982" fmla="*/ 79958 w 5338201"/>
                  <a:gd name="connsiteY1982" fmla="*/ 1639688 h 4122274"/>
                  <a:gd name="connsiteX1983" fmla="*/ 81407 w 5338201"/>
                  <a:gd name="connsiteY1983" fmla="*/ 1653099 h 4122274"/>
                  <a:gd name="connsiteX1984" fmla="*/ 92104 w 5338201"/>
                  <a:gd name="connsiteY1984" fmla="*/ 1659811 h 4122274"/>
                  <a:gd name="connsiteX1985" fmla="*/ 110790 w 5338201"/>
                  <a:gd name="connsiteY1985" fmla="*/ 1648754 h 4122274"/>
                  <a:gd name="connsiteX1986" fmla="*/ 110790 w 5338201"/>
                  <a:gd name="connsiteY1986" fmla="*/ 1658544 h 4122274"/>
                  <a:gd name="connsiteX1987" fmla="*/ 127283 w 5338201"/>
                  <a:gd name="connsiteY1987" fmla="*/ 1658544 h 4122274"/>
                  <a:gd name="connsiteX1988" fmla="*/ 127283 w 5338201"/>
                  <a:gd name="connsiteY1988" fmla="*/ 1567886 h 4122274"/>
                  <a:gd name="connsiteX1989" fmla="*/ 110790 w 5338201"/>
                  <a:gd name="connsiteY1989" fmla="*/ 1567886 h 4122274"/>
                  <a:gd name="connsiteX1990" fmla="*/ 110790 w 5338201"/>
                  <a:gd name="connsiteY1990" fmla="*/ 1637335 h 4122274"/>
                  <a:gd name="connsiteX1991" fmla="*/ 100445 w 5338201"/>
                  <a:gd name="connsiteY1991" fmla="*/ 1644953 h 4122274"/>
                  <a:gd name="connsiteX1992" fmla="*/ 96464 w 5338201"/>
                  <a:gd name="connsiteY1992" fmla="*/ 1641137 h 4122274"/>
                  <a:gd name="connsiteX1993" fmla="*/ 96275 w 5338201"/>
                  <a:gd name="connsiteY1993" fmla="*/ 1634786 h 4122274"/>
                  <a:gd name="connsiteX1994" fmla="*/ 96275 w 5338201"/>
                  <a:gd name="connsiteY1994" fmla="*/ 1567886 h 4122274"/>
                  <a:gd name="connsiteX1995" fmla="*/ 227187 w 5338201"/>
                  <a:gd name="connsiteY1995" fmla="*/ 1566800 h 4122274"/>
                  <a:gd name="connsiteX1996" fmla="*/ 207607 w 5338201"/>
                  <a:gd name="connsiteY1996" fmla="*/ 1576228 h 4122274"/>
                  <a:gd name="connsiteX1997" fmla="*/ 202529 w 5338201"/>
                  <a:gd name="connsiteY1997" fmla="*/ 1597437 h 4122274"/>
                  <a:gd name="connsiteX1998" fmla="*/ 202529 w 5338201"/>
                  <a:gd name="connsiteY1998" fmla="*/ 1629175 h 4122274"/>
                  <a:gd name="connsiteX1999" fmla="*/ 207783 w 5338201"/>
                  <a:gd name="connsiteY1999" fmla="*/ 1650564 h 4122274"/>
                  <a:gd name="connsiteX2000" fmla="*/ 227552 w 5338201"/>
                  <a:gd name="connsiteY2000" fmla="*/ 1659811 h 4122274"/>
                  <a:gd name="connsiteX2001" fmla="*/ 247498 w 5338201"/>
                  <a:gd name="connsiteY2001" fmla="*/ 1650202 h 4122274"/>
                  <a:gd name="connsiteX2002" fmla="*/ 251303 w 5338201"/>
                  <a:gd name="connsiteY2002" fmla="*/ 1640231 h 4122274"/>
                  <a:gd name="connsiteX2003" fmla="*/ 251668 w 5338201"/>
                  <a:gd name="connsiteY2003" fmla="*/ 1629537 h 4122274"/>
                  <a:gd name="connsiteX2004" fmla="*/ 251668 w 5338201"/>
                  <a:gd name="connsiteY2004" fmla="*/ 1627183 h 4122274"/>
                  <a:gd name="connsiteX2005" fmla="*/ 234986 w 5338201"/>
                  <a:gd name="connsiteY2005" fmla="*/ 1627183 h 4122274"/>
                  <a:gd name="connsiteX2006" fmla="*/ 234621 w 5338201"/>
                  <a:gd name="connsiteY2006" fmla="*/ 1638421 h 4122274"/>
                  <a:gd name="connsiteX2007" fmla="*/ 227187 w 5338201"/>
                  <a:gd name="connsiteY2007" fmla="*/ 1644953 h 4122274"/>
                  <a:gd name="connsiteX2008" fmla="*/ 218846 w 5338201"/>
                  <a:gd name="connsiteY2008" fmla="*/ 1632252 h 4122274"/>
                  <a:gd name="connsiteX2009" fmla="*/ 218846 w 5338201"/>
                  <a:gd name="connsiteY2009" fmla="*/ 1616292 h 4122274"/>
                  <a:gd name="connsiteX2010" fmla="*/ 251668 w 5338201"/>
                  <a:gd name="connsiteY2010" fmla="*/ 1616292 h 4122274"/>
                  <a:gd name="connsiteX2011" fmla="*/ 251668 w 5338201"/>
                  <a:gd name="connsiteY2011" fmla="*/ 1597437 h 4122274"/>
                  <a:gd name="connsiteX2012" fmla="*/ 246767 w 5338201"/>
                  <a:gd name="connsiteY2012" fmla="*/ 1576228 h 4122274"/>
                  <a:gd name="connsiteX2013" fmla="*/ 227187 w 5338201"/>
                  <a:gd name="connsiteY2013" fmla="*/ 1566800 h 4122274"/>
                  <a:gd name="connsiteX2014" fmla="*/ 3537698 w 5338201"/>
                  <a:gd name="connsiteY2014" fmla="*/ 1559626 h 4122274"/>
                  <a:gd name="connsiteX2015" fmla="*/ 3631110 w 5338201"/>
                  <a:gd name="connsiteY2015" fmla="*/ 1612817 h 4122274"/>
                  <a:gd name="connsiteX2016" fmla="*/ 3631330 w 5338201"/>
                  <a:gd name="connsiteY2016" fmla="*/ 1613040 h 4122274"/>
                  <a:gd name="connsiteX2017" fmla="*/ 3636044 w 5338201"/>
                  <a:gd name="connsiteY2017" fmla="*/ 1619516 h 4122274"/>
                  <a:gd name="connsiteX2018" fmla="*/ 3636705 w 5338201"/>
                  <a:gd name="connsiteY2018" fmla="*/ 1625785 h 4122274"/>
                  <a:gd name="connsiteX2019" fmla="*/ 3636705 w 5338201"/>
                  <a:gd name="connsiteY2019" fmla="*/ 1885441 h 4122274"/>
                  <a:gd name="connsiteX2020" fmla="*/ 3628651 w 5338201"/>
                  <a:gd name="connsiteY2020" fmla="*/ 1897725 h 4122274"/>
                  <a:gd name="connsiteX2021" fmla="*/ 3614137 w 5338201"/>
                  <a:gd name="connsiteY2021" fmla="*/ 1895052 h 4122274"/>
                  <a:gd name="connsiteX2022" fmla="*/ 3518724 w 5338201"/>
                  <a:gd name="connsiteY2022" fmla="*/ 1845217 h 4122274"/>
                  <a:gd name="connsiteX2023" fmla="*/ 3466652 w 5338201"/>
                  <a:gd name="connsiteY2023" fmla="*/ 1889244 h 4122274"/>
                  <a:gd name="connsiteX2024" fmla="*/ 3466431 w 5338201"/>
                  <a:gd name="connsiteY2024" fmla="*/ 1889689 h 4122274"/>
                  <a:gd name="connsiteX2025" fmla="*/ 3465973 w 5338201"/>
                  <a:gd name="connsiteY2025" fmla="*/ 1890581 h 4122274"/>
                  <a:gd name="connsiteX2026" fmla="*/ 3465312 w 5338201"/>
                  <a:gd name="connsiteY2026" fmla="*/ 1891917 h 4122274"/>
                  <a:gd name="connsiteX2027" fmla="*/ 3464854 w 5338201"/>
                  <a:gd name="connsiteY2027" fmla="*/ 1892601 h 4122274"/>
                  <a:gd name="connsiteX2028" fmla="*/ 3463973 w 5338201"/>
                  <a:gd name="connsiteY2028" fmla="*/ 1893922 h 4122274"/>
                  <a:gd name="connsiteX2029" fmla="*/ 3463515 w 5338201"/>
                  <a:gd name="connsiteY2029" fmla="*/ 1894383 h 4122274"/>
                  <a:gd name="connsiteX2030" fmla="*/ 3461955 w 5338201"/>
                  <a:gd name="connsiteY2030" fmla="*/ 1895943 h 4122274"/>
                  <a:gd name="connsiteX2031" fmla="*/ 3460395 w 5338201"/>
                  <a:gd name="connsiteY2031" fmla="*/ 1897056 h 4122274"/>
                  <a:gd name="connsiteX2032" fmla="*/ 3460157 w 5338201"/>
                  <a:gd name="connsiteY2032" fmla="*/ 1897279 h 4122274"/>
                  <a:gd name="connsiteX2033" fmla="*/ 3453680 w 5338201"/>
                  <a:gd name="connsiteY2033" fmla="*/ 1899077 h 4122274"/>
                  <a:gd name="connsiteX2034" fmla="*/ 3451900 w 5338201"/>
                  <a:gd name="connsiteY2034" fmla="*/ 1899077 h 4122274"/>
                  <a:gd name="connsiteX2035" fmla="*/ 3451222 w 5338201"/>
                  <a:gd name="connsiteY2035" fmla="*/ 1898854 h 4122274"/>
                  <a:gd name="connsiteX2036" fmla="*/ 3450560 w 5338201"/>
                  <a:gd name="connsiteY2036" fmla="*/ 1898632 h 4122274"/>
                  <a:gd name="connsiteX2037" fmla="*/ 3449000 w 5338201"/>
                  <a:gd name="connsiteY2037" fmla="*/ 1898186 h 4122274"/>
                  <a:gd name="connsiteX2038" fmla="*/ 3448542 w 5338201"/>
                  <a:gd name="connsiteY2038" fmla="*/ 1897963 h 4122274"/>
                  <a:gd name="connsiteX2039" fmla="*/ 3446982 w 5338201"/>
                  <a:gd name="connsiteY2039" fmla="*/ 1897056 h 4122274"/>
                  <a:gd name="connsiteX2040" fmla="*/ 3446542 w 5338201"/>
                  <a:gd name="connsiteY2040" fmla="*/ 1896850 h 4122274"/>
                  <a:gd name="connsiteX2041" fmla="*/ 3445202 w 5338201"/>
                  <a:gd name="connsiteY2041" fmla="*/ 1895720 h 4122274"/>
                  <a:gd name="connsiteX2042" fmla="*/ 3443625 w 5338201"/>
                  <a:gd name="connsiteY2042" fmla="*/ 1894161 h 4122274"/>
                  <a:gd name="connsiteX2043" fmla="*/ 3443184 w 5338201"/>
                  <a:gd name="connsiteY2043" fmla="*/ 1893492 h 4122274"/>
                  <a:gd name="connsiteX2044" fmla="*/ 3442303 w 5338201"/>
                  <a:gd name="connsiteY2044" fmla="*/ 1892140 h 4122274"/>
                  <a:gd name="connsiteX2045" fmla="*/ 3441845 w 5338201"/>
                  <a:gd name="connsiteY2045" fmla="*/ 1891249 h 4122274"/>
                  <a:gd name="connsiteX2046" fmla="*/ 3441404 w 5338201"/>
                  <a:gd name="connsiteY2046" fmla="*/ 1889912 h 4122274"/>
                  <a:gd name="connsiteX2047" fmla="*/ 3441183 w 5338201"/>
                  <a:gd name="connsiteY2047" fmla="*/ 1889467 h 4122274"/>
                  <a:gd name="connsiteX2048" fmla="*/ 3389111 w 5338201"/>
                  <a:gd name="connsiteY2048" fmla="*/ 1845440 h 4122274"/>
                  <a:gd name="connsiteX2049" fmla="*/ 3293478 w 5338201"/>
                  <a:gd name="connsiteY2049" fmla="*/ 1895274 h 4122274"/>
                  <a:gd name="connsiteX2050" fmla="*/ 3284305 w 5338201"/>
                  <a:gd name="connsiteY2050" fmla="*/ 1899077 h 4122274"/>
                  <a:gd name="connsiteX2051" fmla="*/ 3278947 w 5338201"/>
                  <a:gd name="connsiteY2051" fmla="*/ 1897963 h 4122274"/>
                  <a:gd name="connsiteX2052" fmla="*/ 3270892 w 5338201"/>
                  <a:gd name="connsiteY2052" fmla="*/ 1885664 h 4122274"/>
                  <a:gd name="connsiteX2053" fmla="*/ 3270892 w 5338201"/>
                  <a:gd name="connsiteY2053" fmla="*/ 1627122 h 4122274"/>
                  <a:gd name="connsiteX2054" fmla="*/ 3270672 w 5338201"/>
                  <a:gd name="connsiteY2054" fmla="*/ 1624210 h 4122274"/>
                  <a:gd name="connsiteX2055" fmla="*/ 3280286 w 5338201"/>
                  <a:gd name="connsiteY2055" fmla="*/ 1607455 h 4122274"/>
                  <a:gd name="connsiteX2056" fmla="*/ 3299057 w 5338201"/>
                  <a:gd name="connsiteY2056" fmla="*/ 1588250 h 4122274"/>
                  <a:gd name="connsiteX2057" fmla="*/ 3383973 w 5338201"/>
                  <a:gd name="connsiteY2057" fmla="*/ 1560740 h 4122274"/>
                  <a:gd name="connsiteX2058" fmla="*/ 3453680 w 5338201"/>
                  <a:gd name="connsiteY2058" fmla="*/ 1598736 h 4122274"/>
                  <a:gd name="connsiteX2059" fmla="*/ 3523404 w 5338201"/>
                  <a:gd name="connsiteY2059" fmla="*/ 1560740 h 4122274"/>
                  <a:gd name="connsiteX2060" fmla="*/ 3537698 w 5338201"/>
                  <a:gd name="connsiteY2060" fmla="*/ 1559626 h 4122274"/>
                  <a:gd name="connsiteX2061" fmla="*/ 4432834 w 5338201"/>
                  <a:gd name="connsiteY2061" fmla="*/ 1559590 h 4122274"/>
                  <a:gd name="connsiteX2062" fmla="*/ 4540534 w 5338201"/>
                  <a:gd name="connsiteY2062" fmla="*/ 1686328 h 4122274"/>
                  <a:gd name="connsiteX2063" fmla="*/ 4540534 w 5338201"/>
                  <a:gd name="connsiteY2063" fmla="*/ 1847511 h 4122274"/>
                  <a:gd name="connsiteX2064" fmla="*/ 4446981 w 5338201"/>
                  <a:gd name="connsiteY2064" fmla="*/ 1847511 h 4122274"/>
                  <a:gd name="connsiteX2065" fmla="*/ 4446981 w 5338201"/>
                  <a:gd name="connsiteY2065" fmla="*/ 1697023 h 4122274"/>
                  <a:gd name="connsiteX2066" fmla="*/ 4399653 w 5338201"/>
                  <a:gd name="connsiteY2066" fmla="*/ 1633373 h 4122274"/>
                  <a:gd name="connsiteX2067" fmla="*/ 4351604 w 5338201"/>
                  <a:gd name="connsiteY2067" fmla="*/ 1667645 h 4122274"/>
                  <a:gd name="connsiteX2068" fmla="*/ 4348518 w 5338201"/>
                  <a:gd name="connsiteY2068" fmla="*/ 1690312 h 4122274"/>
                  <a:gd name="connsiteX2069" fmla="*/ 4348518 w 5338201"/>
                  <a:gd name="connsiteY2069" fmla="*/ 1847511 h 4122274"/>
                  <a:gd name="connsiteX2070" fmla="*/ 4254965 w 5338201"/>
                  <a:gd name="connsiteY2070" fmla="*/ 1847511 h 4122274"/>
                  <a:gd name="connsiteX2071" fmla="*/ 4254965 w 5338201"/>
                  <a:gd name="connsiteY2071" fmla="*/ 1566282 h 4122274"/>
                  <a:gd name="connsiteX2072" fmla="*/ 4348518 w 5338201"/>
                  <a:gd name="connsiteY2072" fmla="*/ 1566282 h 4122274"/>
                  <a:gd name="connsiteX2073" fmla="*/ 4348518 w 5338201"/>
                  <a:gd name="connsiteY2073" fmla="*/ 1606007 h 4122274"/>
                  <a:gd name="connsiteX2074" fmla="*/ 4347977 w 5338201"/>
                  <a:gd name="connsiteY2074" fmla="*/ 1606896 h 4122274"/>
                  <a:gd name="connsiteX2075" fmla="*/ 4348518 w 5338201"/>
                  <a:gd name="connsiteY2075" fmla="*/ 1606896 h 4122274"/>
                  <a:gd name="connsiteX2076" fmla="*/ 4348518 w 5338201"/>
                  <a:gd name="connsiteY2076" fmla="*/ 1606007 h 4122274"/>
                  <a:gd name="connsiteX2077" fmla="*/ 4432834 w 5338201"/>
                  <a:gd name="connsiteY2077" fmla="*/ 1559590 h 4122274"/>
                  <a:gd name="connsiteX2078" fmla="*/ 2001185 w 5338201"/>
                  <a:gd name="connsiteY2078" fmla="*/ 1537789 h 4122274"/>
                  <a:gd name="connsiteX2079" fmla="*/ 2028745 w 5338201"/>
                  <a:gd name="connsiteY2079" fmla="*/ 1565531 h 4122274"/>
                  <a:gd name="connsiteX2080" fmla="*/ 1969636 w 5338201"/>
                  <a:gd name="connsiteY2080" fmla="*/ 1565531 h 4122274"/>
                  <a:gd name="connsiteX2081" fmla="*/ 2001185 w 5338201"/>
                  <a:gd name="connsiteY2081" fmla="*/ 1537789 h 4122274"/>
                  <a:gd name="connsiteX2082" fmla="*/ 141433 w 5338201"/>
                  <a:gd name="connsiteY2082" fmla="*/ 1536888 h 4122274"/>
                  <a:gd name="connsiteX2083" fmla="*/ 141433 w 5338201"/>
                  <a:gd name="connsiteY2083" fmla="*/ 1658544 h 4122274"/>
                  <a:gd name="connsiteX2084" fmla="*/ 157926 w 5338201"/>
                  <a:gd name="connsiteY2084" fmla="*/ 1658544 h 4122274"/>
                  <a:gd name="connsiteX2085" fmla="*/ 157926 w 5338201"/>
                  <a:gd name="connsiteY2085" fmla="*/ 1649840 h 4122274"/>
                  <a:gd name="connsiteX2086" fmla="*/ 174973 w 5338201"/>
                  <a:gd name="connsiteY2086" fmla="*/ 1659811 h 4122274"/>
                  <a:gd name="connsiteX2087" fmla="*/ 188027 w 5338201"/>
                  <a:gd name="connsiteY2087" fmla="*/ 1649840 h 4122274"/>
                  <a:gd name="connsiteX2088" fmla="*/ 189652 w 5338201"/>
                  <a:gd name="connsiteY2088" fmla="*/ 1631347 h 4122274"/>
                  <a:gd name="connsiteX2089" fmla="*/ 189652 w 5338201"/>
                  <a:gd name="connsiteY2089" fmla="*/ 1595265 h 4122274"/>
                  <a:gd name="connsiteX2090" fmla="*/ 188027 w 5338201"/>
                  <a:gd name="connsiteY2090" fmla="*/ 1577133 h 4122274"/>
                  <a:gd name="connsiteX2091" fmla="*/ 174973 w 5338201"/>
                  <a:gd name="connsiteY2091" fmla="*/ 1566800 h 4122274"/>
                  <a:gd name="connsiteX2092" fmla="*/ 157926 w 5338201"/>
                  <a:gd name="connsiteY2092" fmla="*/ 1576771 h 4122274"/>
                  <a:gd name="connsiteX2093" fmla="*/ 157926 w 5338201"/>
                  <a:gd name="connsiteY2093" fmla="*/ 1536888 h 4122274"/>
                  <a:gd name="connsiteX2094" fmla="*/ 20311 w 5338201"/>
                  <a:gd name="connsiteY2094" fmla="*/ 1536888 h 4122274"/>
                  <a:gd name="connsiteX2095" fmla="*/ 20311 w 5338201"/>
                  <a:gd name="connsiteY2095" fmla="*/ 1554099 h 4122274"/>
                  <a:gd name="connsiteX2096" fmla="*/ 39525 w 5338201"/>
                  <a:gd name="connsiteY2096" fmla="*/ 1554099 h 4122274"/>
                  <a:gd name="connsiteX2097" fmla="*/ 39525 w 5338201"/>
                  <a:gd name="connsiteY2097" fmla="*/ 1658544 h 4122274"/>
                  <a:gd name="connsiteX2098" fmla="*/ 58022 w 5338201"/>
                  <a:gd name="connsiteY2098" fmla="*/ 1658544 h 4122274"/>
                  <a:gd name="connsiteX2099" fmla="*/ 58022 w 5338201"/>
                  <a:gd name="connsiteY2099" fmla="*/ 1554099 h 4122274"/>
                  <a:gd name="connsiteX2100" fmla="*/ 77602 w 5338201"/>
                  <a:gd name="connsiteY2100" fmla="*/ 1554099 h 4122274"/>
                  <a:gd name="connsiteX2101" fmla="*/ 77602 w 5338201"/>
                  <a:gd name="connsiteY2101" fmla="*/ 1536888 h 4122274"/>
                  <a:gd name="connsiteX2102" fmla="*/ 1996471 w 5338201"/>
                  <a:gd name="connsiteY2102" fmla="*/ 1513130 h 4122274"/>
                  <a:gd name="connsiteX2103" fmla="*/ 1927208 w 5338201"/>
                  <a:gd name="connsiteY2103" fmla="*/ 1582393 h 4122274"/>
                  <a:gd name="connsiteX2104" fmla="*/ 1996471 w 5338201"/>
                  <a:gd name="connsiteY2104" fmla="*/ 1651293 h 4122274"/>
                  <a:gd name="connsiteX2105" fmla="*/ 2058119 w 5338201"/>
                  <a:gd name="connsiteY2105" fmla="*/ 1603426 h 4122274"/>
                  <a:gd name="connsiteX2106" fmla="*/ 2026388 w 5338201"/>
                  <a:gd name="connsiteY2106" fmla="*/ 1603426 h 4122274"/>
                  <a:gd name="connsiteX2107" fmla="*/ 1997559 w 5338201"/>
                  <a:gd name="connsiteY2107" fmla="*/ 1622826 h 4122274"/>
                  <a:gd name="connsiteX2108" fmla="*/ 1965829 w 5338201"/>
                  <a:gd name="connsiteY2108" fmla="*/ 1591459 h 4122274"/>
                  <a:gd name="connsiteX2109" fmla="*/ 2059206 w 5338201"/>
                  <a:gd name="connsiteY2109" fmla="*/ 1591459 h 4122274"/>
                  <a:gd name="connsiteX2110" fmla="*/ 1996471 w 5338201"/>
                  <a:gd name="connsiteY2110" fmla="*/ 1513130 h 4122274"/>
                  <a:gd name="connsiteX2111" fmla="*/ 5308116 w 5338201"/>
                  <a:gd name="connsiteY2111" fmla="*/ 1510516 h 4122274"/>
                  <a:gd name="connsiteX2112" fmla="*/ 5330673 w 5338201"/>
                  <a:gd name="connsiteY2112" fmla="*/ 1510516 h 4122274"/>
                  <a:gd name="connsiteX2113" fmla="*/ 5338201 w 5338201"/>
                  <a:gd name="connsiteY2113" fmla="*/ 1518038 h 4122274"/>
                  <a:gd name="connsiteX2114" fmla="*/ 5330673 w 5338201"/>
                  <a:gd name="connsiteY2114" fmla="*/ 1525571 h 4122274"/>
                  <a:gd name="connsiteX2115" fmla="*/ 5308116 w 5338201"/>
                  <a:gd name="connsiteY2115" fmla="*/ 1525571 h 4122274"/>
                  <a:gd name="connsiteX2116" fmla="*/ 5300614 w 5338201"/>
                  <a:gd name="connsiteY2116" fmla="*/ 1518038 h 4122274"/>
                  <a:gd name="connsiteX2117" fmla="*/ 5308116 w 5338201"/>
                  <a:gd name="connsiteY2117" fmla="*/ 1510516 h 4122274"/>
                  <a:gd name="connsiteX2118" fmla="*/ 4991825 w 5338201"/>
                  <a:gd name="connsiteY2118" fmla="*/ 1510516 h 4122274"/>
                  <a:gd name="connsiteX2119" fmla="*/ 5014392 w 5338201"/>
                  <a:gd name="connsiteY2119" fmla="*/ 1510516 h 4122274"/>
                  <a:gd name="connsiteX2120" fmla="*/ 5021920 w 5338201"/>
                  <a:gd name="connsiteY2120" fmla="*/ 1518038 h 4122274"/>
                  <a:gd name="connsiteX2121" fmla="*/ 5014392 w 5338201"/>
                  <a:gd name="connsiteY2121" fmla="*/ 1525571 h 4122274"/>
                  <a:gd name="connsiteX2122" fmla="*/ 4991825 w 5338201"/>
                  <a:gd name="connsiteY2122" fmla="*/ 1525571 h 4122274"/>
                  <a:gd name="connsiteX2123" fmla="*/ 4984314 w 5338201"/>
                  <a:gd name="connsiteY2123" fmla="*/ 1518038 h 4122274"/>
                  <a:gd name="connsiteX2124" fmla="*/ 4991825 w 5338201"/>
                  <a:gd name="connsiteY2124" fmla="*/ 1510516 h 4122274"/>
                  <a:gd name="connsiteX2125" fmla="*/ 135990 w 5338201"/>
                  <a:gd name="connsiteY2125" fmla="*/ 1505150 h 4122274"/>
                  <a:gd name="connsiteX2126" fmla="*/ 237884 w 5338201"/>
                  <a:gd name="connsiteY2126" fmla="*/ 1508770 h 4122274"/>
                  <a:gd name="connsiteX2127" fmla="*/ 256746 w 5338201"/>
                  <a:gd name="connsiteY2127" fmla="*/ 1517293 h 4122274"/>
                  <a:gd name="connsiteX2128" fmla="*/ 267254 w 5338201"/>
                  <a:gd name="connsiteY2128" fmla="*/ 1535605 h 4122274"/>
                  <a:gd name="connsiteX2129" fmla="*/ 272156 w 5338201"/>
                  <a:gd name="connsiteY2129" fmla="*/ 1599805 h 4122274"/>
                  <a:gd name="connsiteX2130" fmla="*/ 267254 w 5338201"/>
                  <a:gd name="connsiteY2130" fmla="*/ 1664171 h 4122274"/>
                  <a:gd name="connsiteX2131" fmla="*/ 256746 w 5338201"/>
                  <a:gd name="connsiteY2131" fmla="*/ 1682302 h 4122274"/>
                  <a:gd name="connsiteX2132" fmla="*/ 237884 w 5338201"/>
                  <a:gd name="connsiteY2132" fmla="*/ 1690825 h 4122274"/>
                  <a:gd name="connsiteX2133" fmla="*/ 135990 w 5338201"/>
                  <a:gd name="connsiteY2133" fmla="*/ 1694626 h 4122274"/>
                  <a:gd name="connsiteX2134" fmla="*/ 34082 w 5338201"/>
                  <a:gd name="connsiteY2134" fmla="*/ 1690825 h 4122274"/>
                  <a:gd name="connsiteX2135" fmla="*/ 15233 w 5338201"/>
                  <a:gd name="connsiteY2135" fmla="*/ 1682302 h 4122274"/>
                  <a:gd name="connsiteX2136" fmla="*/ 4712 w 5338201"/>
                  <a:gd name="connsiteY2136" fmla="*/ 1664171 h 4122274"/>
                  <a:gd name="connsiteX2137" fmla="*/ 0 w 5338201"/>
                  <a:gd name="connsiteY2137" fmla="*/ 1599805 h 4122274"/>
                  <a:gd name="connsiteX2138" fmla="*/ 4712 w 5338201"/>
                  <a:gd name="connsiteY2138" fmla="*/ 1535605 h 4122274"/>
                  <a:gd name="connsiteX2139" fmla="*/ 15409 w 5338201"/>
                  <a:gd name="connsiteY2139" fmla="*/ 1517293 h 4122274"/>
                  <a:gd name="connsiteX2140" fmla="*/ 34271 w 5338201"/>
                  <a:gd name="connsiteY2140" fmla="*/ 1508770 h 4122274"/>
                  <a:gd name="connsiteX2141" fmla="*/ 135990 w 5338201"/>
                  <a:gd name="connsiteY2141" fmla="*/ 1505150 h 4122274"/>
                  <a:gd name="connsiteX2142" fmla="*/ 3041747 w 5338201"/>
                  <a:gd name="connsiteY2142" fmla="*/ 1500231 h 4122274"/>
                  <a:gd name="connsiteX2143" fmla="*/ 2971745 w 5338201"/>
                  <a:gd name="connsiteY2143" fmla="*/ 1570869 h 4122274"/>
                  <a:gd name="connsiteX2144" fmla="*/ 2971745 w 5338201"/>
                  <a:gd name="connsiteY2144" fmla="*/ 1605974 h 4122274"/>
                  <a:gd name="connsiteX2145" fmla="*/ 3111749 w 5338201"/>
                  <a:gd name="connsiteY2145" fmla="*/ 1605974 h 4122274"/>
                  <a:gd name="connsiteX2146" fmla="*/ 3111749 w 5338201"/>
                  <a:gd name="connsiteY2146" fmla="*/ 1570869 h 4122274"/>
                  <a:gd name="connsiteX2147" fmla="*/ 3041747 w 5338201"/>
                  <a:gd name="connsiteY2147" fmla="*/ 1500231 h 4122274"/>
                  <a:gd name="connsiteX2148" fmla="*/ 1811347 w 5338201"/>
                  <a:gd name="connsiteY2148" fmla="*/ 1499531 h 4122274"/>
                  <a:gd name="connsiteX2149" fmla="*/ 1863748 w 5338201"/>
                  <a:gd name="connsiteY2149" fmla="*/ 1499531 h 4122274"/>
                  <a:gd name="connsiteX2150" fmla="*/ 1876621 w 5338201"/>
                  <a:gd name="connsiteY2150" fmla="*/ 1518388 h 4122274"/>
                  <a:gd name="connsiteX2151" fmla="*/ 1860665 w 5338201"/>
                  <a:gd name="connsiteY2151" fmla="*/ 1539784 h 4122274"/>
                  <a:gd name="connsiteX2152" fmla="*/ 1811347 w 5338201"/>
                  <a:gd name="connsiteY2152" fmla="*/ 1539784 h 4122274"/>
                  <a:gd name="connsiteX2153" fmla="*/ 1178994 w 5338201"/>
                  <a:gd name="connsiteY2153" fmla="*/ 1483250 h 4122274"/>
                  <a:gd name="connsiteX2154" fmla="*/ 1204726 w 5338201"/>
                  <a:gd name="connsiteY2154" fmla="*/ 1508994 h 4122274"/>
                  <a:gd name="connsiteX2155" fmla="*/ 1178994 w 5338201"/>
                  <a:gd name="connsiteY2155" fmla="*/ 1534728 h 4122274"/>
                  <a:gd name="connsiteX2156" fmla="*/ 1153262 w 5338201"/>
                  <a:gd name="connsiteY2156" fmla="*/ 1508994 h 4122274"/>
                  <a:gd name="connsiteX2157" fmla="*/ 1178994 w 5338201"/>
                  <a:gd name="connsiteY2157" fmla="*/ 1483250 h 4122274"/>
                  <a:gd name="connsiteX2158" fmla="*/ 1015385 w 5338201"/>
                  <a:gd name="connsiteY2158" fmla="*/ 1483250 h 4122274"/>
                  <a:gd name="connsiteX2159" fmla="*/ 1041133 w 5338201"/>
                  <a:gd name="connsiteY2159" fmla="*/ 1508994 h 4122274"/>
                  <a:gd name="connsiteX2160" fmla="*/ 1015385 w 5338201"/>
                  <a:gd name="connsiteY2160" fmla="*/ 1534728 h 4122274"/>
                  <a:gd name="connsiteX2161" fmla="*/ 989652 w 5338201"/>
                  <a:gd name="connsiteY2161" fmla="*/ 1508994 h 4122274"/>
                  <a:gd name="connsiteX2162" fmla="*/ 1015385 w 5338201"/>
                  <a:gd name="connsiteY2162" fmla="*/ 1483250 h 4122274"/>
                  <a:gd name="connsiteX2163" fmla="*/ 1957669 w 5338201"/>
                  <a:gd name="connsiteY2163" fmla="*/ 1477955 h 4122274"/>
                  <a:gd name="connsiteX2164" fmla="*/ 1957669 w 5338201"/>
                  <a:gd name="connsiteY2164" fmla="*/ 1500257 h 4122274"/>
                  <a:gd name="connsiteX2165" fmla="*/ 2032009 w 5338201"/>
                  <a:gd name="connsiteY2165" fmla="*/ 1500257 h 4122274"/>
                  <a:gd name="connsiteX2166" fmla="*/ 2032009 w 5338201"/>
                  <a:gd name="connsiteY2166" fmla="*/ 1477955 h 4122274"/>
                  <a:gd name="connsiteX2167" fmla="*/ 1505328 w 5338201"/>
                  <a:gd name="connsiteY2167" fmla="*/ 1472447 h 4122274"/>
                  <a:gd name="connsiteX2168" fmla="*/ 1505328 w 5338201"/>
                  <a:gd name="connsiteY2168" fmla="*/ 1620691 h 4122274"/>
                  <a:gd name="connsiteX2169" fmla="*/ 1554741 w 5338201"/>
                  <a:gd name="connsiteY2169" fmla="*/ 1620691 h 4122274"/>
                  <a:gd name="connsiteX2170" fmla="*/ 1554741 w 5338201"/>
                  <a:gd name="connsiteY2170" fmla="*/ 1472447 h 4122274"/>
                  <a:gd name="connsiteX2171" fmla="*/ 1422963 w 5338201"/>
                  <a:gd name="connsiteY2171" fmla="*/ 1472447 h 4122274"/>
                  <a:gd name="connsiteX2172" fmla="*/ 1422963 w 5338201"/>
                  <a:gd name="connsiteY2172" fmla="*/ 1620691 h 4122274"/>
                  <a:gd name="connsiteX2173" fmla="*/ 1472361 w 5338201"/>
                  <a:gd name="connsiteY2173" fmla="*/ 1620691 h 4122274"/>
                  <a:gd name="connsiteX2174" fmla="*/ 1472361 w 5338201"/>
                  <a:gd name="connsiteY2174" fmla="*/ 1472447 h 4122274"/>
                  <a:gd name="connsiteX2175" fmla="*/ 1340628 w 5338201"/>
                  <a:gd name="connsiteY2175" fmla="*/ 1472447 h 4122274"/>
                  <a:gd name="connsiteX2176" fmla="*/ 1340628 w 5338201"/>
                  <a:gd name="connsiteY2176" fmla="*/ 1620691 h 4122274"/>
                  <a:gd name="connsiteX2177" fmla="*/ 1390026 w 5338201"/>
                  <a:gd name="connsiteY2177" fmla="*/ 1620691 h 4122274"/>
                  <a:gd name="connsiteX2178" fmla="*/ 1390026 w 5338201"/>
                  <a:gd name="connsiteY2178" fmla="*/ 1472447 h 4122274"/>
                  <a:gd name="connsiteX2179" fmla="*/ 1769100 w 5338201"/>
                  <a:gd name="connsiteY2179" fmla="*/ 1467438 h 4122274"/>
                  <a:gd name="connsiteX2180" fmla="*/ 1769100 w 5338201"/>
                  <a:gd name="connsiteY2180" fmla="*/ 1647485 h 4122274"/>
                  <a:gd name="connsiteX2181" fmla="*/ 1862841 w 5338201"/>
                  <a:gd name="connsiteY2181" fmla="*/ 1647485 h 4122274"/>
                  <a:gd name="connsiteX2182" fmla="*/ 1920137 w 5338201"/>
                  <a:gd name="connsiteY2182" fmla="*/ 1594360 h 4122274"/>
                  <a:gd name="connsiteX2183" fmla="*/ 1886412 w 5338201"/>
                  <a:gd name="connsiteY2183" fmla="*/ 1549575 h 4122274"/>
                  <a:gd name="connsiteX2184" fmla="*/ 1913972 w 5338201"/>
                  <a:gd name="connsiteY2184" fmla="*/ 1515306 h 4122274"/>
                  <a:gd name="connsiteX2185" fmla="*/ 1862841 w 5338201"/>
                  <a:gd name="connsiteY2185" fmla="*/ 1467438 h 4122274"/>
                  <a:gd name="connsiteX2186" fmla="*/ 5161933 w 5338201"/>
                  <a:gd name="connsiteY2186" fmla="*/ 1455985 h 4122274"/>
                  <a:gd name="connsiteX2187" fmla="*/ 5180060 w 5338201"/>
                  <a:gd name="connsiteY2187" fmla="*/ 1473624 h 4122274"/>
                  <a:gd name="connsiteX2188" fmla="*/ 5180060 w 5338201"/>
                  <a:gd name="connsiteY2188" fmla="*/ 1500253 h 4122274"/>
                  <a:gd name="connsiteX2189" fmla="*/ 5179117 w 5338201"/>
                  <a:gd name="connsiteY2189" fmla="*/ 1511023 h 4122274"/>
                  <a:gd name="connsiteX2190" fmla="*/ 5172011 w 5338201"/>
                  <a:gd name="connsiteY2190" fmla="*/ 1564683 h 4122274"/>
                  <a:gd name="connsiteX2191" fmla="*/ 5161933 w 5338201"/>
                  <a:gd name="connsiteY2191" fmla="*/ 1573179 h 4122274"/>
                  <a:gd name="connsiteX2192" fmla="*/ 5151851 w 5338201"/>
                  <a:gd name="connsiteY2192" fmla="*/ 1564683 h 4122274"/>
                  <a:gd name="connsiteX2193" fmla="*/ 5144737 w 5338201"/>
                  <a:gd name="connsiteY2193" fmla="*/ 1511023 h 4122274"/>
                  <a:gd name="connsiteX2194" fmla="*/ 5143802 w 5338201"/>
                  <a:gd name="connsiteY2194" fmla="*/ 1500253 h 4122274"/>
                  <a:gd name="connsiteX2195" fmla="*/ 5143802 w 5338201"/>
                  <a:gd name="connsiteY2195" fmla="*/ 1473624 h 4122274"/>
                  <a:gd name="connsiteX2196" fmla="*/ 5161933 w 5338201"/>
                  <a:gd name="connsiteY2196" fmla="*/ 1455985 h 4122274"/>
                  <a:gd name="connsiteX2197" fmla="*/ 1303557 w 5338201"/>
                  <a:gd name="connsiteY2197" fmla="*/ 1455985 h 4122274"/>
                  <a:gd name="connsiteX2198" fmla="*/ 1591797 w 5338201"/>
                  <a:gd name="connsiteY2198" fmla="*/ 1455985 h 4122274"/>
                  <a:gd name="connsiteX2199" fmla="*/ 1600005 w 5338201"/>
                  <a:gd name="connsiteY2199" fmla="*/ 1464193 h 4122274"/>
                  <a:gd name="connsiteX2200" fmla="*/ 1591797 w 5338201"/>
                  <a:gd name="connsiteY2200" fmla="*/ 1472447 h 4122274"/>
                  <a:gd name="connsiteX2201" fmla="*/ 1587693 w 5338201"/>
                  <a:gd name="connsiteY2201" fmla="*/ 1472447 h 4122274"/>
                  <a:gd name="connsiteX2202" fmla="*/ 1587693 w 5338201"/>
                  <a:gd name="connsiteY2202" fmla="*/ 1620691 h 4122274"/>
                  <a:gd name="connsiteX2203" fmla="*/ 1591797 w 5338201"/>
                  <a:gd name="connsiteY2203" fmla="*/ 1620691 h 4122274"/>
                  <a:gd name="connsiteX2204" fmla="*/ 1608258 w 5338201"/>
                  <a:gd name="connsiteY2204" fmla="*/ 1637144 h 4122274"/>
                  <a:gd name="connsiteX2205" fmla="*/ 1591797 w 5338201"/>
                  <a:gd name="connsiteY2205" fmla="*/ 1653643 h 4122274"/>
                  <a:gd name="connsiteX2206" fmla="*/ 1303557 w 5338201"/>
                  <a:gd name="connsiteY2206" fmla="*/ 1653643 h 4122274"/>
                  <a:gd name="connsiteX2207" fmla="*/ 1287066 w 5338201"/>
                  <a:gd name="connsiteY2207" fmla="*/ 1637144 h 4122274"/>
                  <a:gd name="connsiteX2208" fmla="*/ 1303557 w 5338201"/>
                  <a:gd name="connsiteY2208" fmla="*/ 1620691 h 4122274"/>
                  <a:gd name="connsiteX2209" fmla="*/ 1307661 w 5338201"/>
                  <a:gd name="connsiteY2209" fmla="*/ 1620691 h 4122274"/>
                  <a:gd name="connsiteX2210" fmla="*/ 1307661 w 5338201"/>
                  <a:gd name="connsiteY2210" fmla="*/ 1472447 h 4122274"/>
                  <a:gd name="connsiteX2211" fmla="*/ 1303557 w 5338201"/>
                  <a:gd name="connsiteY2211" fmla="*/ 1472447 h 4122274"/>
                  <a:gd name="connsiteX2212" fmla="*/ 1295319 w 5338201"/>
                  <a:gd name="connsiteY2212" fmla="*/ 1464193 h 4122274"/>
                  <a:gd name="connsiteX2213" fmla="*/ 1303557 w 5338201"/>
                  <a:gd name="connsiteY2213" fmla="*/ 1455985 h 4122274"/>
                  <a:gd name="connsiteX2214" fmla="*/ 806913 w 5338201"/>
                  <a:gd name="connsiteY2214" fmla="*/ 1453254 h 4122274"/>
                  <a:gd name="connsiteX2215" fmla="*/ 787391 w 5338201"/>
                  <a:gd name="connsiteY2215" fmla="*/ 1472769 h 4122274"/>
                  <a:gd name="connsiteX2216" fmla="*/ 806913 w 5338201"/>
                  <a:gd name="connsiteY2216" fmla="*/ 1492307 h 4122274"/>
                  <a:gd name="connsiteX2217" fmla="*/ 826435 w 5338201"/>
                  <a:gd name="connsiteY2217" fmla="*/ 1472769 h 4122274"/>
                  <a:gd name="connsiteX2218" fmla="*/ 806913 w 5338201"/>
                  <a:gd name="connsiteY2218" fmla="*/ 1453254 h 4122274"/>
                  <a:gd name="connsiteX2219" fmla="*/ 532870 w 5338201"/>
                  <a:gd name="connsiteY2219" fmla="*/ 1453254 h 4122274"/>
                  <a:gd name="connsiteX2220" fmla="*/ 513326 w 5338201"/>
                  <a:gd name="connsiteY2220" fmla="*/ 1472769 h 4122274"/>
                  <a:gd name="connsiteX2221" fmla="*/ 532870 w 5338201"/>
                  <a:gd name="connsiteY2221" fmla="*/ 1492307 h 4122274"/>
                  <a:gd name="connsiteX2222" fmla="*/ 552392 w 5338201"/>
                  <a:gd name="connsiteY2222" fmla="*/ 1472769 h 4122274"/>
                  <a:gd name="connsiteX2223" fmla="*/ 532870 w 5338201"/>
                  <a:gd name="connsiteY2223" fmla="*/ 1453254 h 4122274"/>
                  <a:gd name="connsiteX2224" fmla="*/ 2794942 w 5338201"/>
                  <a:gd name="connsiteY2224" fmla="*/ 1450774 h 4122274"/>
                  <a:gd name="connsiteX2225" fmla="*/ 2854026 w 5338201"/>
                  <a:gd name="connsiteY2225" fmla="*/ 1493986 h 4122274"/>
                  <a:gd name="connsiteX2226" fmla="*/ 2856107 w 5338201"/>
                  <a:gd name="connsiteY2226" fmla="*/ 1501411 h 4122274"/>
                  <a:gd name="connsiteX2227" fmla="*/ 2843080 w 5338201"/>
                  <a:gd name="connsiteY2227" fmla="*/ 1529410 h 4122274"/>
                  <a:gd name="connsiteX2228" fmla="*/ 2795545 w 5338201"/>
                  <a:gd name="connsiteY2228" fmla="*/ 1546181 h 4122274"/>
                  <a:gd name="connsiteX2229" fmla="*/ 2770556 w 5338201"/>
                  <a:gd name="connsiteY2229" fmla="*/ 1531605 h 4122274"/>
                  <a:gd name="connsiteX2230" fmla="*/ 2768475 w 5338201"/>
                  <a:gd name="connsiteY2230" fmla="*/ 1524180 h 4122274"/>
                  <a:gd name="connsiteX2231" fmla="*/ 2686512 w 5338201"/>
                  <a:gd name="connsiteY2231" fmla="*/ 1514963 h 4122274"/>
                  <a:gd name="connsiteX2232" fmla="*/ 2624048 w 5338201"/>
                  <a:gd name="connsiteY2232" fmla="*/ 1575132 h 4122274"/>
                  <a:gd name="connsiteX2233" fmla="*/ 2626146 w 5338201"/>
                  <a:gd name="connsiteY2233" fmla="*/ 1582557 h 4122274"/>
                  <a:gd name="connsiteX2234" fmla="*/ 2613119 w 5338201"/>
                  <a:gd name="connsiteY2234" fmla="*/ 1610557 h 4122274"/>
                  <a:gd name="connsiteX2235" fmla="*/ 2565566 w 5338201"/>
                  <a:gd name="connsiteY2235" fmla="*/ 1627327 h 4122274"/>
                  <a:gd name="connsiteX2236" fmla="*/ 2540578 w 5338201"/>
                  <a:gd name="connsiteY2236" fmla="*/ 1612733 h 4122274"/>
                  <a:gd name="connsiteX2237" fmla="*/ 2539234 w 5338201"/>
                  <a:gd name="connsiteY2237" fmla="*/ 1607612 h 4122274"/>
                  <a:gd name="connsiteX2238" fmla="*/ 2530615 w 5338201"/>
                  <a:gd name="connsiteY2238" fmla="*/ 1614141 h 4122274"/>
                  <a:gd name="connsiteX2239" fmla="*/ 2521013 w 5338201"/>
                  <a:gd name="connsiteY2239" fmla="*/ 1679047 h 4122274"/>
                  <a:gd name="connsiteX2240" fmla="*/ 2566173 w 5338201"/>
                  <a:gd name="connsiteY2240" fmla="*/ 1757944 h 4122274"/>
                  <a:gd name="connsiteX2241" fmla="*/ 2566173 w 5338201"/>
                  <a:gd name="connsiteY2241" fmla="*/ 1748653 h 4122274"/>
                  <a:gd name="connsiteX2242" fmla="*/ 2572547 w 5338201"/>
                  <a:gd name="connsiteY2242" fmla="*/ 1721696 h 4122274"/>
                  <a:gd name="connsiteX2243" fmla="*/ 2656689 w 5338201"/>
                  <a:gd name="connsiteY2243" fmla="*/ 1619701 h 4122274"/>
                  <a:gd name="connsiteX2244" fmla="*/ 2656689 w 5338201"/>
                  <a:gd name="connsiteY2244" fmla="*/ 1597115 h 4122274"/>
                  <a:gd name="connsiteX2245" fmla="*/ 2659540 w 5338201"/>
                  <a:gd name="connsiteY2245" fmla="*/ 1593932 h 4122274"/>
                  <a:gd name="connsiteX2246" fmla="*/ 2689117 w 5338201"/>
                  <a:gd name="connsiteY2246" fmla="*/ 1593932 h 4122274"/>
                  <a:gd name="connsiteX2247" fmla="*/ 2691952 w 5338201"/>
                  <a:gd name="connsiteY2247" fmla="*/ 1597115 h 4122274"/>
                  <a:gd name="connsiteX2248" fmla="*/ 2691952 w 5338201"/>
                  <a:gd name="connsiteY2248" fmla="*/ 1619573 h 4122274"/>
                  <a:gd name="connsiteX2249" fmla="*/ 2725707 w 5338201"/>
                  <a:gd name="connsiteY2249" fmla="*/ 1619573 h 4122274"/>
                  <a:gd name="connsiteX2250" fmla="*/ 2725707 w 5338201"/>
                  <a:gd name="connsiteY2250" fmla="*/ 1597115 h 4122274"/>
                  <a:gd name="connsiteX2251" fmla="*/ 2728526 w 5338201"/>
                  <a:gd name="connsiteY2251" fmla="*/ 1593932 h 4122274"/>
                  <a:gd name="connsiteX2252" fmla="*/ 2758135 w 5338201"/>
                  <a:gd name="connsiteY2252" fmla="*/ 1593932 h 4122274"/>
                  <a:gd name="connsiteX2253" fmla="*/ 2760986 w 5338201"/>
                  <a:gd name="connsiteY2253" fmla="*/ 1597115 h 4122274"/>
                  <a:gd name="connsiteX2254" fmla="*/ 2760986 w 5338201"/>
                  <a:gd name="connsiteY2254" fmla="*/ 1619573 h 4122274"/>
                  <a:gd name="connsiteX2255" fmla="*/ 2845260 w 5338201"/>
                  <a:gd name="connsiteY2255" fmla="*/ 1721696 h 4122274"/>
                  <a:gd name="connsiteX2256" fmla="*/ 2851618 w 5338201"/>
                  <a:gd name="connsiteY2256" fmla="*/ 1748653 h 4122274"/>
                  <a:gd name="connsiteX2257" fmla="*/ 2851618 w 5338201"/>
                  <a:gd name="connsiteY2257" fmla="*/ 1769667 h 4122274"/>
                  <a:gd name="connsiteX2258" fmla="*/ 2803262 w 5338201"/>
                  <a:gd name="connsiteY2258" fmla="*/ 1823892 h 4122274"/>
                  <a:gd name="connsiteX2259" fmla="*/ 2614561 w 5338201"/>
                  <a:gd name="connsiteY2259" fmla="*/ 1823892 h 4122274"/>
                  <a:gd name="connsiteX2260" fmla="*/ 2566238 w 5338201"/>
                  <a:gd name="connsiteY2260" fmla="*/ 1771057 h 4122274"/>
                  <a:gd name="connsiteX2261" fmla="*/ 2509723 w 5338201"/>
                  <a:gd name="connsiteY2261" fmla="*/ 1680766 h 4122274"/>
                  <a:gd name="connsiteX2262" fmla="*/ 2522422 w 5338201"/>
                  <a:gd name="connsiteY2262" fmla="*/ 1605271 h 4122274"/>
                  <a:gd name="connsiteX2263" fmla="*/ 2536399 w 5338201"/>
                  <a:gd name="connsiteY2263" fmla="*/ 1595103 h 4122274"/>
                  <a:gd name="connsiteX2264" fmla="*/ 2677024 w 5338201"/>
                  <a:gd name="connsiteY2264" fmla="*/ 1481147 h 4122274"/>
                  <a:gd name="connsiteX2265" fmla="*/ 2794942 w 5338201"/>
                  <a:gd name="connsiteY2265" fmla="*/ 1450774 h 4122274"/>
                  <a:gd name="connsiteX2266" fmla="*/ 3038227 w 5338201"/>
                  <a:gd name="connsiteY2266" fmla="*/ 1450568 h 4122274"/>
                  <a:gd name="connsiteX2267" fmla="*/ 3045253 w 5338201"/>
                  <a:gd name="connsiteY2267" fmla="*/ 1450568 h 4122274"/>
                  <a:gd name="connsiteX2268" fmla="*/ 3161165 w 5338201"/>
                  <a:gd name="connsiteY2268" fmla="*/ 1570869 h 4122274"/>
                  <a:gd name="connsiteX2269" fmla="*/ 3161165 w 5338201"/>
                  <a:gd name="connsiteY2269" fmla="*/ 1605974 h 4122274"/>
                  <a:gd name="connsiteX2270" fmla="*/ 3168684 w 5338201"/>
                  <a:gd name="connsiteY2270" fmla="*/ 1605974 h 4122274"/>
                  <a:gd name="connsiteX2271" fmla="*/ 3189667 w 5338201"/>
                  <a:gd name="connsiteY2271" fmla="*/ 1632632 h 4122274"/>
                  <a:gd name="connsiteX2272" fmla="*/ 3189667 w 5338201"/>
                  <a:gd name="connsiteY2272" fmla="*/ 1808692 h 4122274"/>
                  <a:gd name="connsiteX2273" fmla="*/ 3168684 w 5338201"/>
                  <a:gd name="connsiteY2273" fmla="*/ 1835439 h 4122274"/>
                  <a:gd name="connsiteX2274" fmla="*/ 2914809 w 5338201"/>
                  <a:gd name="connsiteY2274" fmla="*/ 1835439 h 4122274"/>
                  <a:gd name="connsiteX2275" fmla="*/ 2893826 w 5338201"/>
                  <a:gd name="connsiteY2275" fmla="*/ 1808692 h 4122274"/>
                  <a:gd name="connsiteX2276" fmla="*/ 2893826 w 5338201"/>
                  <a:gd name="connsiteY2276" fmla="*/ 1632632 h 4122274"/>
                  <a:gd name="connsiteX2277" fmla="*/ 2914809 w 5338201"/>
                  <a:gd name="connsiteY2277" fmla="*/ 1605974 h 4122274"/>
                  <a:gd name="connsiteX2278" fmla="*/ 2922314 w 5338201"/>
                  <a:gd name="connsiteY2278" fmla="*/ 1605974 h 4122274"/>
                  <a:gd name="connsiteX2279" fmla="*/ 2922314 w 5338201"/>
                  <a:gd name="connsiteY2279" fmla="*/ 1570869 h 4122274"/>
                  <a:gd name="connsiteX2280" fmla="*/ 3038227 w 5338201"/>
                  <a:gd name="connsiteY2280" fmla="*/ 1450568 h 4122274"/>
                  <a:gd name="connsiteX2281" fmla="*/ 4160670 w 5338201"/>
                  <a:gd name="connsiteY2281" fmla="*/ 1434109 h 4122274"/>
                  <a:gd name="connsiteX2282" fmla="*/ 4212887 w 5338201"/>
                  <a:gd name="connsiteY2282" fmla="*/ 1482886 h 4122274"/>
                  <a:gd name="connsiteX2283" fmla="*/ 4159949 w 5338201"/>
                  <a:gd name="connsiteY2283" fmla="*/ 1531469 h 4122274"/>
                  <a:gd name="connsiteX2284" fmla="*/ 4159408 w 5338201"/>
                  <a:gd name="connsiteY2284" fmla="*/ 1531469 h 4122274"/>
                  <a:gd name="connsiteX2285" fmla="*/ 4107732 w 5338201"/>
                  <a:gd name="connsiteY2285" fmla="*/ 1482886 h 4122274"/>
                  <a:gd name="connsiteX2286" fmla="*/ 4160670 w 5338201"/>
                  <a:gd name="connsiteY2286" fmla="*/ 1434109 h 4122274"/>
                  <a:gd name="connsiteX2287" fmla="*/ 5159181 w 5338201"/>
                  <a:gd name="connsiteY2287" fmla="*/ 1431545 h 4122274"/>
                  <a:gd name="connsiteX2288" fmla="*/ 5070236 w 5338201"/>
                  <a:gd name="connsiteY2288" fmla="*/ 1516546 h 4122274"/>
                  <a:gd name="connsiteX2289" fmla="*/ 5094065 w 5338201"/>
                  <a:gd name="connsiteY2289" fmla="*/ 1583335 h 4122274"/>
                  <a:gd name="connsiteX2290" fmla="*/ 5111138 w 5338201"/>
                  <a:gd name="connsiteY2290" fmla="*/ 1624632 h 4122274"/>
                  <a:gd name="connsiteX2291" fmla="*/ 5122402 w 5338201"/>
                  <a:gd name="connsiteY2291" fmla="*/ 1640866 h 4122274"/>
                  <a:gd name="connsiteX2292" fmla="*/ 5195972 w 5338201"/>
                  <a:gd name="connsiteY2292" fmla="*/ 1640866 h 4122274"/>
                  <a:gd name="connsiteX2293" fmla="*/ 5207236 w 5338201"/>
                  <a:gd name="connsiteY2293" fmla="*/ 1624632 h 4122274"/>
                  <a:gd name="connsiteX2294" fmla="*/ 5224430 w 5338201"/>
                  <a:gd name="connsiteY2294" fmla="*/ 1583182 h 4122274"/>
                  <a:gd name="connsiteX2295" fmla="*/ 5248083 w 5338201"/>
                  <a:gd name="connsiteY2295" fmla="*/ 1516546 h 4122274"/>
                  <a:gd name="connsiteX2296" fmla="*/ 5159181 w 5338201"/>
                  <a:gd name="connsiteY2296" fmla="*/ 1431545 h 4122274"/>
                  <a:gd name="connsiteX2297" fmla="*/ 5305097 w 5338201"/>
                  <a:gd name="connsiteY2297" fmla="*/ 1429728 h 4122274"/>
                  <a:gd name="connsiteX2298" fmla="*/ 5315389 w 5338201"/>
                  <a:gd name="connsiteY2298" fmla="*/ 1432489 h 4122274"/>
                  <a:gd name="connsiteX2299" fmla="*/ 5312617 w 5338201"/>
                  <a:gd name="connsiteY2299" fmla="*/ 1442780 h 4122274"/>
                  <a:gd name="connsiteX2300" fmla="*/ 5293065 w 5338201"/>
                  <a:gd name="connsiteY2300" fmla="*/ 1454042 h 4122274"/>
                  <a:gd name="connsiteX2301" fmla="*/ 5289334 w 5338201"/>
                  <a:gd name="connsiteY2301" fmla="*/ 1455052 h 4122274"/>
                  <a:gd name="connsiteX2302" fmla="*/ 5282776 w 5338201"/>
                  <a:gd name="connsiteY2302" fmla="*/ 1451276 h 4122274"/>
                  <a:gd name="connsiteX2303" fmla="*/ 5285537 w 5338201"/>
                  <a:gd name="connsiteY2303" fmla="*/ 1440994 h 4122274"/>
                  <a:gd name="connsiteX2304" fmla="*/ 5020421 w 5338201"/>
                  <a:gd name="connsiteY2304" fmla="*/ 1429728 h 4122274"/>
                  <a:gd name="connsiteX2305" fmla="*/ 5039972 w 5338201"/>
                  <a:gd name="connsiteY2305" fmla="*/ 1440994 h 4122274"/>
                  <a:gd name="connsiteX2306" fmla="*/ 5042733 w 5338201"/>
                  <a:gd name="connsiteY2306" fmla="*/ 1451276 h 4122274"/>
                  <a:gd name="connsiteX2307" fmla="*/ 5036184 w 5338201"/>
                  <a:gd name="connsiteY2307" fmla="*/ 1455052 h 4122274"/>
                  <a:gd name="connsiteX2308" fmla="*/ 5032453 w 5338201"/>
                  <a:gd name="connsiteY2308" fmla="*/ 1454042 h 4122274"/>
                  <a:gd name="connsiteX2309" fmla="*/ 5012902 w 5338201"/>
                  <a:gd name="connsiteY2309" fmla="*/ 1442780 h 4122274"/>
                  <a:gd name="connsiteX2310" fmla="*/ 5010132 w 5338201"/>
                  <a:gd name="connsiteY2310" fmla="*/ 1432489 h 4122274"/>
                  <a:gd name="connsiteX2311" fmla="*/ 5020421 w 5338201"/>
                  <a:gd name="connsiteY2311" fmla="*/ 1429728 h 4122274"/>
                  <a:gd name="connsiteX2312" fmla="*/ 133444 w 5338201"/>
                  <a:gd name="connsiteY2312" fmla="*/ 1410872 h 4122274"/>
                  <a:gd name="connsiteX2313" fmla="*/ 125469 w 5338201"/>
                  <a:gd name="connsiteY2313" fmla="*/ 1423558 h 4122274"/>
                  <a:gd name="connsiteX2314" fmla="*/ 125469 w 5338201"/>
                  <a:gd name="connsiteY2314" fmla="*/ 1462174 h 4122274"/>
                  <a:gd name="connsiteX2315" fmla="*/ 133444 w 5338201"/>
                  <a:gd name="connsiteY2315" fmla="*/ 1474875 h 4122274"/>
                  <a:gd name="connsiteX2316" fmla="*/ 141244 w 5338201"/>
                  <a:gd name="connsiteY2316" fmla="*/ 1462174 h 4122274"/>
                  <a:gd name="connsiteX2317" fmla="*/ 141244 w 5338201"/>
                  <a:gd name="connsiteY2317" fmla="*/ 1423558 h 4122274"/>
                  <a:gd name="connsiteX2318" fmla="*/ 133444 w 5338201"/>
                  <a:gd name="connsiteY2318" fmla="*/ 1410872 h 4122274"/>
                  <a:gd name="connsiteX2319" fmla="*/ 5159181 w 5338201"/>
                  <a:gd name="connsiteY2319" fmla="*/ 1401453 h 4122274"/>
                  <a:gd name="connsiteX2320" fmla="*/ 5278216 w 5338201"/>
                  <a:gd name="connsiteY2320" fmla="*/ 1516546 h 4122274"/>
                  <a:gd name="connsiteX2321" fmla="*/ 5249196 w 5338201"/>
                  <a:gd name="connsiteY2321" fmla="*/ 1600290 h 4122274"/>
                  <a:gd name="connsiteX2322" fmla="*/ 5237314 w 5338201"/>
                  <a:gd name="connsiteY2322" fmla="*/ 1624632 h 4122274"/>
                  <a:gd name="connsiteX2323" fmla="*/ 5215117 w 5338201"/>
                  <a:gd name="connsiteY2323" fmla="*/ 1664197 h 4122274"/>
                  <a:gd name="connsiteX2324" fmla="*/ 5213452 w 5338201"/>
                  <a:gd name="connsiteY2324" fmla="*/ 1694641 h 4122274"/>
                  <a:gd name="connsiteX2325" fmla="*/ 5213452 w 5338201"/>
                  <a:gd name="connsiteY2325" fmla="*/ 1694687 h 4122274"/>
                  <a:gd name="connsiteX2326" fmla="*/ 5188830 w 5338201"/>
                  <a:gd name="connsiteY2326" fmla="*/ 1720425 h 4122274"/>
                  <a:gd name="connsiteX2327" fmla="*/ 5179098 w 5338201"/>
                  <a:gd name="connsiteY2327" fmla="*/ 1730006 h 4122274"/>
                  <a:gd name="connsiteX2328" fmla="*/ 5170699 w 5338201"/>
                  <a:gd name="connsiteY2328" fmla="*/ 1732566 h 4122274"/>
                  <a:gd name="connsiteX2329" fmla="*/ 5147697 w 5338201"/>
                  <a:gd name="connsiteY2329" fmla="*/ 1732566 h 4122274"/>
                  <a:gd name="connsiteX2330" fmla="*/ 5139265 w 5338201"/>
                  <a:gd name="connsiteY2330" fmla="*/ 1730006 h 4122274"/>
                  <a:gd name="connsiteX2331" fmla="*/ 5129500 w 5338201"/>
                  <a:gd name="connsiteY2331" fmla="*/ 1720425 h 4122274"/>
                  <a:gd name="connsiteX2332" fmla="*/ 5104922 w 5338201"/>
                  <a:gd name="connsiteY2332" fmla="*/ 1694641 h 4122274"/>
                  <a:gd name="connsiteX2333" fmla="*/ 5103246 w 5338201"/>
                  <a:gd name="connsiteY2333" fmla="*/ 1664197 h 4122274"/>
                  <a:gd name="connsiteX2334" fmla="*/ 5081049 w 5338201"/>
                  <a:gd name="connsiteY2334" fmla="*/ 1624632 h 4122274"/>
                  <a:gd name="connsiteX2335" fmla="*/ 5069101 w 5338201"/>
                  <a:gd name="connsiteY2335" fmla="*/ 1600167 h 4122274"/>
                  <a:gd name="connsiteX2336" fmla="*/ 5040147 w 5338201"/>
                  <a:gd name="connsiteY2336" fmla="*/ 1516546 h 4122274"/>
                  <a:gd name="connsiteX2337" fmla="*/ 5159181 w 5338201"/>
                  <a:gd name="connsiteY2337" fmla="*/ 1401453 h 4122274"/>
                  <a:gd name="connsiteX2338" fmla="*/ 174432 w 5338201"/>
                  <a:gd name="connsiteY2338" fmla="*/ 1401444 h 4122274"/>
                  <a:gd name="connsiteX2339" fmla="*/ 191101 w 5338201"/>
                  <a:gd name="connsiteY2339" fmla="*/ 1401444 h 4122274"/>
                  <a:gd name="connsiteX2340" fmla="*/ 191101 w 5338201"/>
                  <a:gd name="connsiteY2340" fmla="*/ 1468887 h 4122274"/>
                  <a:gd name="connsiteX2341" fmla="*/ 191290 w 5338201"/>
                  <a:gd name="connsiteY2341" fmla="*/ 1475237 h 4122274"/>
                  <a:gd name="connsiteX2342" fmla="*/ 195095 w 5338201"/>
                  <a:gd name="connsiteY2342" fmla="*/ 1479220 h 4122274"/>
                  <a:gd name="connsiteX2343" fmla="*/ 205616 w 5338201"/>
                  <a:gd name="connsiteY2343" fmla="*/ 1471421 h 4122274"/>
                  <a:gd name="connsiteX2344" fmla="*/ 205616 w 5338201"/>
                  <a:gd name="connsiteY2344" fmla="*/ 1401444 h 4122274"/>
                  <a:gd name="connsiteX2345" fmla="*/ 222298 w 5338201"/>
                  <a:gd name="connsiteY2345" fmla="*/ 1401444 h 4122274"/>
                  <a:gd name="connsiteX2346" fmla="*/ 222298 w 5338201"/>
                  <a:gd name="connsiteY2346" fmla="*/ 1493007 h 4122274"/>
                  <a:gd name="connsiteX2347" fmla="*/ 205616 w 5338201"/>
                  <a:gd name="connsiteY2347" fmla="*/ 1493007 h 4122274"/>
                  <a:gd name="connsiteX2348" fmla="*/ 205616 w 5338201"/>
                  <a:gd name="connsiteY2348" fmla="*/ 1483036 h 4122274"/>
                  <a:gd name="connsiteX2349" fmla="*/ 186754 w 5338201"/>
                  <a:gd name="connsiteY2349" fmla="*/ 1494274 h 4122274"/>
                  <a:gd name="connsiteX2350" fmla="*/ 175881 w 5338201"/>
                  <a:gd name="connsiteY2350" fmla="*/ 1487561 h 4122274"/>
                  <a:gd name="connsiteX2351" fmla="*/ 174432 w 5338201"/>
                  <a:gd name="connsiteY2351" fmla="*/ 1473789 h 4122274"/>
                  <a:gd name="connsiteX2352" fmla="*/ 133444 w 5338201"/>
                  <a:gd name="connsiteY2352" fmla="*/ 1395998 h 4122274"/>
                  <a:gd name="connsiteX2353" fmla="*/ 152848 w 5338201"/>
                  <a:gd name="connsiteY2353" fmla="*/ 1405426 h 4122274"/>
                  <a:gd name="connsiteX2354" fmla="*/ 157926 w 5338201"/>
                  <a:gd name="connsiteY2354" fmla="*/ 1426816 h 4122274"/>
                  <a:gd name="connsiteX2355" fmla="*/ 157926 w 5338201"/>
                  <a:gd name="connsiteY2355" fmla="*/ 1458916 h 4122274"/>
                  <a:gd name="connsiteX2356" fmla="*/ 152848 w 5338201"/>
                  <a:gd name="connsiteY2356" fmla="*/ 1480668 h 4122274"/>
                  <a:gd name="connsiteX2357" fmla="*/ 133444 w 5338201"/>
                  <a:gd name="connsiteY2357" fmla="*/ 1490096 h 4122274"/>
                  <a:gd name="connsiteX2358" fmla="*/ 114053 w 5338201"/>
                  <a:gd name="connsiteY2358" fmla="*/ 1480668 h 4122274"/>
                  <a:gd name="connsiteX2359" fmla="*/ 108976 w 5338201"/>
                  <a:gd name="connsiteY2359" fmla="*/ 1458916 h 4122274"/>
                  <a:gd name="connsiteX2360" fmla="*/ 108976 w 5338201"/>
                  <a:gd name="connsiteY2360" fmla="*/ 1426816 h 4122274"/>
                  <a:gd name="connsiteX2361" fmla="*/ 114053 w 5338201"/>
                  <a:gd name="connsiteY2361" fmla="*/ 1405426 h 4122274"/>
                  <a:gd name="connsiteX2362" fmla="*/ 133444 w 5338201"/>
                  <a:gd name="connsiteY2362" fmla="*/ 1395998 h 4122274"/>
                  <a:gd name="connsiteX2363" fmla="*/ 48950 w 5338201"/>
                  <a:gd name="connsiteY2363" fmla="*/ 1368801 h 4122274"/>
                  <a:gd name="connsiteX2364" fmla="*/ 68543 w 5338201"/>
                  <a:gd name="connsiteY2364" fmla="*/ 1368801 h 4122274"/>
                  <a:gd name="connsiteX2365" fmla="*/ 81407 w 5338201"/>
                  <a:gd name="connsiteY2365" fmla="*/ 1417026 h 4122274"/>
                  <a:gd name="connsiteX2366" fmla="*/ 93919 w 5338201"/>
                  <a:gd name="connsiteY2366" fmla="*/ 1368801 h 4122274"/>
                  <a:gd name="connsiteX2367" fmla="*/ 112781 w 5338201"/>
                  <a:gd name="connsiteY2367" fmla="*/ 1368801 h 4122274"/>
                  <a:gd name="connsiteX2368" fmla="*/ 90479 w 5338201"/>
                  <a:gd name="connsiteY2368" fmla="*/ 1442051 h 4122274"/>
                  <a:gd name="connsiteX2369" fmla="*/ 90479 w 5338201"/>
                  <a:gd name="connsiteY2369" fmla="*/ 1491740 h 4122274"/>
                  <a:gd name="connsiteX2370" fmla="*/ 72159 w 5338201"/>
                  <a:gd name="connsiteY2370" fmla="*/ 1491740 h 4122274"/>
                  <a:gd name="connsiteX2371" fmla="*/ 72159 w 5338201"/>
                  <a:gd name="connsiteY2371" fmla="*/ 1442051 h 4122274"/>
                  <a:gd name="connsiteX2372" fmla="*/ 60920 w 5338201"/>
                  <a:gd name="connsiteY2372" fmla="*/ 1403073 h 4122274"/>
                  <a:gd name="connsiteX2373" fmla="*/ 48950 w 5338201"/>
                  <a:gd name="connsiteY2373" fmla="*/ 1368801 h 4122274"/>
                  <a:gd name="connsiteX2374" fmla="*/ 5075715 w 5338201"/>
                  <a:gd name="connsiteY2374" fmla="*/ 1364295 h 4122274"/>
                  <a:gd name="connsiteX2375" fmla="*/ 5085953 w 5338201"/>
                  <a:gd name="connsiteY2375" fmla="*/ 1367050 h 4122274"/>
                  <a:gd name="connsiteX2376" fmla="*/ 5097253 w 5338201"/>
                  <a:gd name="connsiteY2376" fmla="*/ 1386607 h 4122274"/>
                  <a:gd name="connsiteX2377" fmla="*/ 5094492 w 5338201"/>
                  <a:gd name="connsiteY2377" fmla="*/ 1396855 h 4122274"/>
                  <a:gd name="connsiteX2378" fmla="*/ 5090753 w 5338201"/>
                  <a:gd name="connsiteY2378" fmla="*/ 1397862 h 4122274"/>
                  <a:gd name="connsiteX2379" fmla="*/ 5084201 w 5338201"/>
                  <a:gd name="connsiteY2379" fmla="*/ 1394142 h 4122274"/>
                  <a:gd name="connsiteX2380" fmla="*/ 5072944 w 5338201"/>
                  <a:gd name="connsiteY2380" fmla="*/ 1374582 h 4122274"/>
                  <a:gd name="connsiteX2381" fmla="*/ 5075715 w 5338201"/>
                  <a:gd name="connsiteY2381" fmla="*/ 1364295 h 4122274"/>
                  <a:gd name="connsiteX2382" fmla="*/ 5252669 w 5338201"/>
                  <a:gd name="connsiteY2382" fmla="*/ 1364295 h 4122274"/>
                  <a:gd name="connsiteX2383" fmla="*/ 5255387 w 5338201"/>
                  <a:gd name="connsiteY2383" fmla="*/ 1374582 h 4122274"/>
                  <a:gd name="connsiteX2384" fmla="*/ 5244137 w 5338201"/>
                  <a:gd name="connsiteY2384" fmla="*/ 1394142 h 4122274"/>
                  <a:gd name="connsiteX2385" fmla="*/ 5237587 w 5338201"/>
                  <a:gd name="connsiteY2385" fmla="*/ 1397915 h 4122274"/>
                  <a:gd name="connsiteX2386" fmla="*/ 5233838 w 5338201"/>
                  <a:gd name="connsiteY2386" fmla="*/ 1396892 h 4122274"/>
                  <a:gd name="connsiteX2387" fmla="*/ 5231077 w 5338201"/>
                  <a:gd name="connsiteY2387" fmla="*/ 1386607 h 4122274"/>
                  <a:gd name="connsiteX2388" fmla="*/ 5242385 w 5338201"/>
                  <a:gd name="connsiteY2388" fmla="*/ 1367049 h 4122274"/>
                  <a:gd name="connsiteX2389" fmla="*/ 5252669 w 5338201"/>
                  <a:gd name="connsiteY2389" fmla="*/ 1364295 h 4122274"/>
                  <a:gd name="connsiteX2390" fmla="*/ 5161633 w 5338201"/>
                  <a:gd name="connsiteY2390" fmla="*/ 1341469 h 4122274"/>
                  <a:gd name="connsiteX2391" fmla="*/ 5169153 w 5338201"/>
                  <a:gd name="connsiteY2391" fmla="*/ 1348994 h 4122274"/>
                  <a:gd name="connsiteX2392" fmla="*/ 5169153 w 5338201"/>
                  <a:gd name="connsiteY2392" fmla="*/ 1371553 h 4122274"/>
                  <a:gd name="connsiteX2393" fmla="*/ 5161633 w 5338201"/>
                  <a:gd name="connsiteY2393" fmla="*/ 1379058 h 4122274"/>
                  <a:gd name="connsiteX2394" fmla="*/ 5154114 w 5338201"/>
                  <a:gd name="connsiteY2394" fmla="*/ 1371553 h 4122274"/>
                  <a:gd name="connsiteX2395" fmla="*/ 5154114 w 5338201"/>
                  <a:gd name="connsiteY2395" fmla="*/ 1348994 h 4122274"/>
                  <a:gd name="connsiteX2396" fmla="*/ 5161633 w 5338201"/>
                  <a:gd name="connsiteY2396" fmla="*/ 1341469 h 4122274"/>
                  <a:gd name="connsiteX2397" fmla="*/ 1442127 w 5338201"/>
                  <a:gd name="connsiteY2397" fmla="*/ 1332007 h 4122274"/>
                  <a:gd name="connsiteX2398" fmla="*/ 1455602 w 5338201"/>
                  <a:gd name="connsiteY2398" fmla="*/ 1332007 h 4122274"/>
                  <a:gd name="connsiteX2399" fmla="*/ 1620352 w 5338201"/>
                  <a:gd name="connsiteY2399" fmla="*/ 1406125 h 4122274"/>
                  <a:gd name="connsiteX2400" fmla="*/ 1629683 w 5338201"/>
                  <a:gd name="connsiteY2400" fmla="*/ 1424622 h 4122274"/>
                  <a:gd name="connsiteX2401" fmla="*/ 1613597 w 5338201"/>
                  <a:gd name="connsiteY2401" fmla="*/ 1437656 h 4122274"/>
                  <a:gd name="connsiteX2402" fmla="*/ 1284014 w 5338201"/>
                  <a:gd name="connsiteY2402" fmla="*/ 1437656 h 4122274"/>
                  <a:gd name="connsiteX2403" fmla="*/ 1267524 w 5338201"/>
                  <a:gd name="connsiteY2403" fmla="*/ 1421161 h 4122274"/>
                  <a:gd name="connsiteX2404" fmla="*/ 1278674 w 5338201"/>
                  <a:gd name="connsiteY2404" fmla="*/ 1405563 h 4122274"/>
                  <a:gd name="connsiteX2405" fmla="*/ 1914335 w 5338201"/>
                  <a:gd name="connsiteY2405" fmla="*/ 1314226 h 4122274"/>
                  <a:gd name="connsiteX2406" fmla="*/ 2159112 w 5338201"/>
                  <a:gd name="connsiteY2406" fmla="*/ 1559003 h 4122274"/>
                  <a:gd name="connsiteX2407" fmla="*/ 1914335 w 5338201"/>
                  <a:gd name="connsiteY2407" fmla="*/ 1803780 h 4122274"/>
                  <a:gd name="connsiteX2408" fmla="*/ 1669558 w 5338201"/>
                  <a:gd name="connsiteY2408" fmla="*/ 1559003 h 4122274"/>
                  <a:gd name="connsiteX2409" fmla="*/ 1914335 w 5338201"/>
                  <a:gd name="connsiteY2409" fmla="*/ 1314226 h 4122274"/>
                  <a:gd name="connsiteX2410" fmla="*/ 838507 w 5338201"/>
                  <a:gd name="connsiteY2410" fmla="*/ 1298856 h 4122274"/>
                  <a:gd name="connsiteX2411" fmla="*/ 838507 w 5338201"/>
                  <a:gd name="connsiteY2411" fmla="*/ 1358312 h 4122274"/>
                  <a:gd name="connsiteX2412" fmla="*/ 857338 w 5338201"/>
                  <a:gd name="connsiteY2412" fmla="*/ 1358312 h 4122274"/>
                  <a:gd name="connsiteX2413" fmla="*/ 845677 w 5338201"/>
                  <a:gd name="connsiteY2413" fmla="*/ 1298856 h 4122274"/>
                  <a:gd name="connsiteX2414" fmla="*/ 766811 w 5338201"/>
                  <a:gd name="connsiteY2414" fmla="*/ 1298856 h 4122274"/>
                  <a:gd name="connsiteX2415" fmla="*/ 766811 w 5338201"/>
                  <a:gd name="connsiteY2415" fmla="*/ 1358312 h 4122274"/>
                  <a:gd name="connsiteX2416" fmla="*/ 817214 w 5338201"/>
                  <a:gd name="connsiteY2416" fmla="*/ 1358312 h 4122274"/>
                  <a:gd name="connsiteX2417" fmla="*/ 817214 w 5338201"/>
                  <a:gd name="connsiteY2417" fmla="*/ 1298856 h 4122274"/>
                  <a:gd name="connsiteX2418" fmla="*/ 670259 w 5338201"/>
                  <a:gd name="connsiteY2418" fmla="*/ 1298856 h 4122274"/>
                  <a:gd name="connsiteX2419" fmla="*/ 670259 w 5338201"/>
                  <a:gd name="connsiteY2419" fmla="*/ 1358312 h 4122274"/>
                  <a:gd name="connsiteX2420" fmla="*/ 745518 w 5338201"/>
                  <a:gd name="connsiteY2420" fmla="*/ 1358312 h 4122274"/>
                  <a:gd name="connsiteX2421" fmla="*/ 745518 w 5338201"/>
                  <a:gd name="connsiteY2421" fmla="*/ 1298856 h 4122274"/>
                  <a:gd name="connsiteX2422" fmla="*/ 573685 w 5338201"/>
                  <a:gd name="connsiteY2422" fmla="*/ 1298856 h 4122274"/>
                  <a:gd name="connsiteX2423" fmla="*/ 573685 w 5338201"/>
                  <a:gd name="connsiteY2423" fmla="*/ 1358312 h 4122274"/>
                  <a:gd name="connsiteX2424" fmla="*/ 648922 w 5338201"/>
                  <a:gd name="connsiteY2424" fmla="*/ 1358312 h 4122274"/>
                  <a:gd name="connsiteX2425" fmla="*/ 648922 w 5338201"/>
                  <a:gd name="connsiteY2425" fmla="*/ 1298856 h 4122274"/>
                  <a:gd name="connsiteX2426" fmla="*/ 525527 w 5338201"/>
                  <a:gd name="connsiteY2426" fmla="*/ 1298856 h 4122274"/>
                  <a:gd name="connsiteX2427" fmla="*/ 492940 w 5338201"/>
                  <a:gd name="connsiteY2427" fmla="*/ 1324615 h 4122274"/>
                  <a:gd name="connsiteX2428" fmla="*/ 484928 w 5338201"/>
                  <a:gd name="connsiteY2428" fmla="*/ 1358312 h 4122274"/>
                  <a:gd name="connsiteX2429" fmla="*/ 552392 w 5338201"/>
                  <a:gd name="connsiteY2429" fmla="*/ 1358312 h 4122274"/>
                  <a:gd name="connsiteX2430" fmla="*/ 552392 w 5338201"/>
                  <a:gd name="connsiteY2430" fmla="*/ 1298856 h 4122274"/>
                  <a:gd name="connsiteX2431" fmla="*/ 4762836 w 5338201"/>
                  <a:gd name="connsiteY2431" fmla="*/ 1286948 h 4122274"/>
                  <a:gd name="connsiteX2432" fmla="*/ 4780301 w 5338201"/>
                  <a:gd name="connsiteY2432" fmla="*/ 1293358 h 4122274"/>
                  <a:gd name="connsiteX2433" fmla="*/ 4988783 w 5338201"/>
                  <a:gd name="connsiteY2433" fmla="*/ 1476756 h 4122274"/>
                  <a:gd name="connsiteX2434" fmla="*/ 4982957 w 5338201"/>
                  <a:gd name="connsiteY2434" fmla="*/ 1492221 h 4122274"/>
                  <a:gd name="connsiteX2435" fmla="*/ 4918627 w 5338201"/>
                  <a:gd name="connsiteY2435" fmla="*/ 1492221 h 4122274"/>
                  <a:gd name="connsiteX2436" fmla="*/ 4918627 w 5338201"/>
                  <a:gd name="connsiteY2436" fmla="*/ 1680027 h 4122274"/>
                  <a:gd name="connsiteX2437" fmla="*/ 4899904 w 5338201"/>
                  <a:gd name="connsiteY2437" fmla="*/ 1698750 h 4122274"/>
                  <a:gd name="connsiteX2438" fmla="*/ 4821195 w 5338201"/>
                  <a:gd name="connsiteY2438" fmla="*/ 1698750 h 4122274"/>
                  <a:gd name="connsiteX2439" fmla="*/ 4821195 w 5338201"/>
                  <a:gd name="connsiteY2439" fmla="*/ 1575220 h 4122274"/>
                  <a:gd name="connsiteX2440" fmla="*/ 4802472 w 5338201"/>
                  <a:gd name="connsiteY2440" fmla="*/ 1556497 h 4122274"/>
                  <a:gd name="connsiteX2441" fmla="*/ 4722976 w 5338201"/>
                  <a:gd name="connsiteY2441" fmla="*/ 1556497 h 4122274"/>
                  <a:gd name="connsiteX2442" fmla="*/ 4704254 w 5338201"/>
                  <a:gd name="connsiteY2442" fmla="*/ 1575220 h 4122274"/>
                  <a:gd name="connsiteX2443" fmla="*/ 4704254 w 5338201"/>
                  <a:gd name="connsiteY2443" fmla="*/ 1698750 h 4122274"/>
                  <a:gd name="connsiteX2444" fmla="*/ 4625544 w 5338201"/>
                  <a:gd name="connsiteY2444" fmla="*/ 1698750 h 4122274"/>
                  <a:gd name="connsiteX2445" fmla="*/ 4606821 w 5338201"/>
                  <a:gd name="connsiteY2445" fmla="*/ 1680027 h 4122274"/>
                  <a:gd name="connsiteX2446" fmla="*/ 4606821 w 5338201"/>
                  <a:gd name="connsiteY2446" fmla="*/ 1492164 h 4122274"/>
                  <a:gd name="connsiteX2447" fmla="*/ 4542492 w 5338201"/>
                  <a:gd name="connsiteY2447" fmla="*/ 1492164 h 4122274"/>
                  <a:gd name="connsiteX2448" fmla="*/ 4536731 w 5338201"/>
                  <a:gd name="connsiteY2448" fmla="*/ 1476756 h 4122274"/>
                  <a:gd name="connsiteX2449" fmla="*/ 4745256 w 5338201"/>
                  <a:gd name="connsiteY2449" fmla="*/ 1293358 h 4122274"/>
                  <a:gd name="connsiteX2450" fmla="*/ 4762836 w 5338201"/>
                  <a:gd name="connsiteY2450" fmla="*/ 1286948 h 4122274"/>
                  <a:gd name="connsiteX2451" fmla="*/ 2458259 w 5338201"/>
                  <a:gd name="connsiteY2451" fmla="*/ 1276019 h 4122274"/>
                  <a:gd name="connsiteX2452" fmla="*/ 2411272 w 5338201"/>
                  <a:gd name="connsiteY2452" fmla="*/ 1299961 h 4122274"/>
                  <a:gd name="connsiteX2453" fmla="*/ 2400882 w 5338201"/>
                  <a:gd name="connsiteY2453" fmla="*/ 1361200 h 4122274"/>
                  <a:gd name="connsiteX2454" fmla="*/ 2456337 w 5338201"/>
                  <a:gd name="connsiteY2454" fmla="*/ 1331253 h 4122274"/>
                  <a:gd name="connsiteX2455" fmla="*/ 2459087 w 5338201"/>
                  <a:gd name="connsiteY2455" fmla="*/ 1276285 h 4122274"/>
                  <a:gd name="connsiteX2456" fmla="*/ 2458259 w 5338201"/>
                  <a:gd name="connsiteY2456" fmla="*/ 1276019 h 4122274"/>
                  <a:gd name="connsiteX2457" fmla="*/ 2755819 w 5338201"/>
                  <a:gd name="connsiteY2457" fmla="*/ 1275975 h 4122274"/>
                  <a:gd name="connsiteX2458" fmla="*/ 2841047 w 5338201"/>
                  <a:gd name="connsiteY2458" fmla="*/ 1275975 h 4122274"/>
                  <a:gd name="connsiteX2459" fmla="*/ 2858258 w 5338201"/>
                  <a:gd name="connsiteY2459" fmla="*/ 1293198 h 4122274"/>
                  <a:gd name="connsiteX2460" fmla="*/ 2841047 w 5338201"/>
                  <a:gd name="connsiteY2460" fmla="*/ 1310421 h 4122274"/>
                  <a:gd name="connsiteX2461" fmla="*/ 2755819 w 5338201"/>
                  <a:gd name="connsiteY2461" fmla="*/ 1310421 h 4122274"/>
                  <a:gd name="connsiteX2462" fmla="*/ 2738588 w 5338201"/>
                  <a:gd name="connsiteY2462" fmla="*/ 1293198 h 4122274"/>
                  <a:gd name="connsiteX2463" fmla="*/ 2755819 w 5338201"/>
                  <a:gd name="connsiteY2463" fmla="*/ 1275975 h 4122274"/>
                  <a:gd name="connsiteX2464" fmla="*/ 3616048 w 5338201"/>
                  <a:gd name="connsiteY2464" fmla="*/ 1267714 h 4122274"/>
                  <a:gd name="connsiteX2465" fmla="*/ 3603341 w 5338201"/>
                  <a:gd name="connsiteY2465" fmla="*/ 1270397 h 4122274"/>
                  <a:gd name="connsiteX2466" fmla="*/ 3512698 w 5338201"/>
                  <a:gd name="connsiteY2466" fmla="*/ 1409177 h 4122274"/>
                  <a:gd name="connsiteX2467" fmla="*/ 3515374 w 5338201"/>
                  <a:gd name="connsiteY2467" fmla="*/ 1421904 h 4122274"/>
                  <a:gd name="connsiteX2468" fmla="*/ 3528082 w 5338201"/>
                  <a:gd name="connsiteY2468" fmla="*/ 1419221 h 4122274"/>
                  <a:gd name="connsiteX2469" fmla="*/ 3618707 w 5338201"/>
                  <a:gd name="connsiteY2469" fmla="*/ 1280420 h 4122274"/>
                  <a:gd name="connsiteX2470" fmla="*/ 3616048 w 5338201"/>
                  <a:gd name="connsiteY2470" fmla="*/ 1267714 h 4122274"/>
                  <a:gd name="connsiteX2471" fmla="*/ 482078 w 5338201"/>
                  <a:gd name="connsiteY2471" fmla="*/ 1254219 h 4122274"/>
                  <a:gd name="connsiteX2472" fmla="*/ 852047 w 5338201"/>
                  <a:gd name="connsiteY2472" fmla="*/ 1254219 h 4122274"/>
                  <a:gd name="connsiteX2473" fmla="*/ 880942 w 5338201"/>
                  <a:gd name="connsiteY2473" fmla="*/ 1283125 h 4122274"/>
                  <a:gd name="connsiteX2474" fmla="*/ 880942 w 5338201"/>
                  <a:gd name="connsiteY2474" fmla="*/ 1288192 h 4122274"/>
                  <a:gd name="connsiteX2475" fmla="*/ 870295 w 5338201"/>
                  <a:gd name="connsiteY2475" fmla="*/ 1298856 h 4122274"/>
                  <a:gd name="connsiteX2476" fmla="*/ 867380 w 5338201"/>
                  <a:gd name="connsiteY2476" fmla="*/ 1298856 h 4122274"/>
                  <a:gd name="connsiteX2477" fmla="*/ 880704 w 5338201"/>
                  <a:gd name="connsiteY2477" fmla="*/ 1366814 h 4122274"/>
                  <a:gd name="connsiteX2478" fmla="*/ 880704 w 5338201"/>
                  <a:gd name="connsiteY2478" fmla="*/ 1366826 h 4122274"/>
                  <a:gd name="connsiteX2479" fmla="*/ 880747 w 5338201"/>
                  <a:gd name="connsiteY2479" fmla="*/ 1366923 h 4122274"/>
                  <a:gd name="connsiteX2480" fmla="*/ 880855 w 5338201"/>
                  <a:gd name="connsiteY2480" fmla="*/ 1367931 h 4122274"/>
                  <a:gd name="connsiteX2481" fmla="*/ 880942 w 5338201"/>
                  <a:gd name="connsiteY2481" fmla="*/ 1368964 h 4122274"/>
                  <a:gd name="connsiteX2482" fmla="*/ 880942 w 5338201"/>
                  <a:gd name="connsiteY2482" fmla="*/ 1440009 h 4122274"/>
                  <a:gd name="connsiteX2483" fmla="*/ 883252 w 5338201"/>
                  <a:gd name="connsiteY2483" fmla="*/ 1440009 h 4122274"/>
                  <a:gd name="connsiteX2484" fmla="*/ 893899 w 5338201"/>
                  <a:gd name="connsiteY2484" fmla="*/ 1450649 h 4122274"/>
                  <a:gd name="connsiteX2485" fmla="*/ 893899 w 5338201"/>
                  <a:gd name="connsiteY2485" fmla="*/ 1472769 h 4122274"/>
                  <a:gd name="connsiteX2486" fmla="*/ 883252 w 5338201"/>
                  <a:gd name="connsiteY2486" fmla="*/ 1483433 h 4122274"/>
                  <a:gd name="connsiteX2487" fmla="*/ 846281 w 5338201"/>
                  <a:gd name="connsiteY2487" fmla="*/ 1483433 h 4122274"/>
                  <a:gd name="connsiteX2488" fmla="*/ 806913 w 5338201"/>
                  <a:gd name="connsiteY2488" fmla="*/ 1513611 h 4122274"/>
                  <a:gd name="connsiteX2489" fmla="*/ 767567 w 5338201"/>
                  <a:gd name="connsiteY2489" fmla="*/ 1483433 h 4122274"/>
                  <a:gd name="connsiteX2490" fmla="*/ 572238 w 5338201"/>
                  <a:gd name="connsiteY2490" fmla="*/ 1483433 h 4122274"/>
                  <a:gd name="connsiteX2491" fmla="*/ 532870 w 5338201"/>
                  <a:gd name="connsiteY2491" fmla="*/ 1513611 h 4122274"/>
                  <a:gd name="connsiteX2492" fmla="*/ 493502 w 5338201"/>
                  <a:gd name="connsiteY2492" fmla="*/ 1483433 h 4122274"/>
                  <a:gd name="connsiteX2493" fmla="*/ 438088 w 5338201"/>
                  <a:gd name="connsiteY2493" fmla="*/ 1483433 h 4122274"/>
                  <a:gd name="connsiteX2494" fmla="*/ 427442 w 5338201"/>
                  <a:gd name="connsiteY2494" fmla="*/ 1472769 h 4122274"/>
                  <a:gd name="connsiteX2495" fmla="*/ 427442 w 5338201"/>
                  <a:gd name="connsiteY2495" fmla="*/ 1450649 h 4122274"/>
                  <a:gd name="connsiteX2496" fmla="*/ 438088 w 5338201"/>
                  <a:gd name="connsiteY2496" fmla="*/ 1440009 h 4122274"/>
                  <a:gd name="connsiteX2497" fmla="*/ 438261 w 5338201"/>
                  <a:gd name="connsiteY2497" fmla="*/ 1440009 h 4122274"/>
                  <a:gd name="connsiteX2498" fmla="*/ 438261 w 5338201"/>
                  <a:gd name="connsiteY2498" fmla="*/ 1298040 h 4122274"/>
                  <a:gd name="connsiteX2499" fmla="*/ 482078 w 5338201"/>
                  <a:gd name="connsiteY2499" fmla="*/ 1254219 h 4122274"/>
                  <a:gd name="connsiteX2500" fmla="*/ 2755819 w 5338201"/>
                  <a:gd name="connsiteY2500" fmla="*/ 1216127 h 4122274"/>
                  <a:gd name="connsiteX2501" fmla="*/ 2841047 w 5338201"/>
                  <a:gd name="connsiteY2501" fmla="*/ 1216127 h 4122274"/>
                  <a:gd name="connsiteX2502" fmla="*/ 2858258 w 5338201"/>
                  <a:gd name="connsiteY2502" fmla="*/ 1233177 h 4122274"/>
                  <a:gd name="connsiteX2503" fmla="*/ 2841047 w 5338201"/>
                  <a:gd name="connsiteY2503" fmla="*/ 1250400 h 4122274"/>
                  <a:gd name="connsiteX2504" fmla="*/ 2755819 w 5338201"/>
                  <a:gd name="connsiteY2504" fmla="*/ 1250400 h 4122274"/>
                  <a:gd name="connsiteX2505" fmla="*/ 2738588 w 5338201"/>
                  <a:gd name="connsiteY2505" fmla="*/ 1233177 h 4122274"/>
                  <a:gd name="connsiteX2506" fmla="*/ 2755819 w 5338201"/>
                  <a:gd name="connsiteY2506" fmla="*/ 1216127 h 4122274"/>
                  <a:gd name="connsiteX2507" fmla="*/ 1267659 w 5338201"/>
                  <a:gd name="connsiteY2507" fmla="*/ 1177875 h 4122274"/>
                  <a:gd name="connsiteX2508" fmla="*/ 1310054 w 5338201"/>
                  <a:gd name="connsiteY2508" fmla="*/ 1177875 h 4122274"/>
                  <a:gd name="connsiteX2509" fmla="*/ 1319242 w 5338201"/>
                  <a:gd name="connsiteY2509" fmla="*/ 1187084 h 4122274"/>
                  <a:gd name="connsiteX2510" fmla="*/ 1310054 w 5338201"/>
                  <a:gd name="connsiteY2510" fmla="*/ 1196307 h 4122274"/>
                  <a:gd name="connsiteX2511" fmla="*/ 1274881 w 5338201"/>
                  <a:gd name="connsiteY2511" fmla="*/ 1196307 h 4122274"/>
                  <a:gd name="connsiteX2512" fmla="*/ 1222425 w 5338201"/>
                  <a:gd name="connsiteY2512" fmla="*/ 1409476 h 4122274"/>
                  <a:gd name="connsiteX2513" fmla="*/ 1214547 w 5338201"/>
                  <a:gd name="connsiteY2513" fmla="*/ 1446598 h 4122274"/>
                  <a:gd name="connsiteX2514" fmla="*/ 1182482 w 5338201"/>
                  <a:gd name="connsiteY2514" fmla="*/ 1472560 h 4122274"/>
                  <a:gd name="connsiteX2515" fmla="*/ 1004973 w 5338201"/>
                  <a:gd name="connsiteY2515" fmla="*/ 1472560 h 4122274"/>
                  <a:gd name="connsiteX2516" fmla="*/ 995751 w 5338201"/>
                  <a:gd name="connsiteY2516" fmla="*/ 1463338 h 4122274"/>
                  <a:gd name="connsiteX2517" fmla="*/ 1004973 w 5338201"/>
                  <a:gd name="connsiteY2517" fmla="*/ 1454129 h 4122274"/>
                  <a:gd name="connsiteX2518" fmla="*/ 1182482 w 5338201"/>
                  <a:gd name="connsiteY2518" fmla="*/ 1454129 h 4122274"/>
                  <a:gd name="connsiteX2519" fmla="*/ 1196524 w 5338201"/>
                  <a:gd name="connsiteY2519" fmla="*/ 1442764 h 4122274"/>
                  <a:gd name="connsiteX2520" fmla="*/ 1202050 w 5338201"/>
                  <a:gd name="connsiteY2520" fmla="*/ 1416625 h 4122274"/>
                  <a:gd name="connsiteX2521" fmla="*/ 991418 w 5338201"/>
                  <a:gd name="connsiteY2521" fmla="*/ 1416625 h 4122274"/>
                  <a:gd name="connsiteX2522" fmla="*/ 982347 w 5338201"/>
                  <a:gd name="connsiteY2522" fmla="*/ 1409066 h 4122274"/>
                  <a:gd name="connsiteX2523" fmla="*/ 956917 w 5338201"/>
                  <a:gd name="connsiteY2523" fmla="*/ 1270114 h 4122274"/>
                  <a:gd name="connsiteX2524" fmla="*/ 958899 w 5338201"/>
                  <a:gd name="connsiteY2524" fmla="*/ 1262556 h 4122274"/>
                  <a:gd name="connsiteX2525" fmla="*/ 965970 w 5338201"/>
                  <a:gd name="connsiteY2525" fmla="*/ 1259241 h 4122274"/>
                  <a:gd name="connsiteX2526" fmla="*/ 1240481 w 5338201"/>
                  <a:gd name="connsiteY2526" fmla="*/ 1258954 h 4122274"/>
                  <a:gd name="connsiteX2527" fmla="*/ 1258723 w 5338201"/>
                  <a:gd name="connsiteY2527" fmla="*/ 1184888 h 4122274"/>
                  <a:gd name="connsiteX2528" fmla="*/ 1267659 w 5338201"/>
                  <a:gd name="connsiteY2528" fmla="*/ 1177875 h 4122274"/>
                  <a:gd name="connsiteX2529" fmla="*/ 2755819 w 5338201"/>
                  <a:gd name="connsiteY2529" fmla="*/ 1161552 h 4122274"/>
                  <a:gd name="connsiteX2530" fmla="*/ 2841047 w 5338201"/>
                  <a:gd name="connsiteY2530" fmla="*/ 1161552 h 4122274"/>
                  <a:gd name="connsiteX2531" fmla="*/ 2858258 w 5338201"/>
                  <a:gd name="connsiteY2531" fmla="*/ 1178776 h 4122274"/>
                  <a:gd name="connsiteX2532" fmla="*/ 2841047 w 5338201"/>
                  <a:gd name="connsiteY2532" fmla="*/ 1196016 h 4122274"/>
                  <a:gd name="connsiteX2533" fmla="*/ 2755819 w 5338201"/>
                  <a:gd name="connsiteY2533" fmla="*/ 1196016 h 4122274"/>
                  <a:gd name="connsiteX2534" fmla="*/ 2738588 w 5338201"/>
                  <a:gd name="connsiteY2534" fmla="*/ 1178776 h 4122274"/>
                  <a:gd name="connsiteX2535" fmla="*/ 2755819 w 5338201"/>
                  <a:gd name="connsiteY2535" fmla="*/ 1161552 h 4122274"/>
                  <a:gd name="connsiteX2536" fmla="*/ 3982912 w 5338201"/>
                  <a:gd name="connsiteY2536" fmla="*/ 1157750 h 4122274"/>
                  <a:gd name="connsiteX2537" fmla="*/ 3982912 w 5338201"/>
                  <a:gd name="connsiteY2537" fmla="*/ 1444660 h 4122274"/>
                  <a:gd name="connsiteX2538" fmla="*/ 3949889 w 5338201"/>
                  <a:gd name="connsiteY2538" fmla="*/ 1490660 h 4122274"/>
                  <a:gd name="connsiteX2539" fmla="*/ 3874148 w 5338201"/>
                  <a:gd name="connsiteY2539" fmla="*/ 1480455 h 4122274"/>
                  <a:gd name="connsiteX2540" fmla="*/ 3902074 w 5338201"/>
                  <a:gd name="connsiteY2540" fmla="*/ 1416816 h 4122274"/>
                  <a:gd name="connsiteX2541" fmla="*/ 3960113 w 5338201"/>
                  <a:gd name="connsiteY2541" fmla="*/ 1412961 h 4122274"/>
                  <a:gd name="connsiteX2542" fmla="*/ 3960113 w 5338201"/>
                  <a:gd name="connsiteY2542" fmla="*/ 1253381 h 4122274"/>
                  <a:gd name="connsiteX2543" fmla="*/ 3777975 w 5338201"/>
                  <a:gd name="connsiteY2543" fmla="*/ 1289830 h 4122274"/>
                  <a:gd name="connsiteX2544" fmla="*/ 3777975 w 5338201"/>
                  <a:gd name="connsiteY2544" fmla="*/ 1467445 h 4122274"/>
                  <a:gd name="connsiteX2545" fmla="*/ 3744938 w 5338201"/>
                  <a:gd name="connsiteY2545" fmla="*/ 1513479 h 4122274"/>
                  <a:gd name="connsiteX2546" fmla="*/ 3669227 w 5338201"/>
                  <a:gd name="connsiteY2546" fmla="*/ 1503257 h 4122274"/>
                  <a:gd name="connsiteX2547" fmla="*/ 3697123 w 5338201"/>
                  <a:gd name="connsiteY2547" fmla="*/ 1439618 h 4122274"/>
                  <a:gd name="connsiteX2548" fmla="*/ 3755176 w 5338201"/>
                  <a:gd name="connsiteY2548" fmla="*/ 1435728 h 4122274"/>
                  <a:gd name="connsiteX2549" fmla="*/ 3755176 w 5338201"/>
                  <a:gd name="connsiteY2549" fmla="*/ 1203320 h 4122274"/>
                  <a:gd name="connsiteX2550" fmla="*/ 2884929 w 5338201"/>
                  <a:gd name="connsiteY2550" fmla="*/ 1156123 h 4122274"/>
                  <a:gd name="connsiteX2551" fmla="*/ 3016375 w 5338201"/>
                  <a:gd name="connsiteY2551" fmla="*/ 1156123 h 4122274"/>
                  <a:gd name="connsiteX2552" fmla="*/ 3026339 w 5338201"/>
                  <a:gd name="connsiteY2552" fmla="*/ 1166083 h 4122274"/>
                  <a:gd name="connsiteX2553" fmla="*/ 3026339 w 5338201"/>
                  <a:gd name="connsiteY2553" fmla="*/ 1300080 h 4122274"/>
                  <a:gd name="connsiteX2554" fmla="*/ 3016375 w 5338201"/>
                  <a:gd name="connsiteY2554" fmla="*/ 1310058 h 4122274"/>
                  <a:gd name="connsiteX2555" fmla="*/ 2884929 w 5338201"/>
                  <a:gd name="connsiteY2555" fmla="*/ 1310058 h 4122274"/>
                  <a:gd name="connsiteX2556" fmla="*/ 2874945 w 5338201"/>
                  <a:gd name="connsiteY2556" fmla="*/ 1300080 h 4122274"/>
                  <a:gd name="connsiteX2557" fmla="*/ 2874945 w 5338201"/>
                  <a:gd name="connsiteY2557" fmla="*/ 1166083 h 4122274"/>
                  <a:gd name="connsiteX2558" fmla="*/ 2884929 w 5338201"/>
                  <a:gd name="connsiteY2558" fmla="*/ 1156123 h 4122274"/>
                  <a:gd name="connsiteX2559" fmla="*/ 1602203 w 5338201"/>
                  <a:gd name="connsiteY2559" fmla="*/ 1093592 h 4122274"/>
                  <a:gd name="connsiteX2560" fmla="*/ 1601460 w 5338201"/>
                  <a:gd name="connsiteY2560" fmla="*/ 1125077 h 4122274"/>
                  <a:gd name="connsiteX2561" fmla="*/ 1632934 w 5338201"/>
                  <a:gd name="connsiteY2561" fmla="*/ 1125807 h 4122274"/>
                  <a:gd name="connsiteX2562" fmla="*/ 1633659 w 5338201"/>
                  <a:gd name="connsiteY2562" fmla="*/ 1094322 h 4122274"/>
                  <a:gd name="connsiteX2563" fmla="*/ 1602203 w 5338201"/>
                  <a:gd name="connsiteY2563" fmla="*/ 1093592 h 4122274"/>
                  <a:gd name="connsiteX2564" fmla="*/ 1539272 w 5338201"/>
                  <a:gd name="connsiteY2564" fmla="*/ 1092133 h 4122274"/>
                  <a:gd name="connsiteX2565" fmla="*/ 1538546 w 5338201"/>
                  <a:gd name="connsiteY2565" fmla="*/ 1123618 h 4122274"/>
                  <a:gd name="connsiteX2566" fmla="*/ 1569985 w 5338201"/>
                  <a:gd name="connsiteY2566" fmla="*/ 1124347 h 4122274"/>
                  <a:gd name="connsiteX2567" fmla="*/ 1570710 w 5338201"/>
                  <a:gd name="connsiteY2567" fmla="*/ 1092862 h 4122274"/>
                  <a:gd name="connsiteX2568" fmla="*/ 1539272 w 5338201"/>
                  <a:gd name="connsiteY2568" fmla="*/ 1092133 h 4122274"/>
                  <a:gd name="connsiteX2569" fmla="*/ 1476358 w 5338201"/>
                  <a:gd name="connsiteY2569" fmla="*/ 1090655 h 4122274"/>
                  <a:gd name="connsiteX2570" fmla="*/ 1475615 w 5338201"/>
                  <a:gd name="connsiteY2570" fmla="*/ 1122158 h 4122274"/>
                  <a:gd name="connsiteX2571" fmla="*/ 1507072 w 5338201"/>
                  <a:gd name="connsiteY2571" fmla="*/ 1122888 h 4122274"/>
                  <a:gd name="connsiteX2572" fmla="*/ 1507815 w 5338201"/>
                  <a:gd name="connsiteY2572" fmla="*/ 1091385 h 4122274"/>
                  <a:gd name="connsiteX2573" fmla="*/ 1476358 w 5338201"/>
                  <a:gd name="connsiteY2573" fmla="*/ 1090655 h 4122274"/>
                  <a:gd name="connsiteX2574" fmla="*/ 2536661 w 5338201"/>
                  <a:gd name="connsiteY2574" fmla="*/ 1090625 h 4122274"/>
                  <a:gd name="connsiteX2575" fmla="*/ 2528509 w 5338201"/>
                  <a:gd name="connsiteY2575" fmla="*/ 1155150 h 4122274"/>
                  <a:gd name="connsiteX2576" fmla="*/ 2490671 w 5338201"/>
                  <a:gd name="connsiteY2576" fmla="*/ 1175458 h 4122274"/>
                  <a:gd name="connsiteX2577" fmla="*/ 2487678 w 5338201"/>
                  <a:gd name="connsiteY2577" fmla="*/ 1191502 h 4122274"/>
                  <a:gd name="connsiteX2578" fmla="*/ 2486413 w 5338201"/>
                  <a:gd name="connsiteY2578" fmla="*/ 1199665 h 4122274"/>
                  <a:gd name="connsiteX2579" fmla="*/ 2500648 w 5338201"/>
                  <a:gd name="connsiteY2579" fmla="*/ 1190208 h 4122274"/>
                  <a:gd name="connsiteX2580" fmla="*/ 2565666 w 5338201"/>
                  <a:gd name="connsiteY2580" fmla="*/ 1189395 h 4122274"/>
                  <a:gd name="connsiteX2581" fmla="*/ 2525833 w 5338201"/>
                  <a:gd name="connsiteY2581" fmla="*/ 1240812 h 4122274"/>
                  <a:gd name="connsiteX2582" fmla="*/ 2478651 w 5338201"/>
                  <a:gd name="connsiteY2582" fmla="*/ 1232732 h 4122274"/>
                  <a:gd name="connsiteX2583" fmla="*/ 2478505 w 5338201"/>
                  <a:gd name="connsiteY2583" fmla="*/ 1232417 h 4122274"/>
                  <a:gd name="connsiteX2584" fmla="*/ 2465365 w 5338201"/>
                  <a:gd name="connsiteY2584" fmla="*/ 1266595 h 4122274"/>
                  <a:gd name="connsiteX2585" fmla="*/ 2474757 w 5338201"/>
                  <a:gd name="connsiteY2585" fmla="*/ 1266380 h 4122274"/>
                  <a:gd name="connsiteX2586" fmla="*/ 2502497 w 5338201"/>
                  <a:gd name="connsiteY2586" fmla="*/ 1331286 h 4122274"/>
                  <a:gd name="connsiteX2587" fmla="*/ 2497436 w 5338201"/>
                  <a:gd name="connsiteY2587" fmla="*/ 1368069 h 4122274"/>
                  <a:gd name="connsiteX2588" fmla="*/ 2615768 w 5338201"/>
                  <a:gd name="connsiteY2588" fmla="*/ 1357583 h 4122274"/>
                  <a:gd name="connsiteX2589" fmla="*/ 2617983 w 5338201"/>
                  <a:gd name="connsiteY2589" fmla="*/ 1399809 h 4122274"/>
                  <a:gd name="connsiteX2590" fmla="*/ 2400444 w 5338201"/>
                  <a:gd name="connsiteY2590" fmla="*/ 1445668 h 4122274"/>
                  <a:gd name="connsiteX2591" fmla="*/ 2261014 w 5338201"/>
                  <a:gd name="connsiteY2591" fmla="*/ 1379882 h 4122274"/>
                  <a:gd name="connsiteX2592" fmla="*/ 2162708 w 5338201"/>
                  <a:gd name="connsiteY2592" fmla="*/ 1369994 h 4122274"/>
                  <a:gd name="connsiteX2593" fmla="*/ 2196507 w 5338201"/>
                  <a:gd name="connsiteY2593" fmla="*/ 1287517 h 4122274"/>
                  <a:gd name="connsiteX2594" fmla="*/ 2336617 w 5338201"/>
                  <a:gd name="connsiteY2594" fmla="*/ 1262364 h 4122274"/>
                  <a:gd name="connsiteX2595" fmla="*/ 2447601 w 5338201"/>
                  <a:gd name="connsiteY2595" fmla="*/ 1255379 h 4122274"/>
                  <a:gd name="connsiteX2596" fmla="*/ 2456069 w 5338201"/>
                  <a:gd name="connsiteY2596" fmla="*/ 1260456 h 4122274"/>
                  <a:gd name="connsiteX2597" fmla="*/ 2468504 w 5338201"/>
                  <a:gd name="connsiteY2597" fmla="*/ 1228036 h 4122274"/>
                  <a:gd name="connsiteX2598" fmla="*/ 2466484 w 5338201"/>
                  <a:gd name="connsiteY2598" fmla="*/ 1229513 h 4122274"/>
                  <a:gd name="connsiteX2599" fmla="*/ 2421467 w 5338201"/>
                  <a:gd name="connsiteY2599" fmla="*/ 1213270 h 4122274"/>
                  <a:gd name="connsiteX2600" fmla="*/ 2412148 w 5338201"/>
                  <a:gd name="connsiteY2600" fmla="*/ 1148895 h 4122274"/>
                  <a:gd name="connsiteX2601" fmla="*/ 2468309 w 5338201"/>
                  <a:gd name="connsiteY2601" fmla="*/ 1181696 h 4122274"/>
                  <a:gd name="connsiteX2602" fmla="*/ 2475925 w 5338201"/>
                  <a:gd name="connsiteY2602" fmla="*/ 1196562 h 4122274"/>
                  <a:gd name="connsiteX2603" fmla="*/ 2476947 w 5338201"/>
                  <a:gd name="connsiteY2603" fmla="*/ 1189876 h 4122274"/>
                  <a:gd name="connsiteX2604" fmla="*/ 2480938 w 5338201"/>
                  <a:gd name="connsiteY2604" fmla="*/ 1170115 h 4122274"/>
                  <a:gd name="connsiteX2605" fmla="*/ 2481108 w 5338201"/>
                  <a:gd name="connsiteY2605" fmla="*/ 1124406 h 4122274"/>
                  <a:gd name="connsiteX2606" fmla="*/ 2536661 w 5338201"/>
                  <a:gd name="connsiteY2606" fmla="*/ 1090625 h 4122274"/>
                  <a:gd name="connsiteX2607" fmla="*/ 3003673 w 5338201"/>
                  <a:gd name="connsiteY2607" fmla="*/ 1057851 h 4122274"/>
                  <a:gd name="connsiteX2608" fmla="*/ 3023622 w 5338201"/>
                  <a:gd name="connsiteY2608" fmla="*/ 1063281 h 4122274"/>
                  <a:gd name="connsiteX2609" fmla="*/ 3027788 w 5338201"/>
                  <a:gd name="connsiteY2609" fmla="*/ 1068901 h 4122274"/>
                  <a:gd name="connsiteX2610" fmla="*/ 3026520 w 5338201"/>
                  <a:gd name="connsiteY2610" fmla="*/ 1075610 h 4122274"/>
                  <a:gd name="connsiteX2611" fmla="*/ 3026158 w 5338201"/>
                  <a:gd name="connsiteY2611" fmla="*/ 1076164 h 4122274"/>
                  <a:gd name="connsiteX2612" fmla="*/ 3014020 w 5338201"/>
                  <a:gd name="connsiteY2612" fmla="*/ 1079052 h 4122274"/>
                  <a:gd name="connsiteX2613" fmla="*/ 3003673 w 5338201"/>
                  <a:gd name="connsiteY2613" fmla="*/ 1076527 h 4122274"/>
                  <a:gd name="connsiteX2614" fmla="*/ 2994796 w 5338201"/>
                  <a:gd name="connsiteY2614" fmla="*/ 1079605 h 4122274"/>
                  <a:gd name="connsiteX2615" fmla="*/ 3006049 w 5338201"/>
                  <a:gd name="connsiteY2615" fmla="*/ 1086487 h 4122274"/>
                  <a:gd name="connsiteX2616" fmla="*/ 3030707 w 5338201"/>
                  <a:gd name="connsiteY2616" fmla="*/ 1111699 h 4122274"/>
                  <a:gd name="connsiteX2617" fmla="*/ 3001862 w 5338201"/>
                  <a:gd name="connsiteY2617" fmla="*/ 1134715 h 4122274"/>
                  <a:gd name="connsiteX2618" fmla="*/ 2975754 w 5338201"/>
                  <a:gd name="connsiteY2618" fmla="*/ 1124201 h 4122274"/>
                  <a:gd name="connsiteX2619" fmla="*/ 2973036 w 5338201"/>
                  <a:gd name="connsiteY2619" fmla="*/ 1117855 h 4122274"/>
                  <a:gd name="connsiteX2620" fmla="*/ 2975754 w 5338201"/>
                  <a:gd name="connsiteY2620" fmla="*/ 1111509 h 4122274"/>
                  <a:gd name="connsiteX2621" fmla="*/ 2976297 w 5338201"/>
                  <a:gd name="connsiteY2621" fmla="*/ 1110973 h 4122274"/>
                  <a:gd name="connsiteX2622" fmla="*/ 2982658 w 5338201"/>
                  <a:gd name="connsiteY2622" fmla="*/ 1108431 h 4122274"/>
                  <a:gd name="connsiteX2623" fmla="*/ 2988818 w 5338201"/>
                  <a:gd name="connsiteY2623" fmla="*/ 1110973 h 4122274"/>
                  <a:gd name="connsiteX2624" fmla="*/ 3001862 w 5338201"/>
                  <a:gd name="connsiteY2624" fmla="*/ 1116039 h 4122274"/>
                  <a:gd name="connsiteX2625" fmla="*/ 3012027 w 5338201"/>
                  <a:gd name="connsiteY2625" fmla="*/ 1111699 h 4122274"/>
                  <a:gd name="connsiteX2626" fmla="*/ 3000412 w 5338201"/>
                  <a:gd name="connsiteY2626" fmla="*/ 1104264 h 4122274"/>
                  <a:gd name="connsiteX2627" fmla="*/ 2976116 w 5338201"/>
                  <a:gd name="connsiteY2627" fmla="*/ 1079605 h 4122274"/>
                  <a:gd name="connsiteX2628" fmla="*/ 3003673 w 5338201"/>
                  <a:gd name="connsiteY2628" fmla="*/ 1057851 h 4122274"/>
                  <a:gd name="connsiteX2629" fmla="*/ 2878387 w 5338201"/>
                  <a:gd name="connsiteY2629" fmla="*/ 1057851 h 4122274"/>
                  <a:gd name="connsiteX2630" fmla="*/ 2879293 w 5338201"/>
                  <a:gd name="connsiteY2630" fmla="*/ 1057851 h 4122274"/>
                  <a:gd name="connsiteX2631" fmla="*/ 2887828 w 5338201"/>
                  <a:gd name="connsiteY2631" fmla="*/ 1064007 h 4122274"/>
                  <a:gd name="connsiteX2632" fmla="*/ 2899060 w 5338201"/>
                  <a:gd name="connsiteY2632" fmla="*/ 1097364 h 4122274"/>
                  <a:gd name="connsiteX2633" fmla="*/ 2910132 w 5338201"/>
                  <a:gd name="connsiteY2633" fmla="*/ 1064007 h 4122274"/>
                  <a:gd name="connsiteX2634" fmla="*/ 2918646 w 5338201"/>
                  <a:gd name="connsiteY2634" fmla="*/ 1057851 h 4122274"/>
                  <a:gd name="connsiteX2635" fmla="*/ 2919733 w 5338201"/>
                  <a:gd name="connsiteY2635" fmla="*/ 1057851 h 4122274"/>
                  <a:gd name="connsiteX2636" fmla="*/ 2928248 w 5338201"/>
                  <a:gd name="connsiteY2636" fmla="*/ 1064007 h 4122274"/>
                  <a:gd name="connsiteX2637" fmla="*/ 2939500 w 5338201"/>
                  <a:gd name="connsiteY2637" fmla="*/ 1097364 h 4122274"/>
                  <a:gd name="connsiteX2638" fmla="*/ 2950552 w 5338201"/>
                  <a:gd name="connsiteY2638" fmla="*/ 1064007 h 4122274"/>
                  <a:gd name="connsiteX2639" fmla="*/ 2958905 w 5338201"/>
                  <a:gd name="connsiteY2639" fmla="*/ 1057851 h 4122274"/>
                  <a:gd name="connsiteX2640" fmla="*/ 2959811 w 5338201"/>
                  <a:gd name="connsiteY2640" fmla="*/ 1057851 h 4122274"/>
                  <a:gd name="connsiteX2641" fmla="*/ 2967239 w 5338201"/>
                  <a:gd name="connsiteY2641" fmla="*/ 1061656 h 4122274"/>
                  <a:gd name="connsiteX2642" fmla="*/ 2968326 w 5338201"/>
                  <a:gd name="connsiteY2642" fmla="*/ 1069818 h 4122274"/>
                  <a:gd name="connsiteX2643" fmla="*/ 2948378 w 5338201"/>
                  <a:gd name="connsiteY2643" fmla="*/ 1128559 h 4122274"/>
                  <a:gd name="connsiteX2644" fmla="*/ 2939863 w 5338201"/>
                  <a:gd name="connsiteY2644" fmla="*/ 1134715 h 4122274"/>
                  <a:gd name="connsiteX2645" fmla="*/ 2939500 w 5338201"/>
                  <a:gd name="connsiteY2645" fmla="*/ 1134715 h 4122274"/>
                  <a:gd name="connsiteX2646" fmla="*/ 2938776 w 5338201"/>
                  <a:gd name="connsiteY2646" fmla="*/ 1134715 h 4122274"/>
                  <a:gd name="connsiteX2647" fmla="*/ 2930422 w 5338201"/>
                  <a:gd name="connsiteY2647" fmla="*/ 1128559 h 4122274"/>
                  <a:gd name="connsiteX2648" fmla="*/ 2919190 w 5338201"/>
                  <a:gd name="connsiteY2648" fmla="*/ 1095375 h 4122274"/>
                  <a:gd name="connsiteX2649" fmla="*/ 2907937 w 5338201"/>
                  <a:gd name="connsiteY2649" fmla="*/ 1128559 h 4122274"/>
                  <a:gd name="connsiteX2650" fmla="*/ 2899423 w 5338201"/>
                  <a:gd name="connsiteY2650" fmla="*/ 1134715 h 4122274"/>
                  <a:gd name="connsiteX2651" fmla="*/ 2899060 w 5338201"/>
                  <a:gd name="connsiteY2651" fmla="*/ 1134715 h 4122274"/>
                  <a:gd name="connsiteX2652" fmla="*/ 2898879 w 5338201"/>
                  <a:gd name="connsiteY2652" fmla="*/ 1134715 h 4122274"/>
                  <a:gd name="connsiteX2653" fmla="*/ 2898336 w 5338201"/>
                  <a:gd name="connsiteY2653" fmla="*/ 1134715 h 4122274"/>
                  <a:gd name="connsiteX2654" fmla="*/ 2890002 w 5338201"/>
                  <a:gd name="connsiteY2654" fmla="*/ 1128559 h 4122274"/>
                  <a:gd name="connsiteX2655" fmla="*/ 2870054 w 5338201"/>
                  <a:gd name="connsiteY2655" fmla="*/ 1069818 h 4122274"/>
                  <a:gd name="connsiteX2656" fmla="*/ 2871141 w 5338201"/>
                  <a:gd name="connsiteY2656" fmla="*/ 1061656 h 4122274"/>
                  <a:gd name="connsiteX2657" fmla="*/ 2878387 w 5338201"/>
                  <a:gd name="connsiteY2657" fmla="*/ 1057851 h 4122274"/>
                  <a:gd name="connsiteX2658" fmla="*/ 2823997 w 5338201"/>
                  <a:gd name="connsiteY2658" fmla="*/ 1057851 h 4122274"/>
                  <a:gd name="connsiteX2659" fmla="*/ 2860452 w 5338201"/>
                  <a:gd name="connsiteY2659" fmla="*/ 1057851 h 4122274"/>
                  <a:gd name="connsiteX2660" fmla="*/ 2869329 w 5338201"/>
                  <a:gd name="connsiteY2660" fmla="*/ 1066912 h 4122274"/>
                  <a:gd name="connsiteX2661" fmla="*/ 2869329 w 5338201"/>
                  <a:gd name="connsiteY2661" fmla="*/ 1067639 h 4122274"/>
                  <a:gd name="connsiteX2662" fmla="*/ 2860452 w 5338201"/>
                  <a:gd name="connsiteY2662" fmla="*/ 1076527 h 4122274"/>
                  <a:gd name="connsiteX2663" fmla="*/ 2833599 w 5338201"/>
                  <a:gd name="connsiteY2663" fmla="*/ 1076527 h 4122274"/>
                  <a:gd name="connsiteX2664" fmla="*/ 2833599 w 5338201"/>
                  <a:gd name="connsiteY2664" fmla="*/ 1086124 h 4122274"/>
                  <a:gd name="connsiteX2665" fmla="*/ 2856446 w 5338201"/>
                  <a:gd name="connsiteY2665" fmla="*/ 1086124 h 4122274"/>
                  <a:gd name="connsiteX2666" fmla="*/ 2865343 w 5338201"/>
                  <a:gd name="connsiteY2666" fmla="*/ 1095012 h 4122274"/>
                  <a:gd name="connsiteX2667" fmla="*/ 2865343 w 5338201"/>
                  <a:gd name="connsiteY2667" fmla="*/ 1095738 h 4122274"/>
                  <a:gd name="connsiteX2668" fmla="*/ 2856446 w 5338201"/>
                  <a:gd name="connsiteY2668" fmla="*/ 1104800 h 4122274"/>
                  <a:gd name="connsiteX2669" fmla="*/ 2833599 w 5338201"/>
                  <a:gd name="connsiteY2669" fmla="*/ 1104800 h 4122274"/>
                  <a:gd name="connsiteX2670" fmla="*/ 2833599 w 5338201"/>
                  <a:gd name="connsiteY2670" fmla="*/ 1116766 h 4122274"/>
                  <a:gd name="connsiteX2671" fmla="*/ 2861539 w 5338201"/>
                  <a:gd name="connsiteY2671" fmla="*/ 1116766 h 4122274"/>
                  <a:gd name="connsiteX2672" fmla="*/ 2870597 w 5338201"/>
                  <a:gd name="connsiteY2672" fmla="*/ 1125654 h 4122274"/>
                  <a:gd name="connsiteX2673" fmla="*/ 2861539 w 5338201"/>
                  <a:gd name="connsiteY2673" fmla="*/ 1134715 h 4122274"/>
                  <a:gd name="connsiteX2674" fmla="*/ 2823997 w 5338201"/>
                  <a:gd name="connsiteY2674" fmla="*/ 1134715 h 4122274"/>
                  <a:gd name="connsiteX2675" fmla="*/ 2814939 w 5338201"/>
                  <a:gd name="connsiteY2675" fmla="*/ 1125654 h 4122274"/>
                  <a:gd name="connsiteX2676" fmla="*/ 2814939 w 5338201"/>
                  <a:gd name="connsiteY2676" fmla="*/ 1066912 h 4122274"/>
                  <a:gd name="connsiteX2677" fmla="*/ 2823997 w 5338201"/>
                  <a:gd name="connsiteY2677" fmla="*/ 1057851 h 4122274"/>
                  <a:gd name="connsiteX2678" fmla="*/ 2747666 w 5338201"/>
                  <a:gd name="connsiteY2678" fmla="*/ 1057851 h 4122274"/>
                  <a:gd name="connsiteX2679" fmla="*/ 2748210 w 5338201"/>
                  <a:gd name="connsiteY2679" fmla="*/ 1057851 h 4122274"/>
                  <a:gd name="connsiteX2680" fmla="*/ 2748391 w 5338201"/>
                  <a:gd name="connsiteY2680" fmla="*/ 1057851 h 4122274"/>
                  <a:gd name="connsiteX2681" fmla="*/ 2748572 w 5338201"/>
                  <a:gd name="connsiteY2681" fmla="*/ 1057851 h 4122274"/>
                  <a:gd name="connsiteX2682" fmla="*/ 2749478 w 5338201"/>
                  <a:gd name="connsiteY2682" fmla="*/ 1057851 h 4122274"/>
                  <a:gd name="connsiteX2683" fmla="*/ 2756725 w 5338201"/>
                  <a:gd name="connsiteY2683" fmla="*/ 1061656 h 4122274"/>
                  <a:gd name="connsiteX2684" fmla="*/ 2783376 w 5338201"/>
                  <a:gd name="connsiteY2684" fmla="*/ 1098453 h 4122274"/>
                  <a:gd name="connsiteX2685" fmla="*/ 2783376 w 5338201"/>
                  <a:gd name="connsiteY2685" fmla="*/ 1066912 h 4122274"/>
                  <a:gd name="connsiteX2686" fmla="*/ 2792455 w 5338201"/>
                  <a:gd name="connsiteY2686" fmla="*/ 1057851 h 4122274"/>
                  <a:gd name="connsiteX2687" fmla="*/ 2793179 w 5338201"/>
                  <a:gd name="connsiteY2687" fmla="*/ 1057851 h 4122274"/>
                  <a:gd name="connsiteX2688" fmla="*/ 2802056 w 5338201"/>
                  <a:gd name="connsiteY2688" fmla="*/ 1066912 h 4122274"/>
                  <a:gd name="connsiteX2689" fmla="*/ 2802056 w 5338201"/>
                  <a:gd name="connsiteY2689" fmla="*/ 1125654 h 4122274"/>
                  <a:gd name="connsiteX2690" fmla="*/ 2793179 w 5338201"/>
                  <a:gd name="connsiteY2690" fmla="*/ 1134715 h 4122274"/>
                  <a:gd name="connsiteX2691" fmla="*/ 2792455 w 5338201"/>
                  <a:gd name="connsiteY2691" fmla="*/ 1134715 h 4122274"/>
                  <a:gd name="connsiteX2692" fmla="*/ 2792273 w 5338201"/>
                  <a:gd name="connsiteY2692" fmla="*/ 1134715 h 4122274"/>
                  <a:gd name="connsiteX2693" fmla="*/ 2792092 w 5338201"/>
                  <a:gd name="connsiteY2693" fmla="*/ 1134715 h 4122274"/>
                  <a:gd name="connsiteX2694" fmla="*/ 2791368 w 5338201"/>
                  <a:gd name="connsiteY2694" fmla="*/ 1134715 h 4122274"/>
                  <a:gd name="connsiteX2695" fmla="*/ 2784101 w 5338201"/>
                  <a:gd name="connsiteY2695" fmla="*/ 1131101 h 4122274"/>
                  <a:gd name="connsiteX2696" fmla="*/ 2757268 w 5338201"/>
                  <a:gd name="connsiteY2696" fmla="*/ 1094113 h 4122274"/>
                  <a:gd name="connsiteX2697" fmla="*/ 2757268 w 5338201"/>
                  <a:gd name="connsiteY2697" fmla="*/ 1125654 h 4122274"/>
                  <a:gd name="connsiteX2698" fmla="*/ 2748210 w 5338201"/>
                  <a:gd name="connsiteY2698" fmla="*/ 1134715 h 4122274"/>
                  <a:gd name="connsiteX2699" fmla="*/ 2747666 w 5338201"/>
                  <a:gd name="connsiteY2699" fmla="*/ 1134715 h 4122274"/>
                  <a:gd name="connsiteX2700" fmla="*/ 2738588 w 5338201"/>
                  <a:gd name="connsiteY2700" fmla="*/ 1125654 h 4122274"/>
                  <a:gd name="connsiteX2701" fmla="*/ 2738588 w 5338201"/>
                  <a:gd name="connsiteY2701" fmla="*/ 1066912 h 4122274"/>
                  <a:gd name="connsiteX2702" fmla="*/ 2747666 w 5338201"/>
                  <a:gd name="connsiteY2702" fmla="*/ 1057851 h 4122274"/>
                  <a:gd name="connsiteX2703" fmla="*/ 2742231 w 5338201"/>
                  <a:gd name="connsiteY2703" fmla="*/ 1037723 h 4122274"/>
                  <a:gd name="connsiteX2704" fmla="*/ 2713024 w 5338201"/>
                  <a:gd name="connsiteY2704" fmla="*/ 1066912 h 4122274"/>
                  <a:gd name="connsiteX2705" fmla="*/ 2713024 w 5338201"/>
                  <a:gd name="connsiteY2705" fmla="*/ 1313499 h 4122274"/>
                  <a:gd name="connsiteX2706" fmla="*/ 2742231 w 5338201"/>
                  <a:gd name="connsiteY2706" fmla="*/ 1342515 h 4122274"/>
                  <a:gd name="connsiteX2707" fmla="*/ 3016556 w 5338201"/>
                  <a:gd name="connsiteY2707" fmla="*/ 1342515 h 4122274"/>
                  <a:gd name="connsiteX2708" fmla="*/ 3045563 w 5338201"/>
                  <a:gd name="connsiteY2708" fmla="*/ 1313499 h 4122274"/>
                  <a:gd name="connsiteX2709" fmla="*/ 3045563 w 5338201"/>
                  <a:gd name="connsiteY2709" fmla="*/ 1066912 h 4122274"/>
                  <a:gd name="connsiteX2710" fmla="*/ 3016556 w 5338201"/>
                  <a:gd name="connsiteY2710" fmla="*/ 1037723 h 4122274"/>
                  <a:gd name="connsiteX2711" fmla="*/ 253942 w 5338201"/>
                  <a:gd name="connsiteY2711" fmla="*/ 1030641 h 4122274"/>
                  <a:gd name="connsiteX2712" fmla="*/ 326609 w 5338201"/>
                  <a:gd name="connsiteY2712" fmla="*/ 1070506 h 4122274"/>
                  <a:gd name="connsiteX2713" fmla="*/ 326609 w 5338201"/>
                  <a:gd name="connsiteY2713" fmla="*/ 1281909 h 4122274"/>
                  <a:gd name="connsiteX2714" fmla="*/ 366253 w 5338201"/>
                  <a:gd name="connsiteY2714" fmla="*/ 1321545 h 4122274"/>
                  <a:gd name="connsiteX2715" fmla="*/ 260543 w 5338201"/>
                  <a:gd name="connsiteY2715" fmla="*/ 1321545 h 4122274"/>
                  <a:gd name="connsiteX2716" fmla="*/ 260543 w 5338201"/>
                  <a:gd name="connsiteY2716" fmla="*/ 1215837 h 4122274"/>
                  <a:gd name="connsiteX2717" fmla="*/ 300186 w 5338201"/>
                  <a:gd name="connsiteY2717" fmla="*/ 1255472 h 4122274"/>
                  <a:gd name="connsiteX2718" fmla="*/ 300186 w 5338201"/>
                  <a:gd name="connsiteY2718" fmla="*/ 1096930 h 4122274"/>
                  <a:gd name="connsiteX2719" fmla="*/ 253942 w 5338201"/>
                  <a:gd name="connsiteY2719" fmla="*/ 1069240 h 4122274"/>
                  <a:gd name="connsiteX2720" fmla="*/ 72679 w 5338201"/>
                  <a:gd name="connsiteY2720" fmla="*/ 1030641 h 4122274"/>
                  <a:gd name="connsiteX2721" fmla="*/ 178402 w 5338201"/>
                  <a:gd name="connsiteY2721" fmla="*/ 1030641 h 4122274"/>
                  <a:gd name="connsiteX2722" fmla="*/ 178402 w 5338201"/>
                  <a:gd name="connsiteY2722" fmla="*/ 1136352 h 4122274"/>
                  <a:gd name="connsiteX2723" fmla="*/ 138746 w 5338201"/>
                  <a:gd name="connsiteY2723" fmla="*/ 1096702 h 4122274"/>
                  <a:gd name="connsiteX2724" fmla="*/ 138746 w 5338201"/>
                  <a:gd name="connsiteY2724" fmla="*/ 1255234 h 4122274"/>
                  <a:gd name="connsiteX2725" fmla="*/ 184991 w 5338201"/>
                  <a:gd name="connsiteY2725" fmla="*/ 1282951 h 4122274"/>
                  <a:gd name="connsiteX2726" fmla="*/ 184991 w 5338201"/>
                  <a:gd name="connsiteY2726" fmla="*/ 1321550 h 4122274"/>
                  <a:gd name="connsiteX2727" fmla="*/ 112304 w 5338201"/>
                  <a:gd name="connsiteY2727" fmla="*/ 1281685 h 4122274"/>
                  <a:gd name="connsiteX2728" fmla="*/ 112323 w 5338201"/>
                  <a:gd name="connsiteY2728" fmla="*/ 1070291 h 4122274"/>
                  <a:gd name="connsiteX2729" fmla="*/ 3287010 w 5338201"/>
                  <a:gd name="connsiteY2729" fmla="*/ 1008831 h 4122274"/>
                  <a:gd name="connsiteX2730" fmla="*/ 3353261 w 5338201"/>
                  <a:gd name="connsiteY2730" fmla="*/ 1008831 h 4122274"/>
                  <a:gd name="connsiteX2731" fmla="*/ 3353261 w 5338201"/>
                  <a:gd name="connsiteY2731" fmla="*/ 1084445 h 4122274"/>
                  <a:gd name="connsiteX2732" fmla="*/ 3304545 w 5338201"/>
                  <a:gd name="connsiteY2732" fmla="*/ 1084445 h 4122274"/>
                  <a:gd name="connsiteX2733" fmla="*/ 3285155 w 5338201"/>
                  <a:gd name="connsiteY2733" fmla="*/ 1101841 h 4122274"/>
                  <a:gd name="connsiteX2734" fmla="*/ 3285155 w 5338201"/>
                  <a:gd name="connsiteY2734" fmla="*/ 1151513 h 4122274"/>
                  <a:gd name="connsiteX2735" fmla="*/ 3353158 w 5338201"/>
                  <a:gd name="connsiteY2735" fmla="*/ 1151513 h 4122274"/>
                  <a:gd name="connsiteX2736" fmla="*/ 3344787 w 5338201"/>
                  <a:gd name="connsiteY2736" fmla="*/ 1224413 h 4122274"/>
                  <a:gd name="connsiteX2737" fmla="*/ 3284820 w 5338201"/>
                  <a:gd name="connsiteY2737" fmla="*/ 1224413 h 4122274"/>
                  <a:gd name="connsiteX2738" fmla="*/ 3284820 w 5338201"/>
                  <a:gd name="connsiteY2738" fmla="*/ 1440236 h 4122274"/>
                  <a:gd name="connsiteX2739" fmla="*/ 3195413 w 5338201"/>
                  <a:gd name="connsiteY2739" fmla="*/ 1440236 h 4122274"/>
                  <a:gd name="connsiteX2740" fmla="*/ 3195413 w 5338201"/>
                  <a:gd name="connsiteY2740" fmla="*/ 1224393 h 4122274"/>
                  <a:gd name="connsiteX2741" fmla="*/ 3151908 w 5338201"/>
                  <a:gd name="connsiteY2741" fmla="*/ 1224393 h 4122274"/>
                  <a:gd name="connsiteX2742" fmla="*/ 3151908 w 5338201"/>
                  <a:gd name="connsiteY2742" fmla="*/ 1151753 h 4122274"/>
                  <a:gd name="connsiteX2743" fmla="*/ 3195413 w 5338201"/>
                  <a:gd name="connsiteY2743" fmla="*/ 1151753 h 4122274"/>
                  <a:gd name="connsiteX2744" fmla="*/ 3195413 w 5338201"/>
                  <a:gd name="connsiteY2744" fmla="*/ 1092374 h 4122274"/>
                  <a:gd name="connsiteX2745" fmla="*/ 3287010 w 5338201"/>
                  <a:gd name="connsiteY2745" fmla="*/ 1008831 h 4122274"/>
                  <a:gd name="connsiteX2746" fmla="*/ 2742231 w 5338201"/>
                  <a:gd name="connsiteY2746" fmla="*/ 1003451 h 4122274"/>
                  <a:gd name="connsiteX2747" fmla="*/ 3016556 w 5338201"/>
                  <a:gd name="connsiteY2747" fmla="*/ 1003451 h 4122274"/>
                  <a:gd name="connsiteX2748" fmla="*/ 3079843 w 5338201"/>
                  <a:gd name="connsiteY2748" fmla="*/ 1062019 h 4122274"/>
                  <a:gd name="connsiteX2749" fmla="*/ 3113379 w 5338201"/>
                  <a:gd name="connsiteY2749" fmla="*/ 1117855 h 4122274"/>
                  <a:gd name="connsiteX2750" fmla="*/ 3113379 w 5338201"/>
                  <a:gd name="connsiteY2750" fmla="*/ 1313499 h 4122274"/>
                  <a:gd name="connsiteX2751" fmla="*/ 3049730 w 5338201"/>
                  <a:gd name="connsiteY2751" fmla="*/ 1376961 h 4122274"/>
                  <a:gd name="connsiteX2752" fmla="*/ 2742231 w 5338201"/>
                  <a:gd name="connsiteY2752" fmla="*/ 1376961 h 4122274"/>
                  <a:gd name="connsiteX2753" fmla="*/ 2678582 w 5338201"/>
                  <a:gd name="connsiteY2753" fmla="*/ 1313499 h 4122274"/>
                  <a:gd name="connsiteX2754" fmla="*/ 2678582 w 5338201"/>
                  <a:gd name="connsiteY2754" fmla="*/ 1066912 h 4122274"/>
                  <a:gd name="connsiteX2755" fmla="*/ 2742231 w 5338201"/>
                  <a:gd name="connsiteY2755" fmla="*/ 1003451 h 4122274"/>
                  <a:gd name="connsiteX2756" fmla="*/ 3494885 w 5338201"/>
                  <a:gd name="connsiteY2756" fmla="*/ 1003376 h 4122274"/>
                  <a:gd name="connsiteX2757" fmla="*/ 3502536 w 5338201"/>
                  <a:gd name="connsiteY2757" fmla="*/ 1007110 h 4122274"/>
                  <a:gd name="connsiteX2758" fmla="*/ 3574133 w 5338201"/>
                  <a:gd name="connsiteY2758" fmla="*/ 1103972 h 4122274"/>
                  <a:gd name="connsiteX2759" fmla="*/ 3604835 w 5338201"/>
                  <a:gd name="connsiteY2759" fmla="*/ 1124019 h 4122274"/>
                  <a:gd name="connsiteX2760" fmla="*/ 3610581 w 5338201"/>
                  <a:gd name="connsiteY2760" fmla="*/ 1115240 h 4122274"/>
                  <a:gd name="connsiteX2761" fmla="*/ 3610909 w 5338201"/>
                  <a:gd name="connsiteY2761" fmla="*/ 1114811 h 4122274"/>
                  <a:gd name="connsiteX2762" fmla="*/ 3611500 w 5338201"/>
                  <a:gd name="connsiteY2762" fmla="*/ 1114039 h 4122274"/>
                  <a:gd name="connsiteX2763" fmla="*/ 3611615 w 5338201"/>
                  <a:gd name="connsiteY2763" fmla="*/ 1113953 h 4122274"/>
                  <a:gd name="connsiteX2764" fmla="*/ 3612387 w 5338201"/>
                  <a:gd name="connsiteY2764" fmla="*/ 1113244 h 4122274"/>
                  <a:gd name="connsiteX2765" fmla="*/ 3612846 w 5338201"/>
                  <a:gd name="connsiteY2765" fmla="*/ 1112858 h 4122274"/>
                  <a:gd name="connsiteX2766" fmla="*/ 3613848 w 5338201"/>
                  <a:gd name="connsiteY2766" fmla="*/ 1112257 h 4122274"/>
                  <a:gd name="connsiteX2767" fmla="*/ 3614258 w 5338201"/>
                  <a:gd name="connsiteY2767" fmla="*/ 1112021 h 4122274"/>
                  <a:gd name="connsiteX2768" fmla="*/ 3615408 w 5338201"/>
                  <a:gd name="connsiteY2768" fmla="*/ 1111549 h 4122274"/>
                  <a:gd name="connsiteX2769" fmla="*/ 3615736 w 5338201"/>
                  <a:gd name="connsiteY2769" fmla="*/ 1111463 h 4122274"/>
                  <a:gd name="connsiteX2770" fmla="*/ 3617049 w 5338201"/>
                  <a:gd name="connsiteY2770" fmla="*/ 1111162 h 4122274"/>
                  <a:gd name="connsiteX2771" fmla="*/ 3617213 w 5338201"/>
                  <a:gd name="connsiteY2771" fmla="*/ 1111162 h 4122274"/>
                  <a:gd name="connsiteX2772" fmla="*/ 3623288 w 5338201"/>
                  <a:gd name="connsiteY2772" fmla="*/ 1112558 h 4122274"/>
                  <a:gd name="connsiteX2773" fmla="*/ 3652971 w 5338201"/>
                  <a:gd name="connsiteY2773" fmla="*/ 1131939 h 4122274"/>
                  <a:gd name="connsiteX2774" fmla="*/ 3653316 w 5338201"/>
                  <a:gd name="connsiteY2774" fmla="*/ 1132196 h 4122274"/>
                  <a:gd name="connsiteX2775" fmla="*/ 3725373 w 5338201"/>
                  <a:gd name="connsiteY2775" fmla="*/ 1179243 h 4122274"/>
                  <a:gd name="connsiteX2776" fmla="*/ 3728033 w 5338201"/>
                  <a:gd name="connsiteY2776" fmla="*/ 1191949 h 4122274"/>
                  <a:gd name="connsiteX2777" fmla="*/ 3715326 w 5338201"/>
                  <a:gd name="connsiteY2777" fmla="*/ 1194632 h 4122274"/>
                  <a:gd name="connsiteX2778" fmla="*/ 3658553 w 5338201"/>
                  <a:gd name="connsiteY2778" fmla="*/ 1157566 h 4122274"/>
                  <a:gd name="connsiteX2779" fmla="*/ 3704326 w 5338201"/>
                  <a:gd name="connsiteY2779" fmla="*/ 1216997 h 4122274"/>
                  <a:gd name="connsiteX2780" fmla="*/ 3702651 w 5338201"/>
                  <a:gd name="connsiteY2780" fmla="*/ 1229875 h 4122274"/>
                  <a:gd name="connsiteX2781" fmla="*/ 3692029 w 5338201"/>
                  <a:gd name="connsiteY2781" fmla="*/ 1230282 h 4122274"/>
                  <a:gd name="connsiteX2782" fmla="*/ 3689763 w 5338201"/>
                  <a:gd name="connsiteY2782" fmla="*/ 1228200 h 4122274"/>
                  <a:gd name="connsiteX2783" fmla="*/ 3641774 w 5338201"/>
                  <a:gd name="connsiteY2783" fmla="*/ 1165872 h 4122274"/>
                  <a:gd name="connsiteX2784" fmla="*/ 3623354 w 5338201"/>
                  <a:gd name="connsiteY2784" fmla="*/ 1194053 h 4122274"/>
                  <a:gd name="connsiteX2785" fmla="*/ 3628476 w 5338201"/>
                  <a:gd name="connsiteY2785" fmla="*/ 1296303 h 4122274"/>
                  <a:gd name="connsiteX2786" fmla="*/ 3539377 w 5338201"/>
                  <a:gd name="connsiteY2786" fmla="*/ 1432743 h 4122274"/>
                  <a:gd name="connsiteX2787" fmla="*/ 3459538 w 5338201"/>
                  <a:gd name="connsiteY2787" fmla="*/ 1449527 h 4122274"/>
                  <a:gd name="connsiteX2788" fmla="*/ 3410318 w 5338201"/>
                  <a:gd name="connsiteY2788" fmla="*/ 1417376 h 4122274"/>
                  <a:gd name="connsiteX2789" fmla="*/ 3393555 w 5338201"/>
                  <a:gd name="connsiteY2789" fmla="*/ 1337533 h 4122274"/>
                  <a:gd name="connsiteX2790" fmla="*/ 3482638 w 5338201"/>
                  <a:gd name="connsiteY2790" fmla="*/ 1201093 h 4122274"/>
                  <a:gd name="connsiteX2791" fmla="*/ 3578320 w 5338201"/>
                  <a:gd name="connsiteY2791" fmla="*/ 1164648 h 4122274"/>
                  <a:gd name="connsiteX2792" fmla="*/ 3594803 w 5338201"/>
                  <a:gd name="connsiteY2792" fmla="*/ 1139408 h 4122274"/>
                  <a:gd name="connsiteX2793" fmla="*/ 3563675 w 5338201"/>
                  <a:gd name="connsiteY2793" fmla="*/ 1119082 h 4122274"/>
                  <a:gd name="connsiteX2794" fmla="*/ 3450180 w 5338201"/>
                  <a:gd name="connsiteY2794" fmla="*/ 1086351 h 4122274"/>
                  <a:gd name="connsiteX2795" fmla="*/ 3447734 w 5338201"/>
                  <a:gd name="connsiteY2795" fmla="*/ 1085214 h 4122274"/>
                  <a:gd name="connsiteX2796" fmla="*/ 3444122 w 5338201"/>
                  <a:gd name="connsiteY2796" fmla="*/ 1080728 h 4122274"/>
                  <a:gd name="connsiteX2797" fmla="*/ 3445041 w 5338201"/>
                  <a:gd name="connsiteY2797" fmla="*/ 1072508 h 4122274"/>
                  <a:gd name="connsiteX2798" fmla="*/ 3487464 w 5338201"/>
                  <a:gd name="connsiteY2798" fmla="*/ 1007561 h 4122274"/>
                  <a:gd name="connsiteX2799" fmla="*/ 3494885 w 5338201"/>
                  <a:gd name="connsiteY2799" fmla="*/ 1003376 h 4122274"/>
                  <a:gd name="connsiteX2800" fmla="*/ 1404199 w 5338201"/>
                  <a:gd name="connsiteY2800" fmla="*/ 943392 h 4122274"/>
                  <a:gd name="connsiteX2801" fmla="*/ 1712582 w 5338201"/>
                  <a:gd name="connsiteY2801" fmla="*/ 950560 h 4122274"/>
                  <a:gd name="connsiteX2802" fmla="*/ 1750022 w 5338201"/>
                  <a:gd name="connsiteY2802" fmla="*/ 989981 h 4122274"/>
                  <a:gd name="connsiteX2803" fmla="*/ 1742135 w 5338201"/>
                  <a:gd name="connsiteY2803" fmla="*/ 1336916 h 4122274"/>
                  <a:gd name="connsiteX2804" fmla="*/ 1666838 w 5338201"/>
                  <a:gd name="connsiteY2804" fmla="*/ 1258021 h 4122274"/>
                  <a:gd name="connsiteX2805" fmla="*/ 1397037 w 5338201"/>
                  <a:gd name="connsiteY2805" fmla="*/ 1251746 h 4122274"/>
                  <a:gd name="connsiteX2806" fmla="*/ 1359380 w 5338201"/>
                  <a:gd name="connsiteY2806" fmla="*/ 1212326 h 4122274"/>
                  <a:gd name="connsiteX2807" fmla="*/ 1364746 w 5338201"/>
                  <a:gd name="connsiteY2807" fmla="*/ 981006 h 4122274"/>
                  <a:gd name="connsiteX2808" fmla="*/ 1404199 w 5338201"/>
                  <a:gd name="connsiteY2808" fmla="*/ 943392 h 4122274"/>
                  <a:gd name="connsiteX2809" fmla="*/ 5023473 w 5338201"/>
                  <a:gd name="connsiteY2809" fmla="*/ 907816 h 4122274"/>
                  <a:gd name="connsiteX2810" fmla="*/ 5088336 w 5338201"/>
                  <a:gd name="connsiteY2810" fmla="*/ 935877 h 4122274"/>
                  <a:gd name="connsiteX2811" fmla="*/ 5144758 w 5338201"/>
                  <a:gd name="connsiteY2811" fmla="*/ 914301 h 4122274"/>
                  <a:gd name="connsiteX2812" fmla="*/ 5105700 w 5338201"/>
                  <a:gd name="connsiteY2812" fmla="*/ 963480 h 4122274"/>
                  <a:gd name="connsiteX2813" fmla="*/ 5156728 w 5338201"/>
                  <a:gd name="connsiteY2813" fmla="*/ 949481 h 4122274"/>
                  <a:gd name="connsiteX2814" fmla="*/ 5112377 w 5338201"/>
                  <a:gd name="connsiteY2814" fmla="*/ 995464 h 4122274"/>
                  <a:gd name="connsiteX2815" fmla="*/ 5112637 w 5338201"/>
                  <a:gd name="connsiteY2815" fmla="*/ 1006967 h 4122274"/>
                  <a:gd name="connsiteX2816" fmla="*/ 4859842 w 5338201"/>
                  <a:gd name="connsiteY2816" fmla="*/ 1259772 h 4122274"/>
                  <a:gd name="connsiteX2817" fmla="*/ 4723640 w 5338201"/>
                  <a:gd name="connsiteY2817" fmla="*/ 1219851 h 4122274"/>
                  <a:gd name="connsiteX2818" fmla="*/ 4744833 w 5338201"/>
                  <a:gd name="connsiteY2818" fmla="*/ 1221090 h 4122274"/>
                  <a:gd name="connsiteX2819" fmla="*/ 4855190 w 5338201"/>
                  <a:gd name="connsiteY2819" fmla="*/ 1183059 h 4122274"/>
                  <a:gd name="connsiteX2820" fmla="*/ 4772182 w 5338201"/>
                  <a:gd name="connsiteY2820" fmla="*/ 1121352 h 4122274"/>
                  <a:gd name="connsiteX2821" fmla="*/ 4788904 w 5338201"/>
                  <a:gd name="connsiteY2821" fmla="*/ 1122949 h 4122274"/>
                  <a:gd name="connsiteX2822" fmla="*/ 4812303 w 5338201"/>
                  <a:gd name="connsiteY2822" fmla="*/ 1119837 h 4122274"/>
                  <a:gd name="connsiteX2823" fmla="*/ 4741024 w 5338201"/>
                  <a:gd name="connsiteY2823" fmla="*/ 1032714 h 4122274"/>
                  <a:gd name="connsiteX2824" fmla="*/ 4741044 w 5338201"/>
                  <a:gd name="connsiteY2824" fmla="*/ 1031588 h 4122274"/>
                  <a:gd name="connsiteX2825" fmla="*/ 4781285 w 5338201"/>
                  <a:gd name="connsiteY2825" fmla="*/ 1042700 h 4122274"/>
                  <a:gd name="connsiteX2826" fmla="*/ 4741766 w 5338201"/>
                  <a:gd name="connsiteY2826" fmla="*/ 968757 h 4122274"/>
                  <a:gd name="connsiteX2827" fmla="*/ 4753776 w 5338201"/>
                  <a:gd name="connsiteY2827" fmla="*/ 924080 h 4122274"/>
                  <a:gd name="connsiteX2828" fmla="*/ 4936916 w 5338201"/>
                  <a:gd name="connsiteY2828" fmla="*/ 1016923 h 4122274"/>
                  <a:gd name="connsiteX2829" fmla="*/ 4934630 w 5338201"/>
                  <a:gd name="connsiteY2829" fmla="*/ 996670 h 4122274"/>
                  <a:gd name="connsiteX2830" fmla="*/ 5023473 w 5338201"/>
                  <a:gd name="connsiteY2830" fmla="*/ 907816 h 4122274"/>
                  <a:gd name="connsiteX2831" fmla="*/ 4319063 w 5338201"/>
                  <a:gd name="connsiteY2831" fmla="*/ 899768 h 4122274"/>
                  <a:gd name="connsiteX2832" fmla="*/ 4475644 w 5338201"/>
                  <a:gd name="connsiteY2832" fmla="*/ 1029756 h 4122274"/>
                  <a:gd name="connsiteX2833" fmla="*/ 4481032 w 5338201"/>
                  <a:gd name="connsiteY2833" fmla="*/ 1029610 h 4122274"/>
                  <a:gd name="connsiteX2834" fmla="*/ 4604106 w 5338201"/>
                  <a:gd name="connsiteY2834" fmla="*/ 1120915 h 4122274"/>
                  <a:gd name="connsiteX2835" fmla="*/ 4611613 w 5338201"/>
                  <a:gd name="connsiteY2835" fmla="*/ 1120575 h 4122274"/>
                  <a:gd name="connsiteX2836" fmla="*/ 4694732 w 5338201"/>
                  <a:gd name="connsiteY2836" fmla="*/ 1203674 h 4122274"/>
                  <a:gd name="connsiteX2837" fmla="*/ 4611704 w 5338201"/>
                  <a:gd name="connsiteY2837" fmla="*/ 1286773 h 4122274"/>
                  <a:gd name="connsiteX2838" fmla="*/ 4159908 w 5338201"/>
                  <a:gd name="connsiteY2838" fmla="*/ 1286773 h 4122274"/>
                  <a:gd name="connsiteX2839" fmla="*/ 4040920 w 5338201"/>
                  <a:gd name="connsiteY2839" fmla="*/ 1167804 h 4122274"/>
                  <a:gd name="connsiteX2840" fmla="*/ 4159847 w 5338201"/>
                  <a:gd name="connsiteY2840" fmla="*/ 1048745 h 4122274"/>
                  <a:gd name="connsiteX2841" fmla="*/ 4160180 w 5338201"/>
                  <a:gd name="connsiteY2841" fmla="*/ 1048745 h 4122274"/>
                  <a:gd name="connsiteX2842" fmla="*/ 4319063 w 5338201"/>
                  <a:gd name="connsiteY2842" fmla="*/ 899768 h 4122274"/>
                  <a:gd name="connsiteX2843" fmla="*/ 646254 w 5338201"/>
                  <a:gd name="connsiteY2843" fmla="*/ 868703 h 4122274"/>
                  <a:gd name="connsiteX2844" fmla="*/ 632801 w 5338201"/>
                  <a:gd name="connsiteY2844" fmla="*/ 969431 h 4122274"/>
                  <a:gd name="connsiteX2845" fmla="*/ 663889 w 5338201"/>
                  <a:gd name="connsiteY2845" fmla="*/ 876734 h 4122274"/>
                  <a:gd name="connsiteX2846" fmla="*/ 646254 w 5338201"/>
                  <a:gd name="connsiteY2846" fmla="*/ 868703 h 4122274"/>
                  <a:gd name="connsiteX2847" fmla="*/ 2591447 w 5338201"/>
                  <a:gd name="connsiteY2847" fmla="*/ 850689 h 4122274"/>
                  <a:gd name="connsiteX2848" fmla="*/ 2617259 w 5338201"/>
                  <a:gd name="connsiteY2848" fmla="*/ 850689 h 4122274"/>
                  <a:gd name="connsiteX2849" fmla="*/ 2660712 w 5338201"/>
                  <a:gd name="connsiteY2849" fmla="*/ 894020 h 4122274"/>
                  <a:gd name="connsiteX2850" fmla="*/ 2660712 w 5338201"/>
                  <a:gd name="connsiteY2850" fmla="*/ 1014461 h 4122274"/>
                  <a:gd name="connsiteX2851" fmla="*/ 2547976 w 5338201"/>
                  <a:gd name="connsiteY2851" fmla="*/ 1014461 h 4122274"/>
                  <a:gd name="connsiteX2852" fmla="*/ 2547976 w 5338201"/>
                  <a:gd name="connsiteY2852" fmla="*/ 936631 h 4122274"/>
                  <a:gd name="connsiteX2853" fmla="*/ 2472464 w 5338201"/>
                  <a:gd name="connsiteY2853" fmla="*/ 970758 h 4122274"/>
                  <a:gd name="connsiteX2854" fmla="*/ 2478445 w 5338201"/>
                  <a:gd name="connsiteY2854" fmla="*/ 955783 h 4122274"/>
                  <a:gd name="connsiteX2855" fmla="*/ 2469048 w 5338201"/>
                  <a:gd name="connsiteY2855" fmla="*/ 929428 h 4122274"/>
                  <a:gd name="connsiteX2856" fmla="*/ 2540372 w 5338201"/>
                  <a:gd name="connsiteY2856" fmla="*/ 884065 h 4122274"/>
                  <a:gd name="connsiteX2857" fmla="*/ 2562954 w 5338201"/>
                  <a:gd name="connsiteY2857" fmla="*/ 861252 h 4122274"/>
                  <a:gd name="connsiteX2858" fmla="*/ 2563726 w 5338201"/>
                  <a:gd name="connsiteY2858" fmla="*/ 860841 h 4122274"/>
                  <a:gd name="connsiteX2859" fmla="*/ 2591447 w 5338201"/>
                  <a:gd name="connsiteY2859" fmla="*/ 850689 h 4122274"/>
                  <a:gd name="connsiteX2860" fmla="*/ 2285276 w 5338201"/>
                  <a:gd name="connsiteY2860" fmla="*/ 850689 h 4122274"/>
                  <a:gd name="connsiteX2861" fmla="*/ 2311075 w 5338201"/>
                  <a:gd name="connsiteY2861" fmla="*/ 850689 h 4122274"/>
                  <a:gd name="connsiteX2862" fmla="*/ 2338646 w 5338201"/>
                  <a:gd name="connsiteY2862" fmla="*/ 860841 h 4122274"/>
                  <a:gd name="connsiteX2863" fmla="*/ 2339464 w 5338201"/>
                  <a:gd name="connsiteY2863" fmla="*/ 861252 h 4122274"/>
                  <a:gd name="connsiteX2864" fmla="*/ 2362146 w 5338201"/>
                  <a:gd name="connsiteY2864" fmla="*/ 884065 h 4122274"/>
                  <a:gd name="connsiteX2865" fmla="*/ 2445944 w 5338201"/>
                  <a:gd name="connsiteY2865" fmla="*/ 931642 h 4122274"/>
                  <a:gd name="connsiteX2866" fmla="*/ 2464276 w 5338201"/>
                  <a:gd name="connsiteY2866" fmla="*/ 954456 h 4122274"/>
                  <a:gd name="connsiteX2867" fmla="*/ 2443645 w 5338201"/>
                  <a:gd name="connsiteY2867" fmla="*/ 972897 h 4122274"/>
                  <a:gd name="connsiteX2868" fmla="*/ 2441335 w 5338201"/>
                  <a:gd name="connsiteY2868" fmla="*/ 972769 h 4122274"/>
                  <a:gd name="connsiteX2869" fmla="*/ 2354544 w 5338201"/>
                  <a:gd name="connsiteY2869" fmla="*/ 936896 h 4122274"/>
                  <a:gd name="connsiteX2870" fmla="*/ 2354544 w 5338201"/>
                  <a:gd name="connsiteY2870" fmla="*/ 1014461 h 4122274"/>
                  <a:gd name="connsiteX2871" fmla="*/ 2241808 w 5338201"/>
                  <a:gd name="connsiteY2871" fmla="*/ 1014461 h 4122274"/>
                  <a:gd name="connsiteX2872" fmla="*/ 2241808 w 5338201"/>
                  <a:gd name="connsiteY2872" fmla="*/ 894020 h 4122274"/>
                  <a:gd name="connsiteX2873" fmla="*/ 2285276 w 5338201"/>
                  <a:gd name="connsiteY2873" fmla="*/ 850689 h 4122274"/>
                  <a:gd name="connsiteX2874" fmla="*/ 870925 w 5338201"/>
                  <a:gd name="connsiteY2874" fmla="*/ 842667 h 4122274"/>
                  <a:gd name="connsiteX2875" fmla="*/ 856064 w 5338201"/>
                  <a:gd name="connsiteY2875" fmla="*/ 856233 h 4122274"/>
                  <a:gd name="connsiteX2876" fmla="*/ 858588 w 5338201"/>
                  <a:gd name="connsiteY2876" fmla="*/ 858767 h 4122274"/>
                  <a:gd name="connsiteX2877" fmla="*/ 861209 w 5338201"/>
                  <a:gd name="connsiteY2877" fmla="*/ 861618 h 4122274"/>
                  <a:gd name="connsiteX2878" fmla="*/ 866232 w 5338201"/>
                  <a:gd name="connsiteY2878" fmla="*/ 867597 h 4122274"/>
                  <a:gd name="connsiteX2879" fmla="*/ 875175 w 5338201"/>
                  <a:gd name="connsiteY2879" fmla="*/ 880421 h 4122274"/>
                  <a:gd name="connsiteX2880" fmla="*/ 887286 w 5338201"/>
                  <a:gd name="connsiteY2880" fmla="*/ 909275 h 4122274"/>
                  <a:gd name="connsiteX2881" fmla="*/ 887286 w 5338201"/>
                  <a:gd name="connsiteY2881" fmla="*/ 940702 h 4122274"/>
                  <a:gd name="connsiteX2882" fmla="*/ 872812 w 5338201"/>
                  <a:gd name="connsiteY2882" fmla="*/ 969832 h 4122274"/>
                  <a:gd name="connsiteX2883" fmla="*/ 892052 w 5338201"/>
                  <a:gd name="connsiteY2883" fmla="*/ 942219 h 4122274"/>
                  <a:gd name="connsiteX2884" fmla="*/ 897236 w 5338201"/>
                  <a:gd name="connsiteY2884" fmla="*/ 907832 h 4122274"/>
                  <a:gd name="connsiteX2885" fmla="*/ 888681 w 5338201"/>
                  <a:gd name="connsiteY2885" fmla="*/ 873703 h 4122274"/>
                  <a:gd name="connsiteX2886" fmla="*/ 880884 w 5338201"/>
                  <a:gd name="connsiteY2886" fmla="*/ 857824 h 4122274"/>
                  <a:gd name="connsiteX2887" fmla="*/ 876231 w 5338201"/>
                  <a:gd name="connsiteY2887" fmla="*/ 850217 h 4122274"/>
                  <a:gd name="connsiteX2888" fmla="*/ 873707 w 5338201"/>
                  <a:gd name="connsiteY2888" fmla="*/ 846479 h 4122274"/>
                  <a:gd name="connsiteX2889" fmla="*/ 870925 w 5338201"/>
                  <a:gd name="connsiteY2889" fmla="*/ 842667 h 4122274"/>
                  <a:gd name="connsiteX2890" fmla="*/ 689146 w 5338201"/>
                  <a:gd name="connsiteY2890" fmla="*/ 839783 h 4122274"/>
                  <a:gd name="connsiteX2891" fmla="*/ 784836 w 5338201"/>
                  <a:gd name="connsiteY2891" fmla="*/ 961417 h 4122274"/>
                  <a:gd name="connsiteX2892" fmla="*/ 692552 w 5338201"/>
                  <a:gd name="connsiteY2892" fmla="*/ 1087593 h 4122274"/>
                  <a:gd name="connsiteX2893" fmla="*/ 698089 w 5338201"/>
                  <a:gd name="connsiteY2893" fmla="*/ 1095569 h 4122274"/>
                  <a:gd name="connsiteX2894" fmla="*/ 690421 w 5338201"/>
                  <a:gd name="connsiteY2894" fmla="*/ 1093543 h 4122274"/>
                  <a:gd name="connsiteX2895" fmla="*/ 690359 w 5338201"/>
                  <a:gd name="connsiteY2895" fmla="*/ 1121777 h 4122274"/>
                  <a:gd name="connsiteX2896" fmla="*/ 670326 w 5338201"/>
                  <a:gd name="connsiteY2896" fmla="*/ 1159326 h 4122274"/>
                  <a:gd name="connsiteX2897" fmla="*/ 693203 w 5338201"/>
                  <a:gd name="connsiteY2897" fmla="*/ 1185932 h 4122274"/>
                  <a:gd name="connsiteX2898" fmla="*/ 684261 w 5338201"/>
                  <a:gd name="connsiteY2898" fmla="*/ 1224493 h 4122274"/>
                  <a:gd name="connsiteX2899" fmla="*/ 676005 w 5338201"/>
                  <a:gd name="connsiteY2899" fmla="*/ 1222269 h 4122274"/>
                  <a:gd name="connsiteX2900" fmla="*/ 682103 w 5338201"/>
                  <a:gd name="connsiteY2900" fmla="*/ 1191864 h 4122274"/>
                  <a:gd name="connsiteX2901" fmla="*/ 684448 w 5338201"/>
                  <a:gd name="connsiteY2901" fmla="*/ 1178986 h 4122274"/>
                  <a:gd name="connsiteX2902" fmla="*/ 661544 w 5338201"/>
                  <a:gd name="connsiteY2902" fmla="*/ 1163667 h 4122274"/>
                  <a:gd name="connsiteX2903" fmla="*/ 659066 w 5338201"/>
                  <a:gd name="connsiteY2903" fmla="*/ 1156034 h 4122274"/>
                  <a:gd name="connsiteX2904" fmla="*/ 682308 w 5338201"/>
                  <a:gd name="connsiteY2904" fmla="*/ 1114343 h 4122274"/>
                  <a:gd name="connsiteX2905" fmla="*/ 682059 w 5338201"/>
                  <a:gd name="connsiteY2905" fmla="*/ 1092331 h 4122274"/>
                  <a:gd name="connsiteX2906" fmla="*/ 672662 w 5338201"/>
                  <a:gd name="connsiteY2906" fmla="*/ 1095280 h 4122274"/>
                  <a:gd name="connsiteX2907" fmla="*/ 677833 w 5338201"/>
                  <a:gd name="connsiteY2907" fmla="*/ 1085187 h 4122274"/>
                  <a:gd name="connsiteX2908" fmla="*/ 593475 w 5338201"/>
                  <a:gd name="connsiteY2908" fmla="*/ 961417 h 4122274"/>
                  <a:gd name="connsiteX2909" fmla="*/ 689146 w 5338201"/>
                  <a:gd name="connsiteY2909" fmla="*/ 839783 h 4122274"/>
                  <a:gd name="connsiteX2910" fmla="*/ 3450923 w 5338201"/>
                  <a:gd name="connsiteY2910" fmla="*/ 812517 h 4122274"/>
                  <a:gd name="connsiteX2911" fmla="*/ 3487108 w 5338201"/>
                  <a:gd name="connsiteY2911" fmla="*/ 844219 h 4122274"/>
                  <a:gd name="connsiteX2912" fmla="*/ 3494513 w 5338201"/>
                  <a:gd name="connsiteY2912" fmla="*/ 846981 h 4122274"/>
                  <a:gd name="connsiteX2913" fmla="*/ 3501903 w 5338201"/>
                  <a:gd name="connsiteY2913" fmla="*/ 844212 h 4122274"/>
                  <a:gd name="connsiteX2914" fmla="*/ 3538118 w 5338201"/>
                  <a:gd name="connsiteY2914" fmla="*/ 812517 h 4122274"/>
                  <a:gd name="connsiteX2915" fmla="*/ 3653184 w 5338201"/>
                  <a:gd name="connsiteY2915" fmla="*/ 941271 h 4122274"/>
                  <a:gd name="connsiteX2916" fmla="*/ 3629457 w 5338201"/>
                  <a:gd name="connsiteY2916" fmla="*/ 948192 h 4122274"/>
                  <a:gd name="connsiteX2917" fmla="*/ 3359569 w 5338201"/>
                  <a:gd name="connsiteY2917" fmla="*/ 948192 h 4122274"/>
                  <a:gd name="connsiteX2918" fmla="*/ 3335842 w 5338201"/>
                  <a:gd name="connsiteY2918" fmla="*/ 941271 h 4122274"/>
                  <a:gd name="connsiteX2919" fmla="*/ 820021 w 5338201"/>
                  <a:gd name="connsiteY2919" fmla="*/ 796156 h 4122274"/>
                  <a:gd name="connsiteX2920" fmla="*/ 915710 w 5338201"/>
                  <a:gd name="connsiteY2920" fmla="*/ 917789 h 4122274"/>
                  <a:gd name="connsiteX2921" fmla="*/ 824851 w 5338201"/>
                  <a:gd name="connsiteY2921" fmla="*/ 1043697 h 4122274"/>
                  <a:gd name="connsiteX2922" fmla="*/ 831132 w 5338201"/>
                  <a:gd name="connsiteY2922" fmla="*/ 1053524 h 4122274"/>
                  <a:gd name="connsiteX2923" fmla="*/ 821416 w 5338201"/>
                  <a:gd name="connsiteY2923" fmla="*/ 1051044 h 4122274"/>
                  <a:gd name="connsiteX2924" fmla="*/ 808546 w 5338201"/>
                  <a:gd name="connsiteY2924" fmla="*/ 1189815 h 4122274"/>
                  <a:gd name="connsiteX2925" fmla="*/ 800297 w 5338201"/>
                  <a:gd name="connsiteY2925" fmla="*/ 1187594 h 4122274"/>
                  <a:gd name="connsiteX2926" fmla="*/ 812183 w 5338201"/>
                  <a:gd name="connsiteY2926" fmla="*/ 1050433 h 4122274"/>
                  <a:gd name="connsiteX2927" fmla="*/ 805732 w 5338201"/>
                  <a:gd name="connsiteY2927" fmla="*/ 1053191 h 4122274"/>
                  <a:gd name="connsiteX2928" fmla="*/ 810868 w 5338201"/>
                  <a:gd name="connsiteY2928" fmla="*/ 1042364 h 4122274"/>
                  <a:gd name="connsiteX2929" fmla="*/ 777074 w 5338201"/>
                  <a:gd name="connsiteY2929" fmla="*/ 1020266 h 4122274"/>
                  <a:gd name="connsiteX2930" fmla="*/ 796241 w 5338201"/>
                  <a:gd name="connsiteY2930" fmla="*/ 958136 h 4122274"/>
                  <a:gd name="connsiteX2931" fmla="*/ 741539 w 5338201"/>
                  <a:gd name="connsiteY2931" fmla="*/ 848182 h 4122274"/>
                  <a:gd name="connsiteX2932" fmla="*/ 820021 w 5338201"/>
                  <a:gd name="connsiteY2932" fmla="*/ 796156 h 4122274"/>
                  <a:gd name="connsiteX2933" fmla="*/ 1403819 w 5338201"/>
                  <a:gd name="connsiteY2933" fmla="*/ 774838 h 4122274"/>
                  <a:gd name="connsiteX2934" fmla="*/ 1471432 w 5338201"/>
                  <a:gd name="connsiteY2934" fmla="*/ 827039 h 4122274"/>
                  <a:gd name="connsiteX2935" fmla="*/ 1419159 w 5338201"/>
                  <a:gd name="connsiteY2935" fmla="*/ 894664 h 4122274"/>
                  <a:gd name="connsiteX2936" fmla="*/ 1351630 w 5338201"/>
                  <a:gd name="connsiteY2936" fmla="*/ 842373 h 4122274"/>
                  <a:gd name="connsiteX2937" fmla="*/ 1403819 w 5338201"/>
                  <a:gd name="connsiteY2937" fmla="*/ 774838 h 4122274"/>
                  <a:gd name="connsiteX2938" fmla="*/ 1242671 w 5338201"/>
                  <a:gd name="connsiteY2938" fmla="*/ 759288 h 4122274"/>
                  <a:gd name="connsiteX2939" fmla="*/ 1269813 w 5338201"/>
                  <a:gd name="connsiteY2939" fmla="*/ 770329 h 4122274"/>
                  <a:gd name="connsiteX2940" fmla="*/ 1301312 w 5338201"/>
                  <a:gd name="connsiteY2940" fmla="*/ 817206 h 4122274"/>
                  <a:gd name="connsiteX2941" fmla="*/ 1301513 w 5338201"/>
                  <a:gd name="connsiteY2941" fmla="*/ 818184 h 4122274"/>
                  <a:gd name="connsiteX2942" fmla="*/ 1290200 w 5338201"/>
                  <a:gd name="connsiteY2942" fmla="*/ 874362 h 4122274"/>
                  <a:gd name="connsiteX2943" fmla="*/ 1152674 w 5338201"/>
                  <a:gd name="connsiteY2943" fmla="*/ 1082289 h 4122274"/>
                  <a:gd name="connsiteX2944" fmla="*/ 1085632 w 5338201"/>
                  <a:gd name="connsiteY2944" fmla="*/ 1127522 h 4122274"/>
                  <a:gd name="connsiteX2945" fmla="*/ 1006258 w 5338201"/>
                  <a:gd name="connsiteY2945" fmla="*/ 1112101 h 4122274"/>
                  <a:gd name="connsiteX2946" fmla="*/ 976447 w 5338201"/>
                  <a:gd name="connsiteY2946" fmla="*/ 965702 h 4122274"/>
                  <a:gd name="connsiteX2947" fmla="*/ 1092634 w 5338201"/>
                  <a:gd name="connsiteY2947" fmla="*/ 790087 h 4122274"/>
                  <a:gd name="connsiteX2948" fmla="*/ 1114073 w 5338201"/>
                  <a:gd name="connsiteY2948" fmla="*/ 785716 h 4122274"/>
                  <a:gd name="connsiteX2949" fmla="*/ 1118435 w 5338201"/>
                  <a:gd name="connsiteY2949" fmla="*/ 807152 h 4122274"/>
                  <a:gd name="connsiteX2950" fmla="*/ 1002248 w 5338201"/>
                  <a:gd name="connsiteY2950" fmla="*/ 982785 h 4122274"/>
                  <a:gd name="connsiteX2951" fmla="*/ 1023353 w 5338201"/>
                  <a:gd name="connsiteY2951" fmla="*/ 1086293 h 4122274"/>
                  <a:gd name="connsiteX2952" fmla="*/ 1079466 w 5338201"/>
                  <a:gd name="connsiteY2952" fmla="*/ 1097186 h 4122274"/>
                  <a:gd name="connsiteX2953" fmla="*/ 1126857 w 5338201"/>
                  <a:gd name="connsiteY2953" fmla="*/ 1065207 h 4122274"/>
                  <a:gd name="connsiteX2954" fmla="*/ 1264399 w 5338201"/>
                  <a:gd name="connsiteY2954" fmla="*/ 857315 h 4122274"/>
                  <a:gd name="connsiteX2955" fmla="*/ 1271133 w 5338201"/>
                  <a:gd name="connsiteY2955" fmla="*/ 823955 h 4122274"/>
                  <a:gd name="connsiteX2956" fmla="*/ 1252735 w 5338201"/>
                  <a:gd name="connsiteY2956" fmla="*/ 796154 h 4122274"/>
                  <a:gd name="connsiteX2957" fmla="*/ 1219398 w 5338201"/>
                  <a:gd name="connsiteY2957" fmla="*/ 789877 h 4122274"/>
                  <a:gd name="connsiteX2958" fmla="*/ 1191158 w 5338201"/>
                  <a:gd name="connsiteY2958" fmla="*/ 808848 h 4122274"/>
                  <a:gd name="connsiteX2959" fmla="*/ 1065613 w 5338201"/>
                  <a:gd name="connsiteY2959" fmla="*/ 998608 h 4122274"/>
                  <a:gd name="connsiteX2960" fmla="*/ 1063775 w 5338201"/>
                  <a:gd name="connsiteY2960" fmla="*/ 1008137 h 4122274"/>
                  <a:gd name="connsiteX2961" fmla="*/ 1069189 w 5338201"/>
                  <a:gd name="connsiteY2961" fmla="*/ 1016181 h 4122274"/>
                  <a:gd name="connsiteX2962" fmla="*/ 1086752 w 5338201"/>
                  <a:gd name="connsiteY2962" fmla="*/ 1012613 h 4122274"/>
                  <a:gd name="connsiteX2963" fmla="*/ 1190940 w 5338201"/>
                  <a:gd name="connsiteY2963" fmla="*/ 855129 h 4122274"/>
                  <a:gd name="connsiteX2964" fmla="*/ 1212397 w 5338201"/>
                  <a:gd name="connsiteY2964" fmla="*/ 850758 h 4122274"/>
                  <a:gd name="connsiteX2965" fmla="*/ 1216741 w 5338201"/>
                  <a:gd name="connsiteY2965" fmla="*/ 872194 h 4122274"/>
                  <a:gd name="connsiteX2966" fmla="*/ 1112569 w 5338201"/>
                  <a:gd name="connsiteY2966" fmla="*/ 1029661 h 4122274"/>
                  <a:gd name="connsiteX2967" fmla="*/ 1052128 w 5338201"/>
                  <a:gd name="connsiteY2967" fmla="*/ 1041987 h 4122274"/>
                  <a:gd name="connsiteX2968" fmla="*/ 1033429 w 5338201"/>
                  <a:gd name="connsiteY2968" fmla="*/ 1014327 h 4122274"/>
                  <a:gd name="connsiteX2969" fmla="*/ 1039796 w 5338201"/>
                  <a:gd name="connsiteY2969" fmla="*/ 981526 h 4122274"/>
                  <a:gd name="connsiteX2970" fmla="*/ 1165324 w 5338201"/>
                  <a:gd name="connsiteY2970" fmla="*/ 791765 h 4122274"/>
                  <a:gd name="connsiteX2971" fmla="*/ 1213148 w 5338201"/>
                  <a:gd name="connsiteY2971" fmla="*/ 759576 h 4122274"/>
                  <a:gd name="connsiteX2972" fmla="*/ 1242671 w 5338201"/>
                  <a:gd name="connsiteY2972" fmla="*/ 759288 h 4122274"/>
                  <a:gd name="connsiteX2973" fmla="*/ 3200574 w 5338201"/>
                  <a:gd name="connsiteY2973" fmla="*/ 757985 h 4122274"/>
                  <a:gd name="connsiteX2974" fmla="*/ 3021421 w 5338201"/>
                  <a:gd name="connsiteY2974" fmla="*/ 947430 h 4122274"/>
                  <a:gd name="connsiteX2975" fmla="*/ 3200574 w 5338201"/>
                  <a:gd name="connsiteY2975" fmla="*/ 757985 h 4122274"/>
                  <a:gd name="connsiteX2976" fmla="*/ 2841465 w 5338201"/>
                  <a:gd name="connsiteY2976" fmla="*/ 757985 h 4122274"/>
                  <a:gd name="connsiteX2977" fmla="*/ 3020621 w 5338201"/>
                  <a:gd name="connsiteY2977" fmla="*/ 947430 h 4122274"/>
                  <a:gd name="connsiteX2978" fmla="*/ 2841465 w 5338201"/>
                  <a:gd name="connsiteY2978" fmla="*/ 757985 h 4122274"/>
                  <a:gd name="connsiteX2979" fmla="*/ 2601995 w 5338201"/>
                  <a:gd name="connsiteY2979" fmla="*/ 741627 h 4122274"/>
                  <a:gd name="connsiteX2980" fmla="*/ 2649805 w 5338201"/>
                  <a:gd name="connsiteY2980" fmla="*/ 789442 h 4122274"/>
                  <a:gd name="connsiteX2981" fmla="*/ 2601995 w 5338201"/>
                  <a:gd name="connsiteY2981" fmla="*/ 837115 h 4122274"/>
                  <a:gd name="connsiteX2982" fmla="*/ 2554317 w 5338201"/>
                  <a:gd name="connsiteY2982" fmla="*/ 789442 h 4122274"/>
                  <a:gd name="connsiteX2983" fmla="*/ 2601995 w 5338201"/>
                  <a:gd name="connsiteY2983" fmla="*/ 741627 h 4122274"/>
                  <a:gd name="connsiteX2984" fmla="*/ 2296754 w 5338201"/>
                  <a:gd name="connsiteY2984" fmla="*/ 741627 h 4122274"/>
                  <a:gd name="connsiteX2985" fmla="*/ 2344432 w 5338201"/>
                  <a:gd name="connsiteY2985" fmla="*/ 789442 h 4122274"/>
                  <a:gd name="connsiteX2986" fmla="*/ 2296754 w 5338201"/>
                  <a:gd name="connsiteY2986" fmla="*/ 837115 h 4122274"/>
                  <a:gd name="connsiteX2987" fmla="*/ 2248943 w 5338201"/>
                  <a:gd name="connsiteY2987" fmla="*/ 789442 h 4122274"/>
                  <a:gd name="connsiteX2988" fmla="*/ 2296754 w 5338201"/>
                  <a:gd name="connsiteY2988" fmla="*/ 741627 h 4122274"/>
                  <a:gd name="connsiteX2989" fmla="*/ 3838879 w 5338201"/>
                  <a:gd name="connsiteY2989" fmla="*/ 719812 h 4122274"/>
                  <a:gd name="connsiteX2990" fmla="*/ 3930201 w 5338201"/>
                  <a:gd name="connsiteY2990" fmla="*/ 762423 h 4122274"/>
                  <a:gd name="connsiteX2991" fmla="*/ 4021543 w 5338201"/>
                  <a:gd name="connsiteY2991" fmla="*/ 719812 h 4122274"/>
                  <a:gd name="connsiteX2992" fmla="*/ 4133058 w 5338201"/>
                  <a:gd name="connsiteY2992" fmla="*/ 831328 h 4122274"/>
                  <a:gd name="connsiteX2993" fmla="*/ 3958639 w 5338201"/>
                  <a:gd name="connsiteY2993" fmla="*/ 1064689 h 4122274"/>
                  <a:gd name="connsiteX2994" fmla="*/ 3930201 w 5338201"/>
                  <a:gd name="connsiteY2994" fmla="*/ 1093025 h 4122274"/>
                  <a:gd name="connsiteX2995" fmla="*/ 3901764 w 5338201"/>
                  <a:gd name="connsiteY2995" fmla="*/ 1064689 h 4122274"/>
                  <a:gd name="connsiteX2996" fmla="*/ 3727345 w 5338201"/>
                  <a:gd name="connsiteY2996" fmla="*/ 831328 h 4122274"/>
                  <a:gd name="connsiteX2997" fmla="*/ 3838879 w 5338201"/>
                  <a:gd name="connsiteY2997" fmla="*/ 719812 h 4122274"/>
                  <a:gd name="connsiteX2998" fmla="*/ 3662540 w 5338201"/>
                  <a:gd name="connsiteY2998" fmla="*/ 698000 h 4122274"/>
                  <a:gd name="connsiteX2999" fmla="*/ 3669543 w 5338201"/>
                  <a:gd name="connsiteY2999" fmla="*/ 721893 h 4122274"/>
                  <a:gd name="connsiteX3000" fmla="*/ 3669543 w 5338201"/>
                  <a:gd name="connsiteY3000" fmla="*/ 901835 h 4122274"/>
                  <a:gd name="connsiteX3001" fmla="*/ 3663767 w 5338201"/>
                  <a:gd name="connsiteY3001" fmla="*/ 923461 h 4122274"/>
                  <a:gd name="connsiteX3002" fmla="*/ 3550149 w 5338201"/>
                  <a:gd name="connsiteY3002" fmla="*/ 796317 h 4122274"/>
                  <a:gd name="connsiteX3003" fmla="*/ 3317212 w 5338201"/>
                  <a:gd name="connsiteY3003" fmla="*/ 698000 h 4122274"/>
                  <a:gd name="connsiteX3004" fmla="*/ 3429605 w 5338201"/>
                  <a:gd name="connsiteY3004" fmla="*/ 796339 h 4122274"/>
                  <a:gd name="connsiteX3005" fmla="*/ 3316001 w 5338201"/>
                  <a:gd name="connsiteY3005" fmla="*/ 923461 h 4122274"/>
                  <a:gd name="connsiteX3006" fmla="*/ 3310208 w 5338201"/>
                  <a:gd name="connsiteY3006" fmla="*/ 901835 h 4122274"/>
                  <a:gd name="connsiteX3007" fmla="*/ 3310208 w 5338201"/>
                  <a:gd name="connsiteY3007" fmla="*/ 721893 h 4122274"/>
                  <a:gd name="connsiteX3008" fmla="*/ 3317212 w 5338201"/>
                  <a:gd name="connsiteY3008" fmla="*/ 698000 h 4122274"/>
                  <a:gd name="connsiteX3009" fmla="*/ 840980 w 5338201"/>
                  <a:gd name="connsiteY3009" fmla="*/ 698000 h 4122274"/>
                  <a:gd name="connsiteX3010" fmla="*/ 872086 w 5338201"/>
                  <a:gd name="connsiteY3010" fmla="*/ 698000 h 4122274"/>
                  <a:gd name="connsiteX3011" fmla="*/ 872086 w 5338201"/>
                  <a:gd name="connsiteY3011" fmla="*/ 743877 h 4122274"/>
                  <a:gd name="connsiteX3012" fmla="*/ 840980 w 5338201"/>
                  <a:gd name="connsiteY3012" fmla="*/ 743877 h 4122274"/>
                  <a:gd name="connsiteX3013" fmla="*/ 3356417 w 5338201"/>
                  <a:gd name="connsiteY3013" fmla="*/ 676189 h 4122274"/>
                  <a:gd name="connsiteX3014" fmla="*/ 3626300 w 5338201"/>
                  <a:gd name="connsiteY3014" fmla="*/ 676189 h 4122274"/>
                  <a:gd name="connsiteX3015" fmla="*/ 3647730 w 5338201"/>
                  <a:gd name="connsiteY3015" fmla="*/ 681850 h 4122274"/>
                  <a:gd name="connsiteX3016" fmla="*/ 3491351 w 5338201"/>
                  <a:gd name="connsiteY3016" fmla="*/ 818687 h 4122274"/>
                  <a:gd name="connsiteX3017" fmla="*/ 3334973 w 5338201"/>
                  <a:gd name="connsiteY3017" fmla="*/ 681850 h 4122274"/>
                  <a:gd name="connsiteX3018" fmla="*/ 3356417 w 5338201"/>
                  <a:gd name="connsiteY3018" fmla="*/ 676189 h 4122274"/>
                  <a:gd name="connsiteX3019" fmla="*/ 1931115 w 5338201"/>
                  <a:gd name="connsiteY3019" fmla="*/ 671850 h 4122274"/>
                  <a:gd name="connsiteX3020" fmla="*/ 1947731 w 5338201"/>
                  <a:gd name="connsiteY3020" fmla="*/ 676017 h 4122274"/>
                  <a:gd name="connsiteX3021" fmla="*/ 2010094 w 5338201"/>
                  <a:gd name="connsiteY3021" fmla="*/ 804656 h 4122274"/>
                  <a:gd name="connsiteX3022" fmla="*/ 2213557 w 5338201"/>
                  <a:gd name="connsiteY3022" fmla="*/ 938499 h 4122274"/>
                  <a:gd name="connsiteX3023" fmla="*/ 1996354 w 5338201"/>
                  <a:gd name="connsiteY3023" fmla="*/ 1185794 h 4122274"/>
                  <a:gd name="connsiteX3024" fmla="*/ 1779031 w 5338201"/>
                  <a:gd name="connsiteY3024" fmla="*/ 938499 h 4122274"/>
                  <a:gd name="connsiteX3025" fmla="*/ 1984002 w 5338201"/>
                  <a:gd name="connsiteY3025" fmla="*/ 805692 h 4122274"/>
                  <a:gd name="connsiteX3026" fmla="*/ 1939685 w 5338201"/>
                  <a:gd name="connsiteY3026" fmla="*/ 744239 h 4122274"/>
                  <a:gd name="connsiteX3027" fmla="*/ 1891203 w 5338201"/>
                  <a:gd name="connsiteY3027" fmla="*/ 701262 h 4122274"/>
                  <a:gd name="connsiteX3028" fmla="*/ 1892410 w 5338201"/>
                  <a:gd name="connsiteY3028" fmla="*/ 689955 h 4122274"/>
                  <a:gd name="connsiteX3029" fmla="*/ 958759 w 5338201"/>
                  <a:gd name="connsiteY3029" fmla="*/ 654376 h 4122274"/>
                  <a:gd name="connsiteX3030" fmla="*/ 986601 w 5338201"/>
                  <a:gd name="connsiteY3030" fmla="*/ 682361 h 4122274"/>
                  <a:gd name="connsiteX3031" fmla="*/ 964672 w 5338201"/>
                  <a:gd name="connsiteY3031" fmla="*/ 704303 h 4122274"/>
                  <a:gd name="connsiteX3032" fmla="*/ 936830 w 5338201"/>
                  <a:gd name="connsiteY3032" fmla="*/ 676302 h 4122274"/>
                  <a:gd name="connsiteX3033" fmla="*/ 752169 w 5338201"/>
                  <a:gd name="connsiteY3033" fmla="*/ 654376 h 4122274"/>
                  <a:gd name="connsiteX3034" fmla="*/ 773928 w 5338201"/>
                  <a:gd name="connsiteY3034" fmla="*/ 676131 h 4122274"/>
                  <a:gd name="connsiteX3035" fmla="*/ 746124 w 5338201"/>
                  <a:gd name="connsiteY3035" fmla="*/ 704141 h 4122274"/>
                  <a:gd name="connsiteX3036" fmla="*/ 724179 w 5338201"/>
                  <a:gd name="connsiteY3036" fmla="*/ 682200 h 4122274"/>
                  <a:gd name="connsiteX3037" fmla="*/ 2095576 w 5338201"/>
                  <a:gd name="connsiteY3037" fmla="*/ 643517 h 4122274"/>
                  <a:gd name="connsiteX3038" fmla="*/ 2103406 w 5338201"/>
                  <a:gd name="connsiteY3038" fmla="*/ 643617 h 4122274"/>
                  <a:gd name="connsiteX3039" fmla="*/ 2115251 w 5338201"/>
                  <a:gd name="connsiteY3039" fmla="*/ 655450 h 4122274"/>
                  <a:gd name="connsiteX3040" fmla="*/ 2086450 w 5338201"/>
                  <a:gd name="connsiteY3040" fmla="*/ 735164 h 4122274"/>
                  <a:gd name="connsiteX3041" fmla="*/ 2006771 w 5338201"/>
                  <a:gd name="connsiteY3041" fmla="*/ 764016 h 4122274"/>
                  <a:gd name="connsiteX3042" fmla="*/ 1994901 w 5338201"/>
                  <a:gd name="connsiteY3042" fmla="*/ 752153 h 4122274"/>
                  <a:gd name="connsiteX3043" fmla="*/ 2023750 w 5338201"/>
                  <a:gd name="connsiteY3043" fmla="*/ 672469 h 4122274"/>
                  <a:gd name="connsiteX3044" fmla="*/ 2095576 w 5338201"/>
                  <a:gd name="connsiteY3044" fmla="*/ 643517 h 4122274"/>
                  <a:gd name="connsiteX3045" fmla="*/ 417057 w 5338201"/>
                  <a:gd name="connsiteY3045" fmla="*/ 640111 h 4122274"/>
                  <a:gd name="connsiteX3046" fmla="*/ 515704 w 5338201"/>
                  <a:gd name="connsiteY3046" fmla="*/ 696186 h 4122274"/>
                  <a:gd name="connsiteX3047" fmla="*/ 510200 w 5338201"/>
                  <a:gd name="connsiteY3047" fmla="*/ 924306 h 4122274"/>
                  <a:gd name="connsiteX3048" fmla="*/ 439525 w 5338201"/>
                  <a:gd name="connsiteY3048" fmla="*/ 936504 h 4122274"/>
                  <a:gd name="connsiteX3049" fmla="*/ 467874 w 5338201"/>
                  <a:gd name="connsiteY3049" fmla="*/ 1005075 h 4122274"/>
                  <a:gd name="connsiteX3050" fmla="*/ 481411 w 5338201"/>
                  <a:gd name="connsiteY3050" fmla="*/ 1101894 h 4122274"/>
                  <a:gd name="connsiteX3051" fmla="*/ 475521 w 5338201"/>
                  <a:gd name="connsiteY3051" fmla="*/ 1104430 h 4122274"/>
                  <a:gd name="connsiteX3052" fmla="*/ 416573 w 5338201"/>
                  <a:gd name="connsiteY3052" fmla="*/ 1024408 h 4122274"/>
                  <a:gd name="connsiteX3053" fmla="*/ 358061 w 5338201"/>
                  <a:gd name="connsiteY3053" fmla="*/ 890132 h 4122274"/>
                  <a:gd name="connsiteX3054" fmla="*/ 326574 w 5338201"/>
                  <a:gd name="connsiteY3054" fmla="*/ 862000 h 4122274"/>
                  <a:gd name="connsiteX3055" fmla="*/ 326338 w 5338201"/>
                  <a:gd name="connsiteY3055" fmla="*/ 777604 h 4122274"/>
                  <a:gd name="connsiteX3056" fmla="*/ 378127 w 5338201"/>
                  <a:gd name="connsiteY3056" fmla="*/ 787865 h 4122274"/>
                  <a:gd name="connsiteX3057" fmla="*/ 415291 w 5338201"/>
                  <a:gd name="connsiteY3057" fmla="*/ 875992 h 4122274"/>
                  <a:gd name="connsiteX3058" fmla="*/ 478536 w 5338201"/>
                  <a:gd name="connsiteY3058" fmla="*/ 891584 h 4122274"/>
                  <a:gd name="connsiteX3059" fmla="*/ 461555 w 5338201"/>
                  <a:gd name="connsiteY3059" fmla="*/ 730560 h 4122274"/>
                  <a:gd name="connsiteX3060" fmla="*/ 314348 w 5338201"/>
                  <a:gd name="connsiteY3060" fmla="*/ 715551 h 4122274"/>
                  <a:gd name="connsiteX3061" fmla="*/ 286362 w 5338201"/>
                  <a:gd name="connsiteY3061" fmla="*/ 893040 h 4122274"/>
                  <a:gd name="connsiteX3062" fmla="*/ 330922 w 5338201"/>
                  <a:gd name="connsiteY3062" fmla="*/ 923733 h 4122274"/>
                  <a:gd name="connsiteX3063" fmla="*/ 342665 w 5338201"/>
                  <a:gd name="connsiteY3063" fmla="*/ 933151 h 4122274"/>
                  <a:gd name="connsiteX3064" fmla="*/ 350969 w 5338201"/>
                  <a:gd name="connsiteY3064" fmla="*/ 953144 h 4122274"/>
                  <a:gd name="connsiteX3065" fmla="*/ 344431 w 5338201"/>
                  <a:gd name="connsiteY3065" fmla="*/ 966250 h 4122274"/>
                  <a:gd name="connsiteX3066" fmla="*/ 241649 w 5338201"/>
                  <a:gd name="connsiteY3066" fmla="*/ 918368 h 4122274"/>
                  <a:gd name="connsiteX3067" fmla="*/ 293335 w 5338201"/>
                  <a:gd name="connsiteY3067" fmla="*/ 675512 h 4122274"/>
                  <a:gd name="connsiteX3068" fmla="*/ 417057 w 5338201"/>
                  <a:gd name="connsiteY3068" fmla="*/ 640111 h 4122274"/>
                  <a:gd name="connsiteX3069" fmla="*/ 1386084 w 5338201"/>
                  <a:gd name="connsiteY3069" fmla="*/ 628001 h 4122274"/>
                  <a:gd name="connsiteX3070" fmla="*/ 1630028 w 5338201"/>
                  <a:gd name="connsiteY3070" fmla="*/ 861049 h 4122274"/>
                  <a:gd name="connsiteX3071" fmla="*/ 1624515 w 5338201"/>
                  <a:gd name="connsiteY3071" fmla="*/ 868113 h 4122274"/>
                  <a:gd name="connsiteX3072" fmla="*/ 1548477 w 5338201"/>
                  <a:gd name="connsiteY3072" fmla="*/ 877832 h 4122274"/>
                  <a:gd name="connsiteX3073" fmla="*/ 1541462 w 5338201"/>
                  <a:gd name="connsiteY3073" fmla="*/ 872387 h 4122274"/>
                  <a:gd name="connsiteX3074" fmla="*/ 1341582 w 5338201"/>
                  <a:gd name="connsiteY3074" fmla="*/ 717887 h 4122274"/>
                  <a:gd name="connsiteX3075" fmla="*/ 1334538 w 5338201"/>
                  <a:gd name="connsiteY3075" fmla="*/ 712441 h 4122274"/>
                  <a:gd name="connsiteX3076" fmla="*/ 1324772 w 5338201"/>
                  <a:gd name="connsiteY3076" fmla="*/ 636099 h 4122274"/>
                  <a:gd name="connsiteX3077" fmla="*/ 1330187 w 5338201"/>
                  <a:gd name="connsiteY3077" fmla="*/ 629048 h 4122274"/>
                  <a:gd name="connsiteX3078" fmla="*/ 1332199 w 5338201"/>
                  <a:gd name="connsiteY3078" fmla="*/ 629037 h 4122274"/>
                  <a:gd name="connsiteX3079" fmla="*/ 1386084 w 5338201"/>
                  <a:gd name="connsiteY3079" fmla="*/ 628001 h 4122274"/>
                  <a:gd name="connsiteX3080" fmla="*/ 3018666 w 5338201"/>
                  <a:gd name="connsiteY3080" fmla="*/ 601850 h 4122274"/>
                  <a:gd name="connsiteX3081" fmla="*/ 2968895 w 5338201"/>
                  <a:gd name="connsiteY3081" fmla="*/ 654458 h 4122274"/>
                  <a:gd name="connsiteX3082" fmla="*/ 3018666 w 5338201"/>
                  <a:gd name="connsiteY3082" fmla="*/ 707078 h 4122274"/>
                  <a:gd name="connsiteX3083" fmla="*/ 3068414 w 5338201"/>
                  <a:gd name="connsiteY3083" fmla="*/ 654458 h 4122274"/>
                  <a:gd name="connsiteX3084" fmla="*/ 3018666 w 5338201"/>
                  <a:gd name="connsiteY3084" fmla="*/ 601850 h 4122274"/>
                  <a:gd name="connsiteX3085" fmla="*/ 4437266 w 5338201"/>
                  <a:gd name="connsiteY3085" fmla="*/ 573538 h 4122274"/>
                  <a:gd name="connsiteX3086" fmla="*/ 4478729 w 5338201"/>
                  <a:gd name="connsiteY3086" fmla="*/ 592410 h 4122274"/>
                  <a:gd name="connsiteX3087" fmla="*/ 4485909 w 5338201"/>
                  <a:gd name="connsiteY3087" fmla="*/ 597400 h 4122274"/>
                  <a:gd name="connsiteX3088" fmla="*/ 4553498 w 5338201"/>
                  <a:gd name="connsiteY3088" fmla="*/ 665024 h 4122274"/>
                  <a:gd name="connsiteX3089" fmla="*/ 4786255 w 5338201"/>
                  <a:gd name="connsiteY3089" fmla="*/ 637112 h 4122274"/>
                  <a:gd name="connsiteX3090" fmla="*/ 4797689 w 5338201"/>
                  <a:gd name="connsiteY3090" fmla="*/ 641071 h 4122274"/>
                  <a:gd name="connsiteX3091" fmla="*/ 4810632 w 5338201"/>
                  <a:gd name="connsiteY3091" fmla="*/ 654032 h 4122274"/>
                  <a:gd name="connsiteX3092" fmla="*/ 4806508 w 5338201"/>
                  <a:gd name="connsiteY3092" fmla="*/ 676459 h 4122274"/>
                  <a:gd name="connsiteX3093" fmla="*/ 4639719 w 5338201"/>
                  <a:gd name="connsiteY3093" fmla="*/ 751227 h 4122274"/>
                  <a:gd name="connsiteX3094" fmla="*/ 4687607 w 5338201"/>
                  <a:gd name="connsiteY3094" fmla="*/ 799115 h 4122274"/>
                  <a:gd name="connsiteX3095" fmla="*/ 4771250 w 5338201"/>
                  <a:gd name="connsiteY3095" fmla="*/ 799115 h 4122274"/>
                  <a:gd name="connsiteX3096" fmla="*/ 4781045 w 5338201"/>
                  <a:gd name="connsiteY3096" fmla="*/ 803167 h 4122274"/>
                  <a:gd name="connsiteX3097" fmla="*/ 4788041 w 5338201"/>
                  <a:gd name="connsiteY3097" fmla="*/ 810199 h 4122274"/>
                  <a:gd name="connsiteX3098" fmla="*/ 4783715 w 5338201"/>
                  <a:gd name="connsiteY3098" fmla="*/ 832716 h 4122274"/>
                  <a:gd name="connsiteX3099" fmla="*/ 4713143 w 5338201"/>
                  <a:gd name="connsiteY3099" fmla="*/ 862948 h 4122274"/>
                  <a:gd name="connsiteX3100" fmla="*/ 4682912 w 5338201"/>
                  <a:gd name="connsiteY3100" fmla="*/ 933520 h 4122274"/>
                  <a:gd name="connsiteX3101" fmla="*/ 4660395 w 5338201"/>
                  <a:gd name="connsiteY3101" fmla="*/ 937848 h 4122274"/>
                  <a:gd name="connsiteX3102" fmla="*/ 4653362 w 5338201"/>
                  <a:gd name="connsiteY3102" fmla="*/ 930813 h 4122274"/>
                  <a:gd name="connsiteX3103" fmla="*/ 4649329 w 5338201"/>
                  <a:gd name="connsiteY3103" fmla="*/ 921018 h 4122274"/>
                  <a:gd name="connsiteX3104" fmla="*/ 4649329 w 5338201"/>
                  <a:gd name="connsiteY3104" fmla="*/ 837374 h 4122274"/>
                  <a:gd name="connsiteX3105" fmla="*/ 4601441 w 5338201"/>
                  <a:gd name="connsiteY3105" fmla="*/ 789486 h 4122274"/>
                  <a:gd name="connsiteX3106" fmla="*/ 4526654 w 5338201"/>
                  <a:gd name="connsiteY3106" fmla="*/ 956313 h 4122274"/>
                  <a:gd name="connsiteX3107" fmla="*/ 4504210 w 5338201"/>
                  <a:gd name="connsiteY3107" fmla="*/ 960436 h 4122274"/>
                  <a:gd name="connsiteX3108" fmla="*/ 4491267 w 5338201"/>
                  <a:gd name="connsiteY3108" fmla="*/ 947494 h 4122274"/>
                  <a:gd name="connsiteX3109" fmla="*/ 4487309 w 5338201"/>
                  <a:gd name="connsiteY3109" fmla="*/ 936041 h 4122274"/>
                  <a:gd name="connsiteX3110" fmla="*/ 4515257 w 5338201"/>
                  <a:gd name="connsiteY3110" fmla="*/ 703301 h 4122274"/>
                  <a:gd name="connsiteX3111" fmla="*/ 4447632 w 5338201"/>
                  <a:gd name="connsiteY3111" fmla="*/ 635695 h 4122274"/>
                  <a:gd name="connsiteX3112" fmla="*/ 4442643 w 5338201"/>
                  <a:gd name="connsiteY3112" fmla="*/ 628497 h 4122274"/>
                  <a:gd name="connsiteX3113" fmla="*/ 4423771 w 5338201"/>
                  <a:gd name="connsiteY3113" fmla="*/ 587014 h 4122274"/>
                  <a:gd name="connsiteX3114" fmla="*/ 4437266 w 5338201"/>
                  <a:gd name="connsiteY3114" fmla="*/ 573538 h 4122274"/>
                  <a:gd name="connsiteX3115" fmla="*/ 978138 w 5338201"/>
                  <a:gd name="connsiteY3115" fmla="*/ 556219 h 4122274"/>
                  <a:gd name="connsiteX3116" fmla="*/ 1024773 w 5338201"/>
                  <a:gd name="connsiteY3116" fmla="*/ 556219 h 4122274"/>
                  <a:gd name="connsiteX3117" fmla="*/ 1024773 w 5338201"/>
                  <a:gd name="connsiteY3117" fmla="*/ 587325 h 4122274"/>
                  <a:gd name="connsiteX3118" fmla="*/ 978138 w 5338201"/>
                  <a:gd name="connsiteY3118" fmla="*/ 587325 h 4122274"/>
                  <a:gd name="connsiteX3119" fmla="*/ 978138 w 5338201"/>
                  <a:gd name="connsiteY3119" fmla="*/ 556219 h 4122274"/>
                  <a:gd name="connsiteX3120" fmla="*/ 683653 w 5338201"/>
                  <a:gd name="connsiteY3120" fmla="*/ 556219 h 4122274"/>
                  <a:gd name="connsiteX3121" fmla="*/ 730304 w 5338201"/>
                  <a:gd name="connsiteY3121" fmla="*/ 556219 h 4122274"/>
                  <a:gd name="connsiteX3122" fmla="*/ 730304 w 5338201"/>
                  <a:gd name="connsiteY3122" fmla="*/ 587325 h 4122274"/>
                  <a:gd name="connsiteX3123" fmla="*/ 683653 w 5338201"/>
                  <a:gd name="connsiteY3123" fmla="*/ 587325 h 4122274"/>
                  <a:gd name="connsiteX3124" fmla="*/ 2642404 w 5338201"/>
                  <a:gd name="connsiteY3124" fmla="*/ 549473 h 4122274"/>
                  <a:gd name="connsiteX3125" fmla="*/ 2633261 w 5338201"/>
                  <a:gd name="connsiteY3125" fmla="*/ 556630 h 4122274"/>
                  <a:gd name="connsiteX3126" fmla="*/ 2626208 w 5338201"/>
                  <a:gd name="connsiteY3126" fmla="*/ 575847 h 4122274"/>
                  <a:gd name="connsiteX3127" fmla="*/ 2606378 w 5338201"/>
                  <a:gd name="connsiteY3127" fmla="*/ 580939 h 4122274"/>
                  <a:gd name="connsiteX3128" fmla="*/ 2598342 w 5338201"/>
                  <a:gd name="connsiteY3128" fmla="*/ 589353 h 4122274"/>
                  <a:gd name="connsiteX3129" fmla="*/ 2602323 w 5338201"/>
                  <a:gd name="connsiteY3129" fmla="*/ 600266 h 4122274"/>
                  <a:gd name="connsiteX3130" fmla="*/ 2618420 w 5338201"/>
                  <a:gd name="connsiteY3130" fmla="*/ 612898 h 4122274"/>
                  <a:gd name="connsiteX3131" fmla="*/ 2617164 w 5338201"/>
                  <a:gd name="connsiteY3131" fmla="*/ 633340 h 4122274"/>
                  <a:gd name="connsiteX3132" fmla="*/ 2622650 w 5338201"/>
                  <a:gd name="connsiteY3132" fmla="*/ 643584 h 4122274"/>
                  <a:gd name="connsiteX3133" fmla="*/ 2628148 w 5338201"/>
                  <a:gd name="connsiteY3133" fmla="*/ 645030 h 4122274"/>
                  <a:gd name="connsiteX3134" fmla="*/ 2634293 w 5338201"/>
                  <a:gd name="connsiteY3134" fmla="*/ 643170 h 4122274"/>
                  <a:gd name="connsiteX3135" fmla="*/ 2651261 w 5338201"/>
                  <a:gd name="connsiteY3135" fmla="*/ 631763 h 4122274"/>
                  <a:gd name="connsiteX3136" fmla="*/ 2670307 w 5338201"/>
                  <a:gd name="connsiteY3136" fmla="*/ 639288 h 4122274"/>
                  <a:gd name="connsiteX3137" fmla="*/ 2681764 w 5338201"/>
                  <a:gd name="connsiteY3137" fmla="*/ 637221 h 4122274"/>
                  <a:gd name="connsiteX3138" fmla="*/ 2684949 w 5338201"/>
                  <a:gd name="connsiteY3138" fmla="*/ 626037 h 4122274"/>
                  <a:gd name="connsiteX3139" fmla="*/ 2679363 w 5338201"/>
                  <a:gd name="connsiteY3139" fmla="*/ 606342 h 4122274"/>
                  <a:gd name="connsiteX3140" fmla="*/ 2692388 w 5338201"/>
                  <a:gd name="connsiteY3140" fmla="*/ 590578 h 4122274"/>
                  <a:gd name="connsiteX3141" fmla="*/ 2693955 w 5338201"/>
                  <a:gd name="connsiteY3141" fmla="*/ 579047 h 4122274"/>
                  <a:gd name="connsiteX3142" fmla="*/ 2684327 w 5338201"/>
                  <a:gd name="connsiteY3142" fmla="*/ 572554 h 4122274"/>
                  <a:gd name="connsiteX3143" fmla="*/ 2663863 w 5338201"/>
                  <a:gd name="connsiteY3143" fmla="*/ 571793 h 4122274"/>
                  <a:gd name="connsiteX3144" fmla="*/ 2652879 w 5338201"/>
                  <a:gd name="connsiteY3144" fmla="*/ 554514 h 4122274"/>
                  <a:gd name="connsiteX3145" fmla="*/ 2642404 w 5338201"/>
                  <a:gd name="connsiteY3145" fmla="*/ 549473 h 4122274"/>
                  <a:gd name="connsiteX3146" fmla="*/ 3018666 w 5338201"/>
                  <a:gd name="connsiteY3146" fmla="*/ 507141 h 4122274"/>
                  <a:gd name="connsiteX3147" fmla="*/ 3068414 w 5338201"/>
                  <a:gd name="connsiteY3147" fmla="*/ 559761 h 4122274"/>
                  <a:gd name="connsiteX3148" fmla="*/ 3068025 w 5338201"/>
                  <a:gd name="connsiteY3148" fmla="*/ 563732 h 4122274"/>
                  <a:gd name="connsiteX3149" fmla="*/ 3096283 w 5338201"/>
                  <a:gd name="connsiteY3149" fmla="*/ 554509 h 4122274"/>
                  <a:gd name="connsiteX3150" fmla="*/ 3146043 w 5338201"/>
                  <a:gd name="connsiteY3150" fmla="*/ 607130 h 4122274"/>
                  <a:gd name="connsiteX3151" fmla="*/ 3117619 w 5338201"/>
                  <a:gd name="connsiteY3151" fmla="*/ 654444 h 4122274"/>
                  <a:gd name="connsiteX3152" fmla="*/ 3146043 w 5338201"/>
                  <a:gd name="connsiteY3152" fmla="*/ 701827 h 4122274"/>
                  <a:gd name="connsiteX3153" fmla="*/ 3096283 w 5338201"/>
                  <a:gd name="connsiteY3153" fmla="*/ 754458 h 4122274"/>
                  <a:gd name="connsiteX3154" fmla="*/ 3068036 w 5338201"/>
                  <a:gd name="connsiteY3154" fmla="*/ 745223 h 4122274"/>
                  <a:gd name="connsiteX3155" fmla="*/ 3068426 w 5338201"/>
                  <a:gd name="connsiteY3155" fmla="*/ 749206 h 4122274"/>
                  <a:gd name="connsiteX3156" fmla="*/ 3018678 w 5338201"/>
                  <a:gd name="connsiteY3156" fmla="*/ 801827 h 4122274"/>
                  <a:gd name="connsiteX3157" fmla="*/ 2968906 w 5338201"/>
                  <a:gd name="connsiteY3157" fmla="*/ 749206 h 4122274"/>
                  <a:gd name="connsiteX3158" fmla="*/ 2969296 w 5338201"/>
                  <a:gd name="connsiteY3158" fmla="*/ 745223 h 4122274"/>
                  <a:gd name="connsiteX3159" fmla="*/ 2941049 w 5338201"/>
                  <a:gd name="connsiteY3159" fmla="*/ 754458 h 4122274"/>
                  <a:gd name="connsiteX3160" fmla="*/ 2891289 w 5338201"/>
                  <a:gd name="connsiteY3160" fmla="*/ 701827 h 4122274"/>
                  <a:gd name="connsiteX3161" fmla="*/ 2919725 w 5338201"/>
                  <a:gd name="connsiteY3161" fmla="*/ 654458 h 4122274"/>
                  <a:gd name="connsiteX3162" fmla="*/ 2891289 w 5338201"/>
                  <a:gd name="connsiteY3162" fmla="*/ 607157 h 4122274"/>
                  <a:gd name="connsiteX3163" fmla="*/ 2941049 w 5338201"/>
                  <a:gd name="connsiteY3163" fmla="*/ 554538 h 4122274"/>
                  <a:gd name="connsiteX3164" fmla="*/ 2969296 w 5338201"/>
                  <a:gd name="connsiteY3164" fmla="*/ 563745 h 4122274"/>
                  <a:gd name="connsiteX3165" fmla="*/ 2968906 w 5338201"/>
                  <a:gd name="connsiteY3165" fmla="*/ 559789 h 4122274"/>
                  <a:gd name="connsiteX3166" fmla="*/ 3018666 w 5338201"/>
                  <a:gd name="connsiteY3166" fmla="*/ 507141 h 4122274"/>
                  <a:gd name="connsiteX3167" fmla="*/ 1395052 w 5338201"/>
                  <a:gd name="connsiteY3167" fmla="*/ 497483 h 4122274"/>
                  <a:gd name="connsiteX3168" fmla="*/ 1760882 w 5338201"/>
                  <a:gd name="connsiteY3168" fmla="*/ 846293 h 4122274"/>
                  <a:gd name="connsiteX3169" fmla="*/ 1755426 w 5338201"/>
                  <a:gd name="connsiteY3169" fmla="*/ 853344 h 4122274"/>
                  <a:gd name="connsiteX3170" fmla="*/ 1677135 w 5338201"/>
                  <a:gd name="connsiteY3170" fmla="*/ 863366 h 4122274"/>
                  <a:gd name="connsiteX3171" fmla="*/ 1670100 w 5338201"/>
                  <a:gd name="connsiteY3171" fmla="*/ 857911 h 4122274"/>
                  <a:gd name="connsiteX3172" fmla="*/ 1323889 w 5338201"/>
                  <a:gd name="connsiteY3172" fmla="*/ 590292 h 4122274"/>
                  <a:gd name="connsiteX3173" fmla="*/ 1316875 w 5338201"/>
                  <a:gd name="connsiteY3173" fmla="*/ 584927 h 4122274"/>
                  <a:gd name="connsiteX3174" fmla="*/ 1306807 w 5338201"/>
                  <a:gd name="connsiteY3174" fmla="*/ 506221 h 4122274"/>
                  <a:gd name="connsiteX3175" fmla="*/ 1312220 w 5338201"/>
                  <a:gd name="connsiteY3175" fmla="*/ 499189 h 4122274"/>
                  <a:gd name="connsiteX3176" fmla="*/ 1314242 w 5338201"/>
                  <a:gd name="connsiteY3176" fmla="*/ 499261 h 4122274"/>
                  <a:gd name="connsiteX3177" fmla="*/ 1395052 w 5338201"/>
                  <a:gd name="connsiteY3177" fmla="*/ 497483 h 4122274"/>
                  <a:gd name="connsiteX3178" fmla="*/ 2703870 w 5338201"/>
                  <a:gd name="connsiteY3178" fmla="*/ 496388 h 4122274"/>
                  <a:gd name="connsiteX3179" fmla="*/ 2697276 w 5338201"/>
                  <a:gd name="connsiteY3179" fmla="*/ 501637 h 4122274"/>
                  <a:gd name="connsiteX3180" fmla="*/ 2680209 w 5338201"/>
                  <a:gd name="connsiteY3180" fmla="*/ 532340 h 4122274"/>
                  <a:gd name="connsiteX3181" fmla="*/ 2684488 w 5338201"/>
                  <a:gd name="connsiteY3181" fmla="*/ 547324 h 4122274"/>
                  <a:gd name="connsiteX3182" fmla="*/ 2715190 w 5338201"/>
                  <a:gd name="connsiteY3182" fmla="*/ 564378 h 4122274"/>
                  <a:gd name="connsiteX3183" fmla="*/ 2720527 w 5338201"/>
                  <a:gd name="connsiteY3183" fmla="*/ 565777 h 4122274"/>
                  <a:gd name="connsiteX3184" fmla="*/ 2723574 w 5338201"/>
                  <a:gd name="connsiteY3184" fmla="*/ 565349 h 4122274"/>
                  <a:gd name="connsiteX3185" fmla="*/ 2730167 w 5338201"/>
                  <a:gd name="connsiteY3185" fmla="*/ 560100 h 4122274"/>
                  <a:gd name="connsiteX3186" fmla="*/ 2747223 w 5338201"/>
                  <a:gd name="connsiteY3186" fmla="*/ 529397 h 4122274"/>
                  <a:gd name="connsiteX3187" fmla="*/ 2742931 w 5338201"/>
                  <a:gd name="connsiteY3187" fmla="*/ 514412 h 4122274"/>
                  <a:gd name="connsiteX3188" fmla="*/ 2712242 w 5338201"/>
                  <a:gd name="connsiteY3188" fmla="*/ 497358 h 4122274"/>
                  <a:gd name="connsiteX3189" fmla="*/ 2703870 w 5338201"/>
                  <a:gd name="connsiteY3189" fmla="*/ 496388 h 4122274"/>
                  <a:gd name="connsiteX3190" fmla="*/ 4177008 w 5338201"/>
                  <a:gd name="connsiteY3190" fmla="*/ 487088 h 4122274"/>
                  <a:gd name="connsiteX3191" fmla="*/ 4118992 w 5338201"/>
                  <a:gd name="connsiteY3191" fmla="*/ 545088 h 4122274"/>
                  <a:gd name="connsiteX3192" fmla="*/ 4177008 w 5338201"/>
                  <a:gd name="connsiteY3192" fmla="*/ 603088 h 4122274"/>
                  <a:gd name="connsiteX3193" fmla="*/ 4235007 w 5338201"/>
                  <a:gd name="connsiteY3193" fmla="*/ 545088 h 4122274"/>
                  <a:gd name="connsiteX3194" fmla="*/ 4177008 w 5338201"/>
                  <a:gd name="connsiteY3194" fmla="*/ 487088 h 4122274"/>
                  <a:gd name="connsiteX3195" fmla="*/ 855097 w 5338201"/>
                  <a:gd name="connsiteY3195" fmla="*/ 479875 h 4122274"/>
                  <a:gd name="connsiteX3196" fmla="*/ 948430 w 5338201"/>
                  <a:gd name="connsiteY3196" fmla="*/ 573196 h 4122274"/>
                  <a:gd name="connsiteX3197" fmla="*/ 855097 w 5338201"/>
                  <a:gd name="connsiteY3197" fmla="*/ 666517 h 4122274"/>
                  <a:gd name="connsiteX3198" fmla="*/ 761782 w 5338201"/>
                  <a:gd name="connsiteY3198" fmla="*/ 573196 h 4122274"/>
                  <a:gd name="connsiteX3199" fmla="*/ 855097 w 5338201"/>
                  <a:gd name="connsiteY3199" fmla="*/ 479875 h 4122274"/>
                  <a:gd name="connsiteX3200" fmla="*/ 2549255 w 5338201"/>
                  <a:gd name="connsiteY3200" fmla="*/ 448012 h 4122274"/>
                  <a:gd name="connsiteX3201" fmla="*/ 2517122 w 5338201"/>
                  <a:gd name="connsiteY3201" fmla="*/ 467117 h 4122274"/>
                  <a:gd name="connsiteX3202" fmla="*/ 2549255 w 5338201"/>
                  <a:gd name="connsiteY3202" fmla="*/ 486223 h 4122274"/>
                  <a:gd name="connsiteX3203" fmla="*/ 2581412 w 5338201"/>
                  <a:gd name="connsiteY3203" fmla="*/ 467117 h 4122274"/>
                  <a:gd name="connsiteX3204" fmla="*/ 2549255 w 5338201"/>
                  <a:gd name="connsiteY3204" fmla="*/ 448012 h 4122274"/>
                  <a:gd name="connsiteX3205" fmla="*/ 3330639 w 5338201"/>
                  <a:gd name="connsiteY3205" fmla="*/ 447156 h 4122274"/>
                  <a:gd name="connsiteX3206" fmla="*/ 3385307 w 5338201"/>
                  <a:gd name="connsiteY3206" fmla="*/ 447156 h 4122274"/>
                  <a:gd name="connsiteX3207" fmla="*/ 3467777 w 5338201"/>
                  <a:gd name="connsiteY3207" fmla="*/ 529622 h 4122274"/>
                  <a:gd name="connsiteX3208" fmla="*/ 3467777 w 5338201"/>
                  <a:gd name="connsiteY3208" fmla="*/ 596498 h 4122274"/>
                  <a:gd name="connsiteX3209" fmla="*/ 3467594 w 5338201"/>
                  <a:gd name="connsiteY3209" fmla="*/ 597512 h 4122274"/>
                  <a:gd name="connsiteX3210" fmla="*/ 3462989 w 5338201"/>
                  <a:gd name="connsiteY3210" fmla="*/ 598967 h 4122274"/>
                  <a:gd name="connsiteX3211" fmla="*/ 3350878 w 5338201"/>
                  <a:gd name="connsiteY3211" fmla="*/ 617059 h 4122274"/>
                  <a:gd name="connsiteX3212" fmla="*/ 3252937 w 5338201"/>
                  <a:gd name="connsiteY3212" fmla="*/ 598669 h 4122274"/>
                  <a:gd name="connsiteX3213" fmla="*/ 3248647 w 5338201"/>
                  <a:gd name="connsiteY3213" fmla="*/ 596498 h 4122274"/>
                  <a:gd name="connsiteX3214" fmla="*/ 3248210 w 5338201"/>
                  <a:gd name="connsiteY3214" fmla="*/ 596498 h 4122274"/>
                  <a:gd name="connsiteX3215" fmla="*/ 3248210 w 5338201"/>
                  <a:gd name="connsiteY3215" fmla="*/ 529622 h 4122274"/>
                  <a:gd name="connsiteX3216" fmla="*/ 3330639 w 5338201"/>
                  <a:gd name="connsiteY3216" fmla="*/ 447156 h 4122274"/>
                  <a:gd name="connsiteX3217" fmla="*/ 964671 w 5338201"/>
                  <a:gd name="connsiteY3217" fmla="*/ 441703 h 4122274"/>
                  <a:gd name="connsiteX3218" fmla="*/ 986602 w 5338201"/>
                  <a:gd name="connsiteY3218" fmla="*/ 463645 h 4122274"/>
                  <a:gd name="connsiteX3219" fmla="*/ 958760 w 5338201"/>
                  <a:gd name="connsiteY3219" fmla="*/ 491470 h 4122274"/>
                  <a:gd name="connsiteX3220" fmla="*/ 936665 w 5338201"/>
                  <a:gd name="connsiteY3220" fmla="*/ 469547 h 4122274"/>
                  <a:gd name="connsiteX3221" fmla="*/ 746087 w 5338201"/>
                  <a:gd name="connsiteY3221" fmla="*/ 441703 h 4122274"/>
                  <a:gd name="connsiteX3222" fmla="*/ 773929 w 5338201"/>
                  <a:gd name="connsiteY3222" fmla="*/ 469547 h 4122274"/>
                  <a:gd name="connsiteX3223" fmla="*/ 752016 w 5338201"/>
                  <a:gd name="connsiteY3223" fmla="*/ 491470 h 4122274"/>
                  <a:gd name="connsiteX3224" fmla="*/ 724163 w 5338201"/>
                  <a:gd name="connsiteY3224" fmla="*/ 463645 h 4122274"/>
                  <a:gd name="connsiteX3225" fmla="*/ 2141531 w 5338201"/>
                  <a:gd name="connsiteY3225" fmla="*/ 438477 h 4122274"/>
                  <a:gd name="connsiteX3226" fmla="*/ 2123220 w 5338201"/>
                  <a:gd name="connsiteY3226" fmla="*/ 444638 h 4122274"/>
                  <a:gd name="connsiteX3227" fmla="*/ 2116496 w 5338201"/>
                  <a:gd name="connsiteY3227" fmla="*/ 459329 h 4122274"/>
                  <a:gd name="connsiteX3228" fmla="*/ 2137905 w 5338201"/>
                  <a:gd name="connsiteY3228" fmla="*/ 479632 h 4122274"/>
                  <a:gd name="connsiteX3229" fmla="*/ 2146960 w 5338201"/>
                  <a:gd name="connsiteY3229" fmla="*/ 483261 h 4122274"/>
                  <a:gd name="connsiteX3230" fmla="*/ 2128649 w 5338201"/>
                  <a:gd name="connsiteY3230" fmla="*/ 481984 h 4122274"/>
                  <a:gd name="connsiteX3231" fmla="*/ 2116678 w 5338201"/>
                  <a:gd name="connsiteY3231" fmla="*/ 489603 h 4122274"/>
                  <a:gd name="connsiteX3232" fmla="*/ 2124294 w 5338201"/>
                  <a:gd name="connsiteY3232" fmla="*/ 501578 h 4122274"/>
                  <a:gd name="connsiteX3233" fmla="*/ 2142058 w 5338201"/>
                  <a:gd name="connsiteY3233" fmla="*/ 503746 h 4122274"/>
                  <a:gd name="connsiteX3234" fmla="*/ 2162009 w 5338201"/>
                  <a:gd name="connsiteY3234" fmla="*/ 498295 h 4122274"/>
                  <a:gd name="connsiteX3235" fmla="*/ 2168714 w 5338201"/>
                  <a:gd name="connsiteY3235" fmla="*/ 484354 h 4122274"/>
                  <a:gd name="connsiteX3236" fmla="*/ 2144428 w 5338201"/>
                  <a:gd name="connsiteY3236" fmla="*/ 460584 h 4122274"/>
                  <a:gd name="connsiteX3237" fmla="*/ 2139344 w 5338201"/>
                  <a:gd name="connsiteY3237" fmla="*/ 458781 h 4122274"/>
                  <a:gd name="connsiteX3238" fmla="*/ 2151861 w 5338201"/>
                  <a:gd name="connsiteY3238" fmla="*/ 458781 h 4122274"/>
                  <a:gd name="connsiteX3239" fmla="*/ 2163285 w 5338201"/>
                  <a:gd name="connsiteY3239" fmla="*/ 450432 h 4122274"/>
                  <a:gd name="connsiteX3240" fmla="*/ 2154940 w 5338201"/>
                  <a:gd name="connsiteY3240" fmla="*/ 439026 h 4122274"/>
                  <a:gd name="connsiteX3241" fmla="*/ 2141531 w 5338201"/>
                  <a:gd name="connsiteY3241" fmla="*/ 438477 h 4122274"/>
                  <a:gd name="connsiteX3242" fmla="*/ 2786998 w 5338201"/>
                  <a:gd name="connsiteY3242" fmla="*/ 414438 h 4122274"/>
                  <a:gd name="connsiteX3243" fmla="*/ 2812277 w 5338201"/>
                  <a:gd name="connsiteY3243" fmla="*/ 414438 h 4122274"/>
                  <a:gd name="connsiteX3244" fmla="*/ 2840667 w 5338201"/>
                  <a:gd name="connsiteY3244" fmla="*/ 442818 h 4122274"/>
                  <a:gd name="connsiteX3245" fmla="*/ 2840667 w 5338201"/>
                  <a:gd name="connsiteY3245" fmla="*/ 665074 h 4122274"/>
                  <a:gd name="connsiteX3246" fmla="*/ 2812277 w 5338201"/>
                  <a:gd name="connsiteY3246" fmla="*/ 693454 h 4122274"/>
                  <a:gd name="connsiteX3247" fmla="*/ 2786998 w 5338201"/>
                  <a:gd name="connsiteY3247" fmla="*/ 693454 h 4122274"/>
                  <a:gd name="connsiteX3248" fmla="*/ 2450010 w 5338201"/>
                  <a:gd name="connsiteY3248" fmla="*/ 414438 h 4122274"/>
                  <a:gd name="connsiteX3249" fmla="*/ 2475307 w 5338201"/>
                  <a:gd name="connsiteY3249" fmla="*/ 414438 h 4122274"/>
                  <a:gd name="connsiteX3250" fmla="*/ 2475307 w 5338201"/>
                  <a:gd name="connsiteY3250" fmla="*/ 693446 h 4122274"/>
                  <a:gd name="connsiteX3251" fmla="*/ 2450010 w 5338201"/>
                  <a:gd name="connsiteY3251" fmla="*/ 693446 h 4122274"/>
                  <a:gd name="connsiteX3252" fmla="*/ 2421616 w 5338201"/>
                  <a:gd name="connsiteY3252" fmla="*/ 665067 h 4122274"/>
                  <a:gd name="connsiteX3253" fmla="*/ 2421616 w 5338201"/>
                  <a:gd name="connsiteY3253" fmla="*/ 442804 h 4122274"/>
                  <a:gd name="connsiteX3254" fmla="*/ 2450010 w 5338201"/>
                  <a:gd name="connsiteY3254" fmla="*/ 414438 h 4122274"/>
                  <a:gd name="connsiteX3255" fmla="*/ 840980 w 5338201"/>
                  <a:gd name="connsiteY3255" fmla="*/ 403532 h 4122274"/>
                  <a:gd name="connsiteX3256" fmla="*/ 872086 w 5338201"/>
                  <a:gd name="connsiteY3256" fmla="*/ 403532 h 4122274"/>
                  <a:gd name="connsiteX3257" fmla="*/ 872086 w 5338201"/>
                  <a:gd name="connsiteY3257" fmla="*/ 449413 h 4122274"/>
                  <a:gd name="connsiteX3258" fmla="*/ 840980 w 5338201"/>
                  <a:gd name="connsiteY3258" fmla="*/ 449413 h 4122274"/>
                  <a:gd name="connsiteX3259" fmla="*/ 840980 w 5338201"/>
                  <a:gd name="connsiteY3259" fmla="*/ 403532 h 4122274"/>
                  <a:gd name="connsiteX3260" fmla="*/ 1241302 w 5338201"/>
                  <a:gd name="connsiteY3260" fmla="*/ 398335 h 4122274"/>
                  <a:gd name="connsiteX3261" fmla="*/ 1115046 w 5338201"/>
                  <a:gd name="connsiteY3261" fmla="*/ 524583 h 4122274"/>
                  <a:gd name="connsiteX3262" fmla="*/ 1115046 w 5338201"/>
                  <a:gd name="connsiteY3262" fmla="*/ 535276 h 4122274"/>
                  <a:gd name="connsiteX3263" fmla="*/ 1120411 w 5338201"/>
                  <a:gd name="connsiteY3263" fmla="*/ 537487 h 4122274"/>
                  <a:gd name="connsiteX3264" fmla="*/ 1125777 w 5338201"/>
                  <a:gd name="connsiteY3264" fmla="*/ 535276 h 4122274"/>
                  <a:gd name="connsiteX3265" fmla="*/ 1250819 w 5338201"/>
                  <a:gd name="connsiteY3265" fmla="*/ 410203 h 4122274"/>
                  <a:gd name="connsiteX3266" fmla="*/ 1241302 w 5338201"/>
                  <a:gd name="connsiteY3266" fmla="*/ 398335 h 4122274"/>
                  <a:gd name="connsiteX3267" fmla="*/ 3445193 w 5338201"/>
                  <a:gd name="connsiteY3267" fmla="*/ 381719 h 4122274"/>
                  <a:gd name="connsiteX3268" fmla="*/ 3499826 w 5338201"/>
                  <a:gd name="connsiteY3268" fmla="*/ 381719 h 4122274"/>
                  <a:gd name="connsiteX3269" fmla="*/ 3582293 w 5338201"/>
                  <a:gd name="connsiteY3269" fmla="*/ 464189 h 4122274"/>
                  <a:gd name="connsiteX3270" fmla="*/ 3582293 w 5338201"/>
                  <a:gd name="connsiteY3270" fmla="*/ 531034 h 4122274"/>
                  <a:gd name="connsiteX3271" fmla="*/ 3582122 w 5338201"/>
                  <a:gd name="connsiteY3271" fmla="*/ 532089 h 4122274"/>
                  <a:gd name="connsiteX3272" fmla="*/ 3577512 w 5338201"/>
                  <a:gd name="connsiteY3272" fmla="*/ 533524 h 4122274"/>
                  <a:gd name="connsiteX3273" fmla="*/ 3484637 w 5338201"/>
                  <a:gd name="connsiteY3273" fmla="*/ 550966 h 4122274"/>
                  <a:gd name="connsiteX3274" fmla="*/ 3484637 w 5338201"/>
                  <a:gd name="connsiteY3274" fmla="*/ 530798 h 4122274"/>
                  <a:gd name="connsiteX3275" fmla="*/ 3414643 w 5338201"/>
                  <a:gd name="connsiteY3275" fmla="*/ 437016 h 4122274"/>
                  <a:gd name="connsiteX3276" fmla="*/ 3439115 w 5338201"/>
                  <a:gd name="connsiteY3276" fmla="*/ 382017 h 4122274"/>
                  <a:gd name="connsiteX3277" fmla="*/ 3445193 w 5338201"/>
                  <a:gd name="connsiteY3277" fmla="*/ 381719 h 4122274"/>
                  <a:gd name="connsiteX3278" fmla="*/ 3225472 w 5338201"/>
                  <a:gd name="connsiteY3278" fmla="*/ 381719 h 4122274"/>
                  <a:gd name="connsiteX3279" fmla="*/ 3279715 w 5338201"/>
                  <a:gd name="connsiteY3279" fmla="*/ 381719 h 4122274"/>
                  <a:gd name="connsiteX3280" fmla="*/ 3304183 w 5338201"/>
                  <a:gd name="connsiteY3280" fmla="*/ 437010 h 4122274"/>
                  <a:gd name="connsiteX3281" fmla="*/ 3234226 w 5338201"/>
                  <a:gd name="connsiteY3281" fmla="*/ 530798 h 4122274"/>
                  <a:gd name="connsiteX3282" fmla="*/ 3234226 w 5338201"/>
                  <a:gd name="connsiteY3282" fmla="*/ 551386 h 4122274"/>
                  <a:gd name="connsiteX3283" fmla="*/ 3147784 w 5338201"/>
                  <a:gd name="connsiteY3283" fmla="*/ 533224 h 4122274"/>
                  <a:gd name="connsiteX3284" fmla="*/ 3143456 w 5338201"/>
                  <a:gd name="connsiteY3284" fmla="*/ 531034 h 4122274"/>
                  <a:gd name="connsiteX3285" fmla="*/ 3143001 w 5338201"/>
                  <a:gd name="connsiteY3285" fmla="*/ 531034 h 4122274"/>
                  <a:gd name="connsiteX3286" fmla="*/ 3143001 w 5338201"/>
                  <a:gd name="connsiteY3286" fmla="*/ 464157 h 4122274"/>
                  <a:gd name="connsiteX3287" fmla="*/ 3225472 w 5338201"/>
                  <a:gd name="connsiteY3287" fmla="*/ 381719 h 4122274"/>
                  <a:gd name="connsiteX3288" fmla="*/ 4196163 w 5338201"/>
                  <a:gd name="connsiteY3288" fmla="*/ 371877 h 4122274"/>
                  <a:gd name="connsiteX3289" fmla="*/ 4204781 w 5338201"/>
                  <a:gd name="connsiteY3289" fmla="*/ 381824 h 4122274"/>
                  <a:gd name="connsiteX3290" fmla="*/ 4228601 w 5338201"/>
                  <a:gd name="connsiteY3290" fmla="*/ 418931 h 4122274"/>
                  <a:gd name="connsiteX3291" fmla="*/ 4271640 w 5338201"/>
                  <a:gd name="connsiteY3291" fmla="*/ 409114 h 4122274"/>
                  <a:gd name="connsiteX3292" fmla="*/ 4284760 w 5338201"/>
                  <a:gd name="connsiteY3292" fmla="*/ 408018 h 4122274"/>
                  <a:gd name="connsiteX3293" fmla="*/ 4312889 w 5338201"/>
                  <a:gd name="connsiteY3293" fmla="*/ 435842 h 4122274"/>
                  <a:gd name="connsiteX3294" fmla="*/ 4311856 w 5338201"/>
                  <a:gd name="connsiteY3294" fmla="*/ 449045 h 4122274"/>
                  <a:gd name="connsiteX3295" fmla="*/ 4302141 w 5338201"/>
                  <a:gd name="connsiteY3295" fmla="*/ 492440 h 4122274"/>
                  <a:gd name="connsiteX3296" fmla="*/ 4339968 w 5338201"/>
                  <a:gd name="connsiteY3296" fmla="*/ 515943 h 4122274"/>
                  <a:gd name="connsiteX3297" fmla="*/ 4350022 w 5338201"/>
                  <a:gd name="connsiteY3297" fmla="*/ 524486 h 4122274"/>
                  <a:gd name="connsiteX3298" fmla="*/ 4350103 w 5338201"/>
                  <a:gd name="connsiteY3298" fmla="*/ 564029 h 4122274"/>
                  <a:gd name="connsiteX3299" fmla="*/ 4338693 w 5338201"/>
                  <a:gd name="connsiteY3299" fmla="*/ 572590 h 4122274"/>
                  <a:gd name="connsiteX3300" fmla="*/ 4302899 w 5338201"/>
                  <a:gd name="connsiteY3300" fmla="*/ 596416 h 4122274"/>
                  <a:gd name="connsiteX3301" fmla="*/ 4312631 w 5338201"/>
                  <a:gd name="connsiteY3301" fmla="*/ 639424 h 4122274"/>
                  <a:gd name="connsiteX3302" fmla="*/ 4313680 w 5338201"/>
                  <a:gd name="connsiteY3302" fmla="*/ 652530 h 4122274"/>
                  <a:gd name="connsiteX3303" fmla="*/ 4286181 w 5338201"/>
                  <a:gd name="connsiteY3303" fmla="*/ 680352 h 4122274"/>
                  <a:gd name="connsiteX3304" fmla="*/ 4272947 w 5338201"/>
                  <a:gd name="connsiteY3304" fmla="*/ 679304 h 4122274"/>
                  <a:gd name="connsiteX3305" fmla="*/ 4229585 w 5338201"/>
                  <a:gd name="connsiteY3305" fmla="*/ 669552 h 4122274"/>
                  <a:gd name="connsiteX3306" fmla="*/ 4206056 w 5338201"/>
                  <a:gd name="connsiteY3306" fmla="*/ 707306 h 4122274"/>
                  <a:gd name="connsiteX3307" fmla="*/ 4197519 w 5338201"/>
                  <a:gd name="connsiteY3307" fmla="*/ 717461 h 4122274"/>
                  <a:gd name="connsiteX3308" fmla="*/ 4177476 w 5338201"/>
                  <a:gd name="connsiteY3308" fmla="*/ 718622 h 4122274"/>
                  <a:gd name="connsiteX3309" fmla="*/ 4158401 w 5338201"/>
                  <a:gd name="connsiteY3309" fmla="*/ 717576 h 4122274"/>
                  <a:gd name="connsiteX3310" fmla="*/ 4149799 w 5338201"/>
                  <a:gd name="connsiteY3310" fmla="*/ 707614 h 4122274"/>
                  <a:gd name="connsiteX3311" fmla="*/ 4125996 w 5338201"/>
                  <a:gd name="connsiteY3311" fmla="*/ 670519 h 4122274"/>
                  <a:gd name="connsiteX3312" fmla="*/ 4082924 w 5338201"/>
                  <a:gd name="connsiteY3312" fmla="*/ 680320 h 4122274"/>
                  <a:gd name="connsiteX3313" fmla="*/ 4069804 w 5338201"/>
                  <a:gd name="connsiteY3313" fmla="*/ 681417 h 4122274"/>
                  <a:gd name="connsiteX3314" fmla="*/ 4041675 w 5338201"/>
                  <a:gd name="connsiteY3314" fmla="*/ 653610 h 4122274"/>
                  <a:gd name="connsiteX3315" fmla="*/ 4042708 w 5338201"/>
                  <a:gd name="connsiteY3315" fmla="*/ 640374 h 4122274"/>
                  <a:gd name="connsiteX3316" fmla="*/ 4052455 w 5338201"/>
                  <a:gd name="connsiteY3316" fmla="*/ 597011 h 4122274"/>
                  <a:gd name="connsiteX3317" fmla="*/ 4016871 w 5338201"/>
                  <a:gd name="connsiteY3317" fmla="*/ 573427 h 4122274"/>
                  <a:gd name="connsiteX3318" fmla="*/ 4014725 w 5338201"/>
                  <a:gd name="connsiteY3318" fmla="*/ 573475 h 4122274"/>
                  <a:gd name="connsiteX3319" fmla="*/ 4004542 w 5338201"/>
                  <a:gd name="connsiteY3319" fmla="*/ 564950 h 4122274"/>
                  <a:gd name="connsiteX3320" fmla="*/ 4004461 w 5338201"/>
                  <a:gd name="connsiteY3320" fmla="*/ 525405 h 4122274"/>
                  <a:gd name="connsiteX3321" fmla="*/ 4015645 w 5338201"/>
                  <a:gd name="connsiteY3321" fmla="*/ 516846 h 4122274"/>
                  <a:gd name="connsiteX3322" fmla="*/ 4051648 w 5338201"/>
                  <a:gd name="connsiteY3322" fmla="*/ 493020 h 4122274"/>
                  <a:gd name="connsiteX3323" fmla="*/ 4041933 w 5338201"/>
                  <a:gd name="connsiteY3323" fmla="*/ 450011 h 4122274"/>
                  <a:gd name="connsiteX3324" fmla="*/ 4040868 w 5338201"/>
                  <a:gd name="connsiteY3324" fmla="*/ 436906 h 4122274"/>
                  <a:gd name="connsiteX3325" fmla="*/ 4068416 w 5338201"/>
                  <a:gd name="connsiteY3325" fmla="*/ 409084 h 4122274"/>
                  <a:gd name="connsiteX3326" fmla="*/ 4081649 w 5338201"/>
                  <a:gd name="connsiteY3326" fmla="*/ 410146 h 4122274"/>
                  <a:gd name="connsiteX3327" fmla="*/ 4125011 w 5338201"/>
                  <a:gd name="connsiteY3327" fmla="*/ 419883 h 4122274"/>
                  <a:gd name="connsiteX3328" fmla="*/ 4148508 w 5338201"/>
                  <a:gd name="connsiteY3328" fmla="*/ 382130 h 4122274"/>
                  <a:gd name="connsiteX3329" fmla="*/ 4157045 w 5338201"/>
                  <a:gd name="connsiteY3329" fmla="*/ 371974 h 4122274"/>
                  <a:gd name="connsiteX3330" fmla="*/ 4196163 w 5338201"/>
                  <a:gd name="connsiteY3330" fmla="*/ 371877 h 4122274"/>
                  <a:gd name="connsiteX3331" fmla="*/ 2600656 w 5338201"/>
                  <a:gd name="connsiteY3331" fmla="*/ 371017 h 4122274"/>
                  <a:gd name="connsiteX3332" fmla="*/ 2582991 w 5338201"/>
                  <a:gd name="connsiteY3332" fmla="*/ 388692 h 4122274"/>
                  <a:gd name="connsiteX3333" fmla="*/ 2582991 w 5338201"/>
                  <a:gd name="connsiteY3333" fmla="*/ 413602 h 4122274"/>
                  <a:gd name="connsiteX3334" fmla="*/ 2687835 w 5338201"/>
                  <a:gd name="connsiteY3334" fmla="*/ 413602 h 4122274"/>
                  <a:gd name="connsiteX3335" fmla="*/ 2687835 w 5338201"/>
                  <a:gd name="connsiteY3335" fmla="*/ 388692 h 4122274"/>
                  <a:gd name="connsiteX3336" fmla="*/ 2670195 w 5338201"/>
                  <a:gd name="connsiteY3336" fmla="*/ 371017 h 4122274"/>
                  <a:gd name="connsiteX3337" fmla="*/ 2600656 w 5338201"/>
                  <a:gd name="connsiteY3337" fmla="*/ 349000 h 4122274"/>
                  <a:gd name="connsiteX3338" fmla="*/ 2670195 w 5338201"/>
                  <a:gd name="connsiteY3338" fmla="*/ 349000 h 4122274"/>
                  <a:gd name="connsiteX3339" fmla="*/ 2709891 w 5338201"/>
                  <a:gd name="connsiteY3339" fmla="*/ 388692 h 4122274"/>
                  <a:gd name="connsiteX3340" fmla="*/ 2709891 w 5338201"/>
                  <a:gd name="connsiteY3340" fmla="*/ 413602 h 4122274"/>
                  <a:gd name="connsiteX3341" fmla="*/ 2769776 w 5338201"/>
                  <a:gd name="connsiteY3341" fmla="*/ 413602 h 4122274"/>
                  <a:gd name="connsiteX3342" fmla="*/ 2769776 w 5338201"/>
                  <a:gd name="connsiteY3342" fmla="*/ 692613 h 4122274"/>
                  <a:gd name="connsiteX3343" fmla="*/ 2501075 w 5338201"/>
                  <a:gd name="connsiteY3343" fmla="*/ 692613 h 4122274"/>
                  <a:gd name="connsiteX3344" fmla="*/ 2501075 w 5338201"/>
                  <a:gd name="connsiteY3344" fmla="*/ 413602 h 4122274"/>
                  <a:gd name="connsiteX3345" fmla="*/ 2560960 w 5338201"/>
                  <a:gd name="connsiteY3345" fmla="*/ 413602 h 4122274"/>
                  <a:gd name="connsiteX3346" fmla="*/ 2560960 w 5338201"/>
                  <a:gd name="connsiteY3346" fmla="*/ 388692 h 4122274"/>
                  <a:gd name="connsiteX3347" fmla="*/ 2600656 w 5338201"/>
                  <a:gd name="connsiteY3347" fmla="*/ 349000 h 4122274"/>
                  <a:gd name="connsiteX3348" fmla="*/ 3359728 w 5338201"/>
                  <a:gd name="connsiteY3348" fmla="*/ 316283 h 4122274"/>
                  <a:gd name="connsiteX3349" fmla="*/ 3424152 w 5338201"/>
                  <a:gd name="connsiteY3349" fmla="*/ 380687 h 4122274"/>
                  <a:gd name="connsiteX3350" fmla="*/ 3359728 w 5338201"/>
                  <a:gd name="connsiteY3350" fmla="*/ 445090 h 4122274"/>
                  <a:gd name="connsiteX3351" fmla="*/ 3295304 w 5338201"/>
                  <a:gd name="connsiteY3351" fmla="*/ 380687 h 4122274"/>
                  <a:gd name="connsiteX3352" fmla="*/ 3359728 w 5338201"/>
                  <a:gd name="connsiteY3352" fmla="*/ 316283 h 4122274"/>
                  <a:gd name="connsiteX3353" fmla="*/ 3116409 w 5338201"/>
                  <a:gd name="connsiteY3353" fmla="*/ 316283 h 4122274"/>
                  <a:gd name="connsiteX3354" fmla="*/ 3170649 w 5338201"/>
                  <a:gd name="connsiteY3354" fmla="*/ 316283 h 4122274"/>
                  <a:gd name="connsiteX3355" fmla="*/ 3195120 w 5338201"/>
                  <a:gd name="connsiteY3355" fmla="*/ 371576 h 4122274"/>
                  <a:gd name="connsiteX3356" fmla="*/ 3125148 w 5338201"/>
                  <a:gd name="connsiteY3356" fmla="*/ 465366 h 4122274"/>
                  <a:gd name="connsiteX3357" fmla="*/ 3125148 w 5338201"/>
                  <a:gd name="connsiteY3357" fmla="*/ 485955 h 4122274"/>
                  <a:gd name="connsiteX3358" fmla="*/ 3038706 w 5338201"/>
                  <a:gd name="connsiteY3358" fmla="*/ 467792 h 4122274"/>
                  <a:gd name="connsiteX3359" fmla="*/ 3034407 w 5338201"/>
                  <a:gd name="connsiteY3359" fmla="*/ 465634 h 4122274"/>
                  <a:gd name="connsiteX3360" fmla="*/ 3033922 w 5338201"/>
                  <a:gd name="connsiteY3360" fmla="*/ 465634 h 4122274"/>
                  <a:gd name="connsiteX3361" fmla="*/ 3033922 w 5338201"/>
                  <a:gd name="connsiteY3361" fmla="*/ 398761 h 4122274"/>
                  <a:gd name="connsiteX3362" fmla="*/ 3116409 w 5338201"/>
                  <a:gd name="connsiteY3362" fmla="*/ 316283 h 4122274"/>
                  <a:gd name="connsiteX3363" fmla="*/ 3790258 w 5338201"/>
                  <a:gd name="connsiteY3363" fmla="*/ 289015 h 4122274"/>
                  <a:gd name="connsiteX3364" fmla="*/ 3805870 w 5338201"/>
                  <a:gd name="connsiteY3364" fmla="*/ 304635 h 4122274"/>
                  <a:gd name="connsiteX3365" fmla="*/ 3805870 w 5338201"/>
                  <a:gd name="connsiteY3365" fmla="*/ 422730 h 4122274"/>
                  <a:gd name="connsiteX3366" fmla="*/ 3790258 w 5338201"/>
                  <a:gd name="connsiteY3366" fmla="*/ 438339 h 4122274"/>
                  <a:gd name="connsiteX3367" fmla="*/ 3689416 w 5338201"/>
                  <a:gd name="connsiteY3367" fmla="*/ 438339 h 4122274"/>
                  <a:gd name="connsiteX3368" fmla="*/ 3673786 w 5338201"/>
                  <a:gd name="connsiteY3368" fmla="*/ 422730 h 4122274"/>
                  <a:gd name="connsiteX3369" fmla="*/ 3689416 w 5338201"/>
                  <a:gd name="connsiteY3369" fmla="*/ 407120 h 4122274"/>
                  <a:gd name="connsiteX3370" fmla="*/ 3774647 w 5338201"/>
                  <a:gd name="connsiteY3370" fmla="*/ 407120 h 4122274"/>
                  <a:gd name="connsiteX3371" fmla="*/ 3774647 w 5338201"/>
                  <a:gd name="connsiteY3371" fmla="*/ 304635 h 4122274"/>
                  <a:gd name="connsiteX3372" fmla="*/ 3790258 w 5338201"/>
                  <a:gd name="connsiteY3372" fmla="*/ 289015 h 4122274"/>
                  <a:gd name="connsiteX3373" fmla="*/ 1719369 w 5338201"/>
                  <a:gd name="connsiteY3373" fmla="*/ 278109 h 4122274"/>
                  <a:gd name="connsiteX3374" fmla="*/ 1728227 w 5338201"/>
                  <a:gd name="connsiteY3374" fmla="*/ 286976 h 4122274"/>
                  <a:gd name="connsiteX3375" fmla="*/ 1728227 w 5338201"/>
                  <a:gd name="connsiteY3375" fmla="*/ 359827 h 4122274"/>
                  <a:gd name="connsiteX3376" fmla="*/ 1719369 w 5338201"/>
                  <a:gd name="connsiteY3376" fmla="*/ 368694 h 4122274"/>
                  <a:gd name="connsiteX3377" fmla="*/ 1666660 w 5338201"/>
                  <a:gd name="connsiteY3377" fmla="*/ 368694 h 4122274"/>
                  <a:gd name="connsiteX3378" fmla="*/ 1657783 w 5338201"/>
                  <a:gd name="connsiteY3378" fmla="*/ 359827 h 4122274"/>
                  <a:gd name="connsiteX3379" fmla="*/ 1666660 w 5338201"/>
                  <a:gd name="connsiteY3379" fmla="*/ 350959 h 4122274"/>
                  <a:gd name="connsiteX3380" fmla="*/ 1710515 w 5338201"/>
                  <a:gd name="connsiteY3380" fmla="*/ 350959 h 4122274"/>
                  <a:gd name="connsiteX3381" fmla="*/ 1710515 w 5338201"/>
                  <a:gd name="connsiteY3381" fmla="*/ 286976 h 4122274"/>
                  <a:gd name="connsiteX3382" fmla="*/ 1719369 w 5338201"/>
                  <a:gd name="connsiteY3382" fmla="*/ 278109 h 4122274"/>
                  <a:gd name="connsiteX3383" fmla="*/ 1369040 w 5338201"/>
                  <a:gd name="connsiteY3383" fmla="*/ 267539 h 4122274"/>
                  <a:gd name="connsiteX3384" fmla="*/ 1346606 w 5338201"/>
                  <a:gd name="connsiteY3384" fmla="*/ 276821 h 4122274"/>
                  <a:gd name="connsiteX3385" fmla="*/ 1346606 w 5338201"/>
                  <a:gd name="connsiteY3385" fmla="*/ 321650 h 4122274"/>
                  <a:gd name="connsiteX3386" fmla="*/ 1391448 w 5338201"/>
                  <a:gd name="connsiteY3386" fmla="*/ 321650 h 4122274"/>
                  <a:gd name="connsiteX3387" fmla="*/ 1391448 w 5338201"/>
                  <a:gd name="connsiteY3387" fmla="*/ 276821 h 4122274"/>
                  <a:gd name="connsiteX3388" fmla="*/ 1369040 w 5338201"/>
                  <a:gd name="connsiteY3388" fmla="*/ 267539 h 4122274"/>
                  <a:gd name="connsiteX3389" fmla="*/ 3790710 w 5338201"/>
                  <a:gd name="connsiteY3389" fmla="*/ 263937 h 4122274"/>
                  <a:gd name="connsiteX3390" fmla="*/ 3641386 w 5338201"/>
                  <a:gd name="connsiteY3390" fmla="*/ 413244 h 4122274"/>
                  <a:gd name="connsiteX3391" fmla="*/ 3790710 w 5338201"/>
                  <a:gd name="connsiteY3391" fmla="*/ 562546 h 4122274"/>
                  <a:gd name="connsiteX3392" fmla="*/ 3940016 w 5338201"/>
                  <a:gd name="connsiteY3392" fmla="*/ 413244 h 4122274"/>
                  <a:gd name="connsiteX3393" fmla="*/ 3790710 w 5338201"/>
                  <a:gd name="connsiteY3393" fmla="*/ 263937 h 4122274"/>
                  <a:gd name="connsiteX3394" fmla="*/ 3330229 w 5338201"/>
                  <a:gd name="connsiteY3394" fmla="*/ 261752 h 4122274"/>
                  <a:gd name="connsiteX3395" fmla="*/ 3389544 w 5338201"/>
                  <a:gd name="connsiteY3395" fmla="*/ 261752 h 4122274"/>
                  <a:gd name="connsiteX3396" fmla="*/ 3407792 w 5338201"/>
                  <a:gd name="connsiteY3396" fmla="*/ 263619 h 4122274"/>
                  <a:gd name="connsiteX3397" fmla="*/ 3393371 w 5338201"/>
                  <a:gd name="connsiteY3397" fmla="*/ 307729 h 4122274"/>
                  <a:gd name="connsiteX3398" fmla="*/ 3356658 w 5338201"/>
                  <a:gd name="connsiteY3398" fmla="*/ 298316 h 4122274"/>
                  <a:gd name="connsiteX3399" fmla="*/ 3326279 w 5338201"/>
                  <a:gd name="connsiteY3399" fmla="*/ 304606 h 4122274"/>
                  <a:gd name="connsiteX3400" fmla="*/ 3311915 w 5338201"/>
                  <a:gd name="connsiteY3400" fmla="*/ 263640 h 4122274"/>
                  <a:gd name="connsiteX3401" fmla="*/ 3330229 w 5338201"/>
                  <a:gd name="connsiteY3401" fmla="*/ 261752 h 4122274"/>
                  <a:gd name="connsiteX3402" fmla="*/ 1719835 w 5338201"/>
                  <a:gd name="connsiteY3402" fmla="*/ 253301 h 4122274"/>
                  <a:gd name="connsiteX3403" fmla="*/ 1614711 w 5338201"/>
                  <a:gd name="connsiteY3403" fmla="*/ 358414 h 4122274"/>
                  <a:gd name="connsiteX3404" fmla="*/ 1719835 w 5338201"/>
                  <a:gd name="connsiteY3404" fmla="*/ 463545 h 4122274"/>
                  <a:gd name="connsiteX3405" fmla="*/ 1824960 w 5338201"/>
                  <a:gd name="connsiteY3405" fmla="*/ 358414 h 4122274"/>
                  <a:gd name="connsiteX3406" fmla="*/ 1719835 w 5338201"/>
                  <a:gd name="connsiteY3406" fmla="*/ 253301 h 4122274"/>
                  <a:gd name="connsiteX3407" fmla="*/ 3468805 w 5338201"/>
                  <a:gd name="connsiteY3407" fmla="*/ 250846 h 4122274"/>
                  <a:gd name="connsiteX3408" fmla="*/ 3533214 w 5338201"/>
                  <a:gd name="connsiteY3408" fmla="*/ 315249 h 4122274"/>
                  <a:gd name="connsiteX3409" fmla="*/ 3468805 w 5338201"/>
                  <a:gd name="connsiteY3409" fmla="*/ 379678 h 4122274"/>
                  <a:gd name="connsiteX3410" fmla="*/ 3434534 w 5338201"/>
                  <a:gd name="connsiteY3410" fmla="*/ 369724 h 4122274"/>
                  <a:gd name="connsiteX3411" fmla="*/ 3404592 w 5338201"/>
                  <a:gd name="connsiteY3411" fmla="*/ 318882 h 4122274"/>
                  <a:gd name="connsiteX3412" fmla="*/ 3404407 w 5338201"/>
                  <a:gd name="connsiteY3412" fmla="*/ 315249 h 4122274"/>
                  <a:gd name="connsiteX3413" fmla="*/ 3468805 w 5338201"/>
                  <a:gd name="connsiteY3413" fmla="*/ 250846 h 4122274"/>
                  <a:gd name="connsiteX3414" fmla="*/ 3250757 w 5338201"/>
                  <a:gd name="connsiteY3414" fmla="*/ 250846 h 4122274"/>
                  <a:gd name="connsiteX3415" fmla="*/ 3315089 w 5338201"/>
                  <a:gd name="connsiteY3415" fmla="*/ 314283 h 4122274"/>
                  <a:gd name="connsiteX3416" fmla="*/ 3277955 w 5338201"/>
                  <a:gd name="connsiteY3416" fmla="*/ 373572 h 4122274"/>
                  <a:gd name="connsiteX3417" fmla="*/ 3250757 w 5338201"/>
                  <a:gd name="connsiteY3417" fmla="*/ 379678 h 4122274"/>
                  <a:gd name="connsiteX3418" fmla="*/ 3186341 w 5338201"/>
                  <a:gd name="connsiteY3418" fmla="*/ 315249 h 4122274"/>
                  <a:gd name="connsiteX3419" fmla="*/ 3250757 w 5338201"/>
                  <a:gd name="connsiteY3419" fmla="*/ 250846 h 4122274"/>
                  <a:gd name="connsiteX3420" fmla="*/ 2241249 w 5338201"/>
                  <a:gd name="connsiteY3420" fmla="*/ 226153 h 4122274"/>
                  <a:gd name="connsiteX3421" fmla="*/ 2234544 w 5338201"/>
                  <a:gd name="connsiteY3421" fmla="*/ 227957 h 4122274"/>
                  <a:gd name="connsiteX3422" fmla="*/ 2118683 w 5338201"/>
                  <a:gd name="connsiteY3422" fmla="*/ 313370 h 4122274"/>
                  <a:gd name="connsiteX3423" fmla="*/ 2118501 w 5338201"/>
                  <a:gd name="connsiteY3423" fmla="*/ 313733 h 4122274"/>
                  <a:gd name="connsiteX3424" fmla="*/ 2117954 w 5338201"/>
                  <a:gd name="connsiteY3424" fmla="*/ 314098 h 4122274"/>
                  <a:gd name="connsiteX3425" fmla="*/ 2117589 w 5338201"/>
                  <a:gd name="connsiteY3425" fmla="*/ 314443 h 4122274"/>
                  <a:gd name="connsiteX3426" fmla="*/ 2117225 w 5338201"/>
                  <a:gd name="connsiteY3426" fmla="*/ 314808 h 4122274"/>
                  <a:gd name="connsiteX3427" fmla="*/ 2116860 w 5338201"/>
                  <a:gd name="connsiteY3427" fmla="*/ 315173 h 4122274"/>
                  <a:gd name="connsiteX3428" fmla="*/ 2116678 w 5338201"/>
                  <a:gd name="connsiteY3428" fmla="*/ 315537 h 4122274"/>
                  <a:gd name="connsiteX3429" fmla="*/ 2031099 w 5338201"/>
                  <a:gd name="connsiteY3429" fmla="*/ 431404 h 4122274"/>
                  <a:gd name="connsiteX3430" fmla="*/ 2032193 w 5338201"/>
                  <a:gd name="connsiteY3430" fmla="*/ 444456 h 4122274"/>
                  <a:gd name="connsiteX3431" fmla="*/ 2039262 w 5338201"/>
                  <a:gd name="connsiteY3431" fmla="*/ 447353 h 4122274"/>
                  <a:gd name="connsiteX3432" fmla="*/ 2045237 w 5338201"/>
                  <a:gd name="connsiteY3432" fmla="*/ 445368 h 4122274"/>
                  <a:gd name="connsiteX3433" fmla="*/ 2161098 w 5338201"/>
                  <a:gd name="connsiteY3433" fmla="*/ 359955 h 4122274"/>
                  <a:gd name="connsiteX3434" fmla="*/ 2161280 w 5338201"/>
                  <a:gd name="connsiteY3434" fmla="*/ 359773 h 4122274"/>
                  <a:gd name="connsiteX3435" fmla="*/ 2161827 w 5338201"/>
                  <a:gd name="connsiteY3435" fmla="*/ 359408 h 4122274"/>
                  <a:gd name="connsiteX3436" fmla="*/ 2162192 w 5338201"/>
                  <a:gd name="connsiteY3436" fmla="*/ 359065 h 4122274"/>
                  <a:gd name="connsiteX3437" fmla="*/ 2162556 w 5338201"/>
                  <a:gd name="connsiteY3437" fmla="*/ 358517 h 4122274"/>
                  <a:gd name="connsiteX3438" fmla="*/ 2162921 w 5338201"/>
                  <a:gd name="connsiteY3438" fmla="*/ 358152 h 4122274"/>
                  <a:gd name="connsiteX3439" fmla="*/ 2163103 w 5338201"/>
                  <a:gd name="connsiteY3439" fmla="*/ 357788 h 4122274"/>
                  <a:gd name="connsiteX3440" fmla="*/ 2248500 w 5338201"/>
                  <a:gd name="connsiteY3440" fmla="*/ 242100 h 4122274"/>
                  <a:gd name="connsiteX3441" fmla="*/ 2247589 w 5338201"/>
                  <a:gd name="connsiteY3441" fmla="*/ 229052 h 4122274"/>
                  <a:gd name="connsiteX3442" fmla="*/ 2241249 w 5338201"/>
                  <a:gd name="connsiteY3442" fmla="*/ 226153 h 4122274"/>
                  <a:gd name="connsiteX3443" fmla="*/ 3790710 w 5338201"/>
                  <a:gd name="connsiteY3443" fmla="*/ 223579 h 4122274"/>
                  <a:gd name="connsiteX3444" fmla="*/ 3980372 w 5338201"/>
                  <a:gd name="connsiteY3444" fmla="*/ 413244 h 4122274"/>
                  <a:gd name="connsiteX3445" fmla="*/ 3790710 w 5338201"/>
                  <a:gd name="connsiteY3445" fmla="*/ 602904 h 4122274"/>
                  <a:gd name="connsiteX3446" fmla="*/ 3601048 w 5338201"/>
                  <a:gd name="connsiteY3446" fmla="*/ 413244 h 4122274"/>
                  <a:gd name="connsiteX3447" fmla="*/ 3790710 w 5338201"/>
                  <a:gd name="connsiteY3447" fmla="*/ 223579 h 4122274"/>
                  <a:gd name="connsiteX3448" fmla="*/ 1333131 w 5338201"/>
                  <a:gd name="connsiteY3448" fmla="*/ 223579 h 4122274"/>
                  <a:gd name="connsiteX3449" fmla="*/ 1412012 w 5338201"/>
                  <a:gd name="connsiteY3449" fmla="*/ 256247 h 4122274"/>
                  <a:gd name="connsiteX3450" fmla="*/ 1412012 w 5338201"/>
                  <a:gd name="connsiteY3450" fmla="*/ 414005 h 4122274"/>
                  <a:gd name="connsiteX3451" fmla="*/ 1333149 w 5338201"/>
                  <a:gd name="connsiteY3451" fmla="*/ 446723 h 4122274"/>
                  <a:gd name="connsiteX3452" fmla="*/ 1289539 w 5338201"/>
                  <a:gd name="connsiteY3452" fmla="*/ 437861 h 4122274"/>
                  <a:gd name="connsiteX3453" fmla="*/ 1241249 w 5338201"/>
                  <a:gd name="connsiteY3453" fmla="*/ 486180 h 4122274"/>
                  <a:gd name="connsiteX3454" fmla="*/ 1233738 w 5338201"/>
                  <a:gd name="connsiteY3454" fmla="*/ 489117 h 4122274"/>
                  <a:gd name="connsiteX3455" fmla="*/ 1207438 w 5338201"/>
                  <a:gd name="connsiteY3455" fmla="*/ 488184 h 4122274"/>
                  <a:gd name="connsiteX3456" fmla="*/ 1208282 w 5338201"/>
                  <a:gd name="connsiteY3456" fmla="*/ 514563 h 4122274"/>
                  <a:gd name="connsiteX3457" fmla="*/ 1205344 w 5338201"/>
                  <a:gd name="connsiteY3457" fmla="*/ 522043 h 4122274"/>
                  <a:gd name="connsiteX3458" fmla="*/ 1197903 w 5338201"/>
                  <a:gd name="connsiteY3458" fmla="*/ 524980 h 4122274"/>
                  <a:gd name="connsiteX3459" fmla="*/ 1171498 w 5338201"/>
                  <a:gd name="connsiteY3459" fmla="*/ 524064 h 4122274"/>
                  <a:gd name="connsiteX3460" fmla="*/ 1172448 w 5338201"/>
                  <a:gd name="connsiteY3460" fmla="*/ 550428 h 4122274"/>
                  <a:gd name="connsiteX3461" fmla="*/ 1169510 w 5338201"/>
                  <a:gd name="connsiteY3461" fmla="*/ 557889 h 4122274"/>
                  <a:gd name="connsiteX3462" fmla="*/ 1161998 w 5338201"/>
                  <a:gd name="connsiteY3462" fmla="*/ 560844 h 4122274"/>
                  <a:gd name="connsiteX3463" fmla="*/ 1135663 w 5338201"/>
                  <a:gd name="connsiteY3463" fmla="*/ 559964 h 4122274"/>
                  <a:gd name="connsiteX3464" fmla="*/ 1136543 w 5338201"/>
                  <a:gd name="connsiteY3464" fmla="*/ 586290 h 4122274"/>
                  <a:gd name="connsiteX3465" fmla="*/ 1133394 w 5338201"/>
                  <a:gd name="connsiteY3465" fmla="*/ 594030 h 4122274"/>
                  <a:gd name="connsiteX3466" fmla="*/ 1126498 w 5338201"/>
                  <a:gd name="connsiteY3466" fmla="*/ 596724 h 4122274"/>
                  <a:gd name="connsiteX3467" fmla="*/ 1125407 w 5338201"/>
                  <a:gd name="connsiteY3467" fmla="*/ 596689 h 4122274"/>
                  <a:gd name="connsiteX3468" fmla="*/ 1084999 w 5338201"/>
                  <a:gd name="connsiteY3468" fmla="*/ 592199 h 4122274"/>
                  <a:gd name="connsiteX3469" fmla="*/ 1076045 w 5338201"/>
                  <a:gd name="connsiteY3469" fmla="*/ 581264 h 4122274"/>
                  <a:gd name="connsiteX3470" fmla="*/ 1080548 w 5338201"/>
                  <a:gd name="connsiteY3470" fmla="*/ 531925 h 4122274"/>
                  <a:gd name="connsiteX3471" fmla="*/ 1083469 w 5338201"/>
                  <a:gd name="connsiteY3471" fmla="*/ 525705 h 4122274"/>
                  <a:gd name="connsiteX3472" fmla="*/ 1230430 w 5338201"/>
                  <a:gd name="connsiteY3472" fmla="*/ 378762 h 4122274"/>
                  <a:gd name="connsiteX3473" fmla="*/ 1221599 w 5338201"/>
                  <a:gd name="connsiteY3473" fmla="*/ 335125 h 4122274"/>
                  <a:gd name="connsiteX3474" fmla="*/ 1254250 w 5338201"/>
                  <a:gd name="connsiteY3474" fmla="*/ 256229 h 4122274"/>
                  <a:gd name="connsiteX3475" fmla="*/ 1333131 w 5338201"/>
                  <a:gd name="connsiteY3475" fmla="*/ 223579 h 4122274"/>
                  <a:gd name="connsiteX3476" fmla="*/ 2398143 w 5338201"/>
                  <a:gd name="connsiteY3476" fmla="*/ 190869 h 4122274"/>
                  <a:gd name="connsiteX3477" fmla="*/ 2398143 w 5338201"/>
                  <a:gd name="connsiteY3477" fmla="*/ 220214 h 4122274"/>
                  <a:gd name="connsiteX3478" fmla="*/ 2456323 w 5338201"/>
                  <a:gd name="connsiteY3478" fmla="*/ 220214 h 4122274"/>
                  <a:gd name="connsiteX3479" fmla="*/ 2470991 w 5338201"/>
                  <a:gd name="connsiteY3479" fmla="*/ 205548 h 4122274"/>
                  <a:gd name="connsiteX3480" fmla="*/ 2456323 w 5338201"/>
                  <a:gd name="connsiteY3480" fmla="*/ 190869 h 4122274"/>
                  <a:gd name="connsiteX3481" fmla="*/ 3147145 w 5338201"/>
                  <a:gd name="connsiteY3481" fmla="*/ 185407 h 4122274"/>
                  <a:gd name="connsiteX3482" fmla="*/ 3211479 w 5338201"/>
                  <a:gd name="connsiteY3482" fmla="*/ 248819 h 4122274"/>
                  <a:gd name="connsiteX3483" fmla="*/ 3174344 w 5338201"/>
                  <a:gd name="connsiteY3483" fmla="*/ 308112 h 4122274"/>
                  <a:gd name="connsiteX3484" fmla="*/ 3147145 w 5338201"/>
                  <a:gd name="connsiteY3484" fmla="*/ 314211 h 4122274"/>
                  <a:gd name="connsiteX3485" fmla="*/ 3082728 w 5338201"/>
                  <a:gd name="connsiteY3485" fmla="*/ 249816 h 4122274"/>
                  <a:gd name="connsiteX3486" fmla="*/ 3147145 w 5338201"/>
                  <a:gd name="connsiteY3486" fmla="*/ 185407 h 4122274"/>
                  <a:gd name="connsiteX3487" fmla="*/ 2161827 w 5338201"/>
                  <a:gd name="connsiteY3487" fmla="*/ 172292 h 4122274"/>
                  <a:gd name="connsiteX3488" fmla="*/ 2151861 w 5338201"/>
                  <a:gd name="connsiteY3488" fmla="*/ 182263 h 4122274"/>
                  <a:gd name="connsiteX3489" fmla="*/ 2151861 w 5338201"/>
                  <a:gd name="connsiteY3489" fmla="*/ 195515 h 4122274"/>
                  <a:gd name="connsiteX3490" fmla="*/ 2130107 w 5338201"/>
                  <a:gd name="connsiteY3490" fmla="*/ 175028 h 4122274"/>
                  <a:gd name="connsiteX3491" fmla="*/ 2119230 w 5338201"/>
                  <a:gd name="connsiteY3491" fmla="*/ 173021 h 4122274"/>
                  <a:gd name="connsiteX3492" fmla="*/ 2113234 w 5338201"/>
                  <a:gd name="connsiteY3492" fmla="*/ 182263 h 4122274"/>
                  <a:gd name="connsiteX3493" fmla="*/ 2113234 w 5338201"/>
                  <a:gd name="connsiteY3493" fmla="*/ 218716 h 4122274"/>
                  <a:gd name="connsiteX3494" fmla="*/ 2123220 w 5338201"/>
                  <a:gd name="connsiteY3494" fmla="*/ 228687 h 4122274"/>
                  <a:gd name="connsiteX3495" fmla="*/ 2133368 w 5338201"/>
                  <a:gd name="connsiteY3495" fmla="*/ 218716 h 4122274"/>
                  <a:gd name="connsiteX3496" fmla="*/ 2133368 w 5338201"/>
                  <a:gd name="connsiteY3496" fmla="*/ 205484 h 4122274"/>
                  <a:gd name="connsiteX3497" fmla="*/ 2154940 w 5338201"/>
                  <a:gd name="connsiteY3497" fmla="*/ 225972 h 4122274"/>
                  <a:gd name="connsiteX3498" fmla="*/ 2161827 w 5338201"/>
                  <a:gd name="connsiteY3498" fmla="*/ 228687 h 4122274"/>
                  <a:gd name="connsiteX3499" fmla="*/ 2165817 w 5338201"/>
                  <a:gd name="connsiteY3499" fmla="*/ 227957 h 4122274"/>
                  <a:gd name="connsiteX3500" fmla="*/ 2171975 w 5338201"/>
                  <a:gd name="connsiteY3500" fmla="*/ 218716 h 4122274"/>
                  <a:gd name="connsiteX3501" fmla="*/ 2171975 w 5338201"/>
                  <a:gd name="connsiteY3501" fmla="*/ 182263 h 4122274"/>
                  <a:gd name="connsiteX3502" fmla="*/ 2161827 w 5338201"/>
                  <a:gd name="connsiteY3502" fmla="*/ 172292 h 4122274"/>
                  <a:gd name="connsiteX3503" fmla="*/ 2834518 w 5338201"/>
                  <a:gd name="connsiteY3503" fmla="*/ 163602 h 4122274"/>
                  <a:gd name="connsiteX3504" fmla="*/ 2884554 w 5338201"/>
                  <a:gd name="connsiteY3504" fmla="*/ 163602 h 4122274"/>
                  <a:gd name="connsiteX3505" fmla="*/ 2886189 w 5338201"/>
                  <a:gd name="connsiteY3505" fmla="*/ 165041 h 4122274"/>
                  <a:gd name="connsiteX3506" fmla="*/ 2886189 w 5338201"/>
                  <a:gd name="connsiteY3506" fmla="*/ 293597 h 4122274"/>
                  <a:gd name="connsiteX3507" fmla="*/ 2908132 w 5338201"/>
                  <a:gd name="connsiteY3507" fmla="*/ 293597 h 4122274"/>
                  <a:gd name="connsiteX3508" fmla="*/ 2909767 w 5338201"/>
                  <a:gd name="connsiteY3508" fmla="*/ 295050 h 4122274"/>
                  <a:gd name="connsiteX3509" fmla="*/ 2909767 w 5338201"/>
                  <a:gd name="connsiteY3509" fmla="*/ 314994 h 4122274"/>
                  <a:gd name="connsiteX3510" fmla="*/ 2908132 w 5338201"/>
                  <a:gd name="connsiteY3510" fmla="*/ 316629 h 4122274"/>
                  <a:gd name="connsiteX3511" fmla="*/ 2834881 w 5338201"/>
                  <a:gd name="connsiteY3511" fmla="*/ 316629 h 4122274"/>
                  <a:gd name="connsiteX3512" fmla="*/ 2833246 w 5338201"/>
                  <a:gd name="connsiteY3512" fmla="*/ 314994 h 4122274"/>
                  <a:gd name="connsiteX3513" fmla="*/ 2833246 w 5338201"/>
                  <a:gd name="connsiteY3513" fmla="*/ 295050 h 4122274"/>
                  <a:gd name="connsiteX3514" fmla="*/ 2834881 w 5338201"/>
                  <a:gd name="connsiteY3514" fmla="*/ 293597 h 4122274"/>
                  <a:gd name="connsiteX3515" fmla="*/ 2855916 w 5338201"/>
                  <a:gd name="connsiteY3515" fmla="*/ 293597 h 4122274"/>
                  <a:gd name="connsiteX3516" fmla="*/ 2855916 w 5338201"/>
                  <a:gd name="connsiteY3516" fmla="*/ 186984 h 4122274"/>
                  <a:gd name="connsiteX3517" fmla="*/ 2834518 w 5338201"/>
                  <a:gd name="connsiteY3517" fmla="*/ 186984 h 4122274"/>
                  <a:gd name="connsiteX3518" fmla="*/ 2833064 w 5338201"/>
                  <a:gd name="connsiteY3518" fmla="*/ 185532 h 4122274"/>
                  <a:gd name="connsiteX3519" fmla="*/ 2833064 w 5338201"/>
                  <a:gd name="connsiteY3519" fmla="*/ 165041 h 4122274"/>
                  <a:gd name="connsiteX3520" fmla="*/ 2834518 w 5338201"/>
                  <a:gd name="connsiteY3520" fmla="*/ 163602 h 4122274"/>
                  <a:gd name="connsiteX3521" fmla="*/ 1871415 w 5338201"/>
                  <a:gd name="connsiteY3521" fmla="*/ 159843 h 4122274"/>
                  <a:gd name="connsiteX3522" fmla="*/ 1873370 w 5338201"/>
                  <a:gd name="connsiteY3522" fmla="*/ 172230 h 4122274"/>
                  <a:gd name="connsiteX3523" fmla="*/ 1866206 w 5338201"/>
                  <a:gd name="connsiteY3523" fmla="*/ 182116 h 4122274"/>
                  <a:gd name="connsiteX3524" fmla="*/ 1885680 w 5338201"/>
                  <a:gd name="connsiteY3524" fmla="*/ 220859 h 4122274"/>
                  <a:gd name="connsiteX3525" fmla="*/ 1872729 w 5338201"/>
                  <a:gd name="connsiteY3525" fmla="*/ 271091 h 4122274"/>
                  <a:gd name="connsiteX3526" fmla="*/ 1865627 w 5338201"/>
                  <a:gd name="connsiteY3526" fmla="*/ 274640 h 4122274"/>
                  <a:gd name="connsiteX3527" fmla="*/ 1860325 w 5338201"/>
                  <a:gd name="connsiteY3527" fmla="*/ 272858 h 4122274"/>
                  <a:gd name="connsiteX3528" fmla="*/ 1821503 w 5338201"/>
                  <a:gd name="connsiteY3528" fmla="*/ 243649 h 4122274"/>
                  <a:gd name="connsiteX3529" fmla="*/ 1814136 w 5338201"/>
                  <a:gd name="connsiteY3529" fmla="*/ 253801 h 4122274"/>
                  <a:gd name="connsiteX3530" fmla="*/ 1860560 w 5338201"/>
                  <a:gd name="connsiteY3530" fmla="*/ 358414 h 4122274"/>
                  <a:gd name="connsiteX3531" fmla="*/ 1807833 w 5338201"/>
                  <a:gd name="connsiteY3531" fmla="*/ 468379 h 4122274"/>
                  <a:gd name="connsiteX3532" fmla="*/ 1821785 w 5338201"/>
                  <a:gd name="connsiteY3532" fmla="*/ 505039 h 4122274"/>
                  <a:gd name="connsiteX3533" fmla="*/ 1816639 w 5338201"/>
                  <a:gd name="connsiteY3533" fmla="*/ 516494 h 4122274"/>
                  <a:gd name="connsiteX3534" fmla="*/ 1813480 w 5338201"/>
                  <a:gd name="connsiteY3534" fmla="*/ 517059 h 4122274"/>
                  <a:gd name="connsiteX3535" fmla="*/ 1805205 w 5338201"/>
                  <a:gd name="connsiteY3535" fmla="*/ 511341 h 4122274"/>
                  <a:gd name="connsiteX3536" fmla="*/ 1792896 w 5338201"/>
                  <a:gd name="connsiteY3536" fmla="*/ 478948 h 4122274"/>
                  <a:gd name="connsiteX3537" fmla="*/ 1719272 w 5338201"/>
                  <a:gd name="connsiteY3537" fmla="*/ 499687 h 4122274"/>
                  <a:gd name="connsiteX3538" fmla="*/ 1645696 w 5338201"/>
                  <a:gd name="connsiteY3538" fmla="*/ 478948 h 4122274"/>
                  <a:gd name="connsiteX3539" fmla="*/ 1633386 w 5338201"/>
                  <a:gd name="connsiteY3539" fmla="*/ 511341 h 4122274"/>
                  <a:gd name="connsiteX3540" fmla="*/ 1625081 w 5338201"/>
                  <a:gd name="connsiteY3540" fmla="*/ 517059 h 4122274"/>
                  <a:gd name="connsiteX3541" fmla="*/ 1621952 w 5338201"/>
                  <a:gd name="connsiteY3541" fmla="*/ 516476 h 4122274"/>
                  <a:gd name="connsiteX3542" fmla="*/ 1616822 w 5338201"/>
                  <a:gd name="connsiteY3542" fmla="*/ 505039 h 4122274"/>
                  <a:gd name="connsiteX3543" fmla="*/ 1630743 w 5338201"/>
                  <a:gd name="connsiteY3543" fmla="*/ 468379 h 4122274"/>
                  <a:gd name="connsiteX3544" fmla="*/ 1578016 w 5338201"/>
                  <a:gd name="connsiteY3544" fmla="*/ 358414 h 4122274"/>
                  <a:gd name="connsiteX3545" fmla="*/ 1624971 w 5338201"/>
                  <a:gd name="connsiteY3545" fmla="*/ 253351 h 4122274"/>
                  <a:gd name="connsiteX3546" fmla="*/ 1617557 w 5338201"/>
                  <a:gd name="connsiteY3546" fmla="*/ 243299 h 4122274"/>
                  <a:gd name="connsiteX3547" fmla="*/ 1578266 w 5338201"/>
                  <a:gd name="connsiteY3547" fmla="*/ 272858 h 4122274"/>
                  <a:gd name="connsiteX3548" fmla="*/ 1572948 w 5338201"/>
                  <a:gd name="connsiteY3548" fmla="*/ 274640 h 4122274"/>
                  <a:gd name="connsiteX3549" fmla="*/ 1565847 w 5338201"/>
                  <a:gd name="connsiteY3549" fmla="*/ 271091 h 4122274"/>
                  <a:gd name="connsiteX3550" fmla="*/ 1552881 w 5338201"/>
                  <a:gd name="connsiteY3550" fmla="*/ 220859 h 4122274"/>
                  <a:gd name="connsiteX3551" fmla="*/ 1572448 w 5338201"/>
                  <a:gd name="connsiteY3551" fmla="*/ 182048 h 4122274"/>
                  <a:gd name="connsiteX3552" fmla="*/ 1565237 w 5338201"/>
                  <a:gd name="connsiteY3552" fmla="*/ 172280 h 4122274"/>
                  <a:gd name="connsiteX3553" fmla="*/ 1567114 w 5338201"/>
                  <a:gd name="connsiteY3553" fmla="*/ 159875 h 4122274"/>
                  <a:gd name="connsiteX3554" fmla="*/ 1579518 w 5338201"/>
                  <a:gd name="connsiteY3554" fmla="*/ 161760 h 4122274"/>
                  <a:gd name="connsiteX3555" fmla="*/ 1586588 w 5338201"/>
                  <a:gd name="connsiteY3555" fmla="*/ 171346 h 4122274"/>
                  <a:gd name="connsiteX3556" fmla="*/ 1619982 w 5338201"/>
                  <a:gd name="connsiteY3556" fmla="*/ 162526 h 4122274"/>
                  <a:gd name="connsiteX3557" fmla="*/ 1674194 w 5338201"/>
                  <a:gd name="connsiteY3557" fmla="*/ 189567 h 4122274"/>
                  <a:gd name="connsiteX3558" fmla="*/ 1675899 w 5338201"/>
                  <a:gd name="connsiteY3558" fmla="*/ 196135 h 4122274"/>
                  <a:gd name="connsiteX3559" fmla="*/ 1672458 w 5338201"/>
                  <a:gd name="connsiteY3559" fmla="*/ 201987 h 4122274"/>
                  <a:gd name="connsiteX3560" fmla="*/ 1631713 w 5338201"/>
                  <a:gd name="connsiteY3560" fmla="*/ 232629 h 4122274"/>
                  <a:gd name="connsiteX3561" fmla="*/ 1638876 w 5338201"/>
                  <a:gd name="connsiteY3561" fmla="*/ 242348 h 4122274"/>
                  <a:gd name="connsiteX3562" fmla="*/ 1719304 w 5338201"/>
                  <a:gd name="connsiteY3562" fmla="*/ 217159 h 4122274"/>
                  <a:gd name="connsiteX3563" fmla="*/ 1800247 w 5338201"/>
                  <a:gd name="connsiteY3563" fmla="*/ 242748 h 4122274"/>
                  <a:gd name="connsiteX3564" fmla="*/ 1807333 w 5338201"/>
                  <a:gd name="connsiteY3564" fmla="*/ 232997 h 4122274"/>
                  <a:gd name="connsiteX3565" fmla="*/ 1766133 w 5338201"/>
                  <a:gd name="connsiteY3565" fmla="*/ 201987 h 4122274"/>
                  <a:gd name="connsiteX3566" fmla="*/ 1762677 w 5338201"/>
                  <a:gd name="connsiteY3566" fmla="*/ 196135 h 4122274"/>
                  <a:gd name="connsiteX3567" fmla="*/ 1764382 w 5338201"/>
                  <a:gd name="connsiteY3567" fmla="*/ 189567 h 4122274"/>
                  <a:gd name="connsiteX3568" fmla="*/ 1818610 w 5338201"/>
                  <a:gd name="connsiteY3568" fmla="*/ 162526 h 4122274"/>
                  <a:gd name="connsiteX3569" fmla="*/ 1852051 w 5338201"/>
                  <a:gd name="connsiteY3569" fmla="*/ 171396 h 4122274"/>
                  <a:gd name="connsiteX3570" fmla="*/ 1859027 w 5338201"/>
                  <a:gd name="connsiteY3570" fmla="*/ 161810 h 4122274"/>
                  <a:gd name="connsiteX3571" fmla="*/ 1871415 w 5338201"/>
                  <a:gd name="connsiteY3571" fmla="*/ 159843 h 4122274"/>
                  <a:gd name="connsiteX3572" fmla="*/ 2139890 w 5338201"/>
                  <a:gd name="connsiteY3572" fmla="*/ 152718 h 4122274"/>
                  <a:gd name="connsiteX3573" fmla="*/ 2323931 w 5338201"/>
                  <a:gd name="connsiteY3573" fmla="*/ 336752 h 4122274"/>
                  <a:gd name="connsiteX3574" fmla="*/ 2139890 w 5338201"/>
                  <a:gd name="connsiteY3574" fmla="*/ 520605 h 4122274"/>
                  <a:gd name="connsiteX3575" fmla="*/ 1955850 w 5338201"/>
                  <a:gd name="connsiteY3575" fmla="*/ 336752 h 4122274"/>
                  <a:gd name="connsiteX3576" fmla="*/ 2139890 w 5338201"/>
                  <a:gd name="connsiteY3576" fmla="*/ 152718 h 4122274"/>
                  <a:gd name="connsiteX3577" fmla="*/ 2398143 w 5338201"/>
                  <a:gd name="connsiteY3577" fmla="*/ 136647 h 4122274"/>
                  <a:gd name="connsiteX3578" fmla="*/ 2398143 w 5338201"/>
                  <a:gd name="connsiteY3578" fmla="*/ 166017 h 4122274"/>
                  <a:gd name="connsiteX3579" fmla="*/ 2456323 w 5338201"/>
                  <a:gd name="connsiteY3579" fmla="*/ 166017 h 4122274"/>
                  <a:gd name="connsiteX3580" fmla="*/ 2470991 w 5338201"/>
                  <a:gd name="connsiteY3580" fmla="*/ 151326 h 4122274"/>
                  <a:gd name="connsiteX3581" fmla="*/ 2456323 w 5338201"/>
                  <a:gd name="connsiteY3581" fmla="*/ 136647 h 4122274"/>
                  <a:gd name="connsiteX3582" fmla="*/ 2141896 w 5338201"/>
                  <a:gd name="connsiteY3582" fmla="*/ 134581 h 4122274"/>
                  <a:gd name="connsiteX3583" fmla="*/ 1943170 w 5338201"/>
                  <a:gd name="connsiteY3583" fmla="*/ 333308 h 4122274"/>
                  <a:gd name="connsiteX3584" fmla="*/ 2141896 w 5338201"/>
                  <a:gd name="connsiteY3584" fmla="*/ 532036 h 4122274"/>
                  <a:gd name="connsiteX3585" fmla="*/ 2340783 w 5338201"/>
                  <a:gd name="connsiteY3585" fmla="*/ 333308 h 4122274"/>
                  <a:gd name="connsiteX3586" fmla="*/ 2141896 w 5338201"/>
                  <a:gd name="connsiteY3586" fmla="*/ 134581 h 4122274"/>
                  <a:gd name="connsiteX3587" fmla="*/ 2565111 w 5338201"/>
                  <a:gd name="connsiteY3587" fmla="*/ 120848 h 4122274"/>
                  <a:gd name="connsiteX3588" fmla="*/ 2507516 w 5338201"/>
                  <a:gd name="connsiteY3588" fmla="*/ 178443 h 4122274"/>
                  <a:gd name="connsiteX3589" fmla="*/ 2565111 w 5338201"/>
                  <a:gd name="connsiteY3589" fmla="*/ 236027 h 4122274"/>
                  <a:gd name="connsiteX3590" fmla="*/ 2622693 w 5338201"/>
                  <a:gd name="connsiteY3590" fmla="*/ 178443 h 4122274"/>
                  <a:gd name="connsiteX3591" fmla="*/ 2565111 w 5338201"/>
                  <a:gd name="connsiteY3591" fmla="*/ 120848 h 4122274"/>
                  <a:gd name="connsiteX3592" fmla="*/ 3359683 w 5338201"/>
                  <a:gd name="connsiteY3592" fmla="*/ 119968 h 4122274"/>
                  <a:gd name="connsiteX3593" fmla="*/ 3429605 w 5338201"/>
                  <a:gd name="connsiteY3593" fmla="*/ 189876 h 4122274"/>
                  <a:gd name="connsiteX3594" fmla="*/ 3359683 w 5338201"/>
                  <a:gd name="connsiteY3594" fmla="*/ 259782 h 4122274"/>
                  <a:gd name="connsiteX3595" fmla="*/ 3289761 w 5338201"/>
                  <a:gd name="connsiteY3595" fmla="*/ 189876 h 4122274"/>
                  <a:gd name="connsiteX3596" fmla="*/ 3359683 w 5338201"/>
                  <a:gd name="connsiteY3596" fmla="*/ 119968 h 4122274"/>
                  <a:gd name="connsiteX3597" fmla="*/ 2141896 w 5338201"/>
                  <a:gd name="connsiteY3597" fmla="*/ 114459 h 4122274"/>
                  <a:gd name="connsiteX3598" fmla="*/ 2360735 w 5338201"/>
                  <a:gd name="connsiteY3598" fmla="*/ 333308 h 4122274"/>
                  <a:gd name="connsiteX3599" fmla="*/ 2141896 w 5338201"/>
                  <a:gd name="connsiteY3599" fmla="*/ 552156 h 4122274"/>
                  <a:gd name="connsiteX3600" fmla="*/ 1923219 w 5338201"/>
                  <a:gd name="connsiteY3600" fmla="*/ 333308 h 4122274"/>
                  <a:gd name="connsiteX3601" fmla="*/ 2141896 w 5338201"/>
                  <a:gd name="connsiteY3601" fmla="*/ 114459 h 4122274"/>
                  <a:gd name="connsiteX3602" fmla="*/ 2866971 w 5338201"/>
                  <a:gd name="connsiteY3602" fmla="*/ 103586 h 4122274"/>
                  <a:gd name="connsiteX3603" fmla="*/ 2889991 w 5338201"/>
                  <a:gd name="connsiteY3603" fmla="*/ 126606 h 4122274"/>
                  <a:gd name="connsiteX3604" fmla="*/ 2866971 w 5338201"/>
                  <a:gd name="connsiteY3604" fmla="*/ 149639 h 4122274"/>
                  <a:gd name="connsiteX3605" fmla="*/ 2843938 w 5338201"/>
                  <a:gd name="connsiteY3605" fmla="*/ 126606 h 4122274"/>
                  <a:gd name="connsiteX3606" fmla="*/ 2866971 w 5338201"/>
                  <a:gd name="connsiteY3606" fmla="*/ 103586 h 4122274"/>
                  <a:gd name="connsiteX3607" fmla="*/ 2869515 w 5338201"/>
                  <a:gd name="connsiteY3607" fmla="*/ 74753 h 4122274"/>
                  <a:gd name="connsiteX3608" fmla="*/ 2733342 w 5338201"/>
                  <a:gd name="connsiteY3608" fmla="*/ 210928 h 4122274"/>
                  <a:gd name="connsiteX3609" fmla="*/ 2869515 w 5338201"/>
                  <a:gd name="connsiteY3609" fmla="*/ 347086 h 4122274"/>
                  <a:gd name="connsiteX3610" fmla="*/ 3005674 w 5338201"/>
                  <a:gd name="connsiteY3610" fmla="*/ 210928 h 4122274"/>
                  <a:gd name="connsiteX3611" fmla="*/ 2869515 w 5338201"/>
                  <a:gd name="connsiteY3611" fmla="*/ 74753 h 4122274"/>
                  <a:gd name="connsiteX3612" fmla="*/ 2869515 w 5338201"/>
                  <a:gd name="connsiteY3612" fmla="*/ 60063 h 4122274"/>
                  <a:gd name="connsiteX3613" fmla="*/ 3020545 w 5338201"/>
                  <a:gd name="connsiteY3613" fmla="*/ 210928 h 4122274"/>
                  <a:gd name="connsiteX3614" fmla="*/ 2869515 w 5338201"/>
                  <a:gd name="connsiteY3614" fmla="*/ 361955 h 4122274"/>
                  <a:gd name="connsiteX3615" fmla="*/ 2718653 w 5338201"/>
                  <a:gd name="connsiteY3615" fmla="*/ 210928 h 4122274"/>
                  <a:gd name="connsiteX3616" fmla="*/ 2869515 w 5338201"/>
                  <a:gd name="connsiteY3616" fmla="*/ 60063 h 4122274"/>
                  <a:gd name="connsiteX3617" fmla="*/ 2400210 w 5338201"/>
                  <a:gd name="connsiteY3617" fmla="*/ 0 h 4122274"/>
                  <a:gd name="connsiteX3618" fmla="*/ 2421021 w 5338201"/>
                  <a:gd name="connsiteY3618" fmla="*/ 16451 h 4122274"/>
                  <a:gd name="connsiteX3619" fmla="*/ 2597301 w 5338201"/>
                  <a:gd name="connsiteY3619" fmla="*/ 75532 h 4122274"/>
                  <a:gd name="connsiteX3620" fmla="*/ 2636830 w 5338201"/>
                  <a:gd name="connsiteY3620" fmla="*/ 75532 h 4122274"/>
                  <a:gd name="connsiteX3621" fmla="*/ 2660714 w 5338201"/>
                  <a:gd name="connsiteY3621" fmla="*/ 99420 h 4122274"/>
                  <a:gd name="connsiteX3622" fmla="*/ 2660714 w 5338201"/>
                  <a:gd name="connsiteY3622" fmla="*/ 257452 h 4122274"/>
                  <a:gd name="connsiteX3623" fmla="*/ 2636830 w 5338201"/>
                  <a:gd name="connsiteY3623" fmla="*/ 281340 h 4122274"/>
                  <a:gd name="connsiteX3624" fmla="*/ 2390980 w 5338201"/>
                  <a:gd name="connsiteY3624" fmla="*/ 281340 h 4122274"/>
                  <a:gd name="connsiteX3625" fmla="*/ 2367096 w 5338201"/>
                  <a:gd name="connsiteY3625" fmla="*/ 257452 h 4122274"/>
                  <a:gd name="connsiteX3626" fmla="*/ 2367096 w 5338201"/>
                  <a:gd name="connsiteY3626" fmla="*/ 99420 h 4122274"/>
                  <a:gd name="connsiteX3627" fmla="*/ 2390980 w 5338201"/>
                  <a:gd name="connsiteY3627" fmla="*/ 75532 h 4122274"/>
                  <a:gd name="connsiteX3628" fmla="*/ 2526207 w 5338201"/>
                  <a:gd name="connsiteY3628" fmla="*/ 75532 h 4122274"/>
                  <a:gd name="connsiteX3629" fmla="*/ 2413830 w 5338201"/>
                  <a:gd name="connsiteY3629" fmla="*/ 37878 h 4122274"/>
                  <a:gd name="connsiteX3630" fmla="*/ 2400210 w 5338201"/>
                  <a:gd name="connsiteY3630" fmla="*/ 42787 h 4122274"/>
                  <a:gd name="connsiteX3631" fmla="*/ 2378814 w 5338201"/>
                  <a:gd name="connsiteY3631" fmla="*/ 21389 h 4122274"/>
                  <a:gd name="connsiteX3632" fmla="*/ 2400210 w 5338201"/>
                  <a:gd name="connsiteY3632" fmla="*/ 0 h 412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</a:cxnLst>
                <a:rect l="l" t="t" r="r" b="b"/>
                <a:pathLst>
                  <a:path w="5338201" h="4122274">
                    <a:moveTo>
                      <a:pt x="4462721" y="3850125"/>
                    </a:moveTo>
                    <a:cubicBezTo>
                      <a:pt x="4471067" y="3847932"/>
                      <a:pt x="4477511" y="3863536"/>
                      <a:pt x="4477511" y="3863536"/>
                    </a:cubicBezTo>
                    <a:lnTo>
                      <a:pt x="4477548" y="3863536"/>
                    </a:lnTo>
                    <a:cubicBezTo>
                      <a:pt x="4482126" y="3873404"/>
                      <a:pt x="4486960" y="3881818"/>
                      <a:pt x="4499860" y="3896262"/>
                    </a:cubicBezTo>
                    <a:cubicBezTo>
                      <a:pt x="4514299" y="3912491"/>
                      <a:pt x="4526885" y="3907328"/>
                      <a:pt x="4546448" y="3920013"/>
                    </a:cubicBezTo>
                    <a:cubicBezTo>
                      <a:pt x="4549888" y="3922231"/>
                      <a:pt x="4554769" y="3926145"/>
                      <a:pt x="4559845" y="3931167"/>
                    </a:cubicBezTo>
                    <a:cubicBezTo>
                      <a:pt x="4560208" y="3931422"/>
                      <a:pt x="4560596" y="3931779"/>
                      <a:pt x="4561020" y="3932340"/>
                    </a:cubicBezTo>
                    <a:cubicBezTo>
                      <a:pt x="4561504" y="3932991"/>
                      <a:pt x="4562037" y="3933398"/>
                      <a:pt x="4562534" y="3934010"/>
                    </a:cubicBezTo>
                    <a:cubicBezTo>
                      <a:pt x="4563394" y="3934928"/>
                      <a:pt x="4564254" y="3935859"/>
                      <a:pt x="4565114" y="3936841"/>
                    </a:cubicBezTo>
                    <a:cubicBezTo>
                      <a:pt x="4576985" y="3943814"/>
                      <a:pt x="4591424" y="3939008"/>
                      <a:pt x="4597675" y="3937376"/>
                    </a:cubicBezTo>
                    <a:cubicBezTo>
                      <a:pt x="4610212" y="3934125"/>
                      <a:pt x="4618667" y="3939684"/>
                      <a:pt x="4621743" y="3951527"/>
                    </a:cubicBezTo>
                    <a:lnTo>
                      <a:pt x="4644516" y="4038854"/>
                    </a:lnTo>
                    <a:cubicBezTo>
                      <a:pt x="4647969" y="4052126"/>
                      <a:pt x="4643705" y="4058003"/>
                      <a:pt x="4630017" y="4061572"/>
                    </a:cubicBezTo>
                    <a:lnTo>
                      <a:pt x="4610926" y="4066557"/>
                    </a:lnTo>
                    <a:cubicBezTo>
                      <a:pt x="4601308" y="4069069"/>
                      <a:pt x="4595203" y="4076539"/>
                      <a:pt x="4584750" y="4083576"/>
                    </a:cubicBezTo>
                    <a:cubicBezTo>
                      <a:pt x="4570408" y="4093138"/>
                      <a:pt x="4547938" y="4103375"/>
                      <a:pt x="4507370" y="4113931"/>
                    </a:cubicBezTo>
                    <a:cubicBezTo>
                      <a:pt x="4500284" y="4115792"/>
                      <a:pt x="4478287" y="4121554"/>
                      <a:pt x="4478287" y="4121554"/>
                    </a:cubicBezTo>
                    <a:cubicBezTo>
                      <a:pt x="4471552" y="4123301"/>
                      <a:pt x="4465350" y="4121656"/>
                      <a:pt x="4460480" y="4118928"/>
                    </a:cubicBezTo>
                    <a:cubicBezTo>
                      <a:pt x="4458627" y="4117895"/>
                      <a:pt x="4456543" y="4116276"/>
                      <a:pt x="4454835" y="4112439"/>
                    </a:cubicBezTo>
                    <a:cubicBezTo>
                      <a:pt x="4454557" y="4111840"/>
                      <a:pt x="4453769" y="4109252"/>
                      <a:pt x="4453697" y="4108921"/>
                    </a:cubicBezTo>
                    <a:cubicBezTo>
                      <a:pt x="4450196" y="4097600"/>
                      <a:pt x="4456047" y="4091633"/>
                      <a:pt x="4459620" y="4089313"/>
                    </a:cubicBezTo>
                    <a:cubicBezTo>
                      <a:pt x="4459511" y="4089313"/>
                      <a:pt x="4459559" y="4089173"/>
                      <a:pt x="4459341" y="4089262"/>
                    </a:cubicBezTo>
                    <a:lnTo>
                      <a:pt x="4447034" y="4093049"/>
                    </a:lnTo>
                    <a:cubicBezTo>
                      <a:pt x="4436108" y="4096440"/>
                      <a:pt x="4423123" y="4091315"/>
                      <a:pt x="4419610" y="4077776"/>
                    </a:cubicBezTo>
                    <a:cubicBezTo>
                      <a:pt x="4416679" y="4066544"/>
                      <a:pt x="4423716" y="4056256"/>
                      <a:pt x="4434594" y="4052852"/>
                    </a:cubicBezTo>
                    <a:lnTo>
                      <a:pt x="4428077" y="4054879"/>
                    </a:lnTo>
                    <a:cubicBezTo>
                      <a:pt x="4417151" y="4058245"/>
                      <a:pt x="4405547" y="4051973"/>
                      <a:pt x="4402094" y="4040882"/>
                    </a:cubicBezTo>
                    <a:cubicBezTo>
                      <a:pt x="4398691" y="4029765"/>
                      <a:pt x="4404771" y="4018023"/>
                      <a:pt x="4415685" y="4014645"/>
                    </a:cubicBezTo>
                    <a:cubicBezTo>
                      <a:pt x="4404771" y="4018023"/>
                      <a:pt x="4393143" y="4011777"/>
                      <a:pt x="4389739" y="4000660"/>
                    </a:cubicBezTo>
                    <a:cubicBezTo>
                      <a:pt x="4386323" y="3989530"/>
                      <a:pt x="4391459" y="3977419"/>
                      <a:pt x="4402385" y="3974054"/>
                    </a:cubicBezTo>
                    <a:lnTo>
                      <a:pt x="4473344" y="3945739"/>
                    </a:lnTo>
                    <a:cubicBezTo>
                      <a:pt x="4473344" y="3945739"/>
                      <a:pt x="4451383" y="3924143"/>
                      <a:pt x="4441523" y="3886254"/>
                    </a:cubicBezTo>
                    <a:cubicBezTo>
                      <a:pt x="4434945" y="3860987"/>
                      <a:pt x="4452098" y="3852879"/>
                      <a:pt x="4462721" y="3850125"/>
                    </a:cubicBezTo>
                    <a:close/>
                    <a:moveTo>
                      <a:pt x="4788298" y="3680904"/>
                    </a:moveTo>
                    <a:cubicBezTo>
                      <a:pt x="4811386" y="3680321"/>
                      <a:pt x="4834091" y="3686295"/>
                      <a:pt x="4853955" y="3698229"/>
                    </a:cubicBezTo>
                    <a:lnTo>
                      <a:pt x="4859511" y="3701586"/>
                    </a:lnTo>
                    <a:cubicBezTo>
                      <a:pt x="4879374" y="3713534"/>
                      <a:pt x="4895308" y="3730788"/>
                      <a:pt x="4905586" y="3751455"/>
                    </a:cubicBezTo>
                    <a:cubicBezTo>
                      <a:pt x="4915581" y="3771568"/>
                      <a:pt x="4919809" y="3793999"/>
                      <a:pt x="4917843" y="3816303"/>
                    </a:cubicBezTo>
                    <a:cubicBezTo>
                      <a:pt x="4916854" y="3827440"/>
                      <a:pt x="4909700" y="3836543"/>
                      <a:pt x="4900058" y="3840555"/>
                    </a:cubicBezTo>
                    <a:cubicBezTo>
                      <a:pt x="4897598" y="3847823"/>
                      <a:pt x="4894346" y="3854907"/>
                      <a:pt x="4890246" y="3861734"/>
                    </a:cubicBezTo>
                    <a:lnTo>
                      <a:pt x="4883531" y="3872900"/>
                    </a:lnTo>
                    <a:cubicBezTo>
                      <a:pt x="4887786" y="3881762"/>
                      <a:pt x="4888804" y="3892046"/>
                      <a:pt x="4886090" y="3901775"/>
                    </a:cubicBezTo>
                    <a:cubicBezTo>
                      <a:pt x="4893215" y="3913126"/>
                      <a:pt x="4893837" y="3927976"/>
                      <a:pt x="4886457" y="3940251"/>
                    </a:cubicBezTo>
                    <a:lnTo>
                      <a:pt x="4877777" y="3954688"/>
                    </a:lnTo>
                    <a:cubicBezTo>
                      <a:pt x="4870397" y="3966964"/>
                      <a:pt x="4856980" y="3973350"/>
                      <a:pt x="4843606" y="3972383"/>
                    </a:cubicBezTo>
                    <a:cubicBezTo>
                      <a:pt x="4830556" y="3984815"/>
                      <a:pt x="4810339" y="3987560"/>
                      <a:pt x="4794137" y="3977817"/>
                    </a:cubicBezTo>
                    <a:cubicBezTo>
                      <a:pt x="4774712" y="3966139"/>
                      <a:pt x="4768421" y="3940905"/>
                      <a:pt x="4780113" y="3921461"/>
                    </a:cubicBezTo>
                    <a:lnTo>
                      <a:pt x="4811343" y="3869557"/>
                    </a:lnTo>
                    <a:cubicBezTo>
                      <a:pt x="4821112" y="3853299"/>
                      <a:pt x="4840396" y="3846230"/>
                      <a:pt x="4857828" y="3851237"/>
                    </a:cubicBezTo>
                    <a:lnTo>
                      <a:pt x="4861801" y="3844623"/>
                    </a:lnTo>
                    <a:cubicBezTo>
                      <a:pt x="4864021" y="3840953"/>
                      <a:pt x="4865859" y="3837141"/>
                      <a:pt x="4867400" y="3833243"/>
                    </a:cubicBezTo>
                    <a:cubicBezTo>
                      <a:pt x="4862169" y="3827469"/>
                      <a:pt x="4859242" y="3819588"/>
                      <a:pt x="4859991" y="3811196"/>
                    </a:cubicBezTo>
                    <a:cubicBezTo>
                      <a:pt x="4862140" y="3786873"/>
                      <a:pt x="4850477" y="3763930"/>
                      <a:pt x="4829567" y="3751370"/>
                    </a:cubicBezTo>
                    <a:lnTo>
                      <a:pt x="4824011" y="3748013"/>
                    </a:lnTo>
                    <a:cubicBezTo>
                      <a:pt x="4803101" y="3735439"/>
                      <a:pt x="4777398" y="3735894"/>
                      <a:pt x="4756912" y="3749179"/>
                    </a:cubicBezTo>
                    <a:cubicBezTo>
                      <a:pt x="4749844" y="3753788"/>
                      <a:pt x="4741530" y="3754912"/>
                      <a:pt x="4733953" y="3752963"/>
                    </a:cubicBezTo>
                    <a:cubicBezTo>
                      <a:pt x="4731238" y="3756121"/>
                      <a:pt x="4728750" y="3759577"/>
                      <a:pt x="4726530" y="3763261"/>
                    </a:cubicBezTo>
                    <a:lnTo>
                      <a:pt x="4722543" y="3769875"/>
                    </a:lnTo>
                    <a:cubicBezTo>
                      <a:pt x="4735126" y="3782919"/>
                      <a:pt x="4737939" y="3803259"/>
                      <a:pt x="4728156" y="3819531"/>
                    </a:cubicBezTo>
                    <a:lnTo>
                      <a:pt x="4696940" y="3871435"/>
                    </a:lnTo>
                    <a:cubicBezTo>
                      <a:pt x="4685248" y="3890851"/>
                      <a:pt x="4660012" y="3897124"/>
                      <a:pt x="4640572" y="3885446"/>
                    </a:cubicBezTo>
                    <a:cubicBezTo>
                      <a:pt x="4624370" y="3875702"/>
                      <a:pt x="4617330" y="3856557"/>
                      <a:pt x="4622179" y="3839203"/>
                    </a:cubicBezTo>
                    <a:cubicBezTo>
                      <a:pt x="4615053" y="3827838"/>
                      <a:pt x="4614431" y="3812988"/>
                      <a:pt x="4621811" y="3800727"/>
                    </a:cubicBezTo>
                    <a:lnTo>
                      <a:pt x="4630492" y="3786290"/>
                    </a:lnTo>
                    <a:cubicBezTo>
                      <a:pt x="4637872" y="3774015"/>
                      <a:pt x="4651303" y="3767628"/>
                      <a:pt x="4664663" y="3768581"/>
                    </a:cubicBezTo>
                    <a:cubicBezTo>
                      <a:pt x="4671972" y="3761625"/>
                      <a:pt x="4681529" y="3757700"/>
                      <a:pt x="4691384" y="3757316"/>
                    </a:cubicBezTo>
                    <a:lnTo>
                      <a:pt x="4698085" y="3746150"/>
                    </a:lnTo>
                    <a:cubicBezTo>
                      <a:pt x="4702185" y="3739336"/>
                      <a:pt x="4706935" y="3733135"/>
                      <a:pt x="4712180" y="3727559"/>
                    </a:cubicBezTo>
                    <a:cubicBezTo>
                      <a:pt x="4711219" y="3717147"/>
                      <a:pt x="4715899" y="3706564"/>
                      <a:pt x="4725272" y="3700476"/>
                    </a:cubicBezTo>
                    <a:cubicBezTo>
                      <a:pt x="4744075" y="3688286"/>
                      <a:pt x="4765862" y="3681516"/>
                      <a:pt x="4788298" y="3680904"/>
                    </a:cubicBezTo>
                    <a:close/>
                    <a:moveTo>
                      <a:pt x="5049920" y="3484551"/>
                    </a:moveTo>
                    <a:cubicBezTo>
                      <a:pt x="5061346" y="3484365"/>
                      <a:pt x="5070812" y="3493526"/>
                      <a:pt x="5070996" y="3504963"/>
                    </a:cubicBezTo>
                    <a:cubicBezTo>
                      <a:pt x="5071182" y="3516398"/>
                      <a:pt x="5062030" y="3525843"/>
                      <a:pt x="5050594" y="3526046"/>
                    </a:cubicBezTo>
                    <a:cubicBezTo>
                      <a:pt x="5039149" y="3526232"/>
                      <a:pt x="5029695" y="3517068"/>
                      <a:pt x="5029501" y="3505634"/>
                    </a:cubicBezTo>
                    <a:cubicBezTo>
                      <a:pt x="5029317" y="3494200"/>
                      <a:pt x="5038469" y="3484737"/>
                      <a:pt x="5049920" y="3484551"/>
                    </a:cubicBezTo>
                    <a:close/>
                    <a:moveTo>
                      <a:pt x="5048065" y="3463105"/>
                    </a:moveTo>
                    <a:cubicBezTo>
                      <a:pt x="5026945" y="3463444"/>
                      <a:pt x="5010040" y="3480908"/>
                      <a:pt x="5010389" y="3502042"/>
                    </a:cubicBezTo>
                    <a:cubicBezTo>
                      <a:pt x="5010729" y="3523160"/>
                      <a:pt x="5028194" y="3540048"/>
                      <a:pt x="5049320" y="3539714"/>
                    </a:cubicBezTo>
                    <a:cubicBezTo>
                      <a:pt x="5070430" y="3539365"/>
                      <a:pt x="5087340" y="3521911"/>
                      <a:pt x="5086991" y="3500783"/>
                    </a:cubicBezTo>
                    <a:cubicBezTo>
                      <a:pt x="5086646" y="3479675"/>
                      <a:pt x="5069181" y="3462766"/>
                      <a:pt x="5048065" y="3463105"/>
                    </a:cubicBezTo>
                    <a:close/>
                    <a:moveTo>
                      <a:pt x="5047793" y="3446381"/>
                    </a:moveTo>
                    <a:cubicBezTo>
                      <a:pt x="5078124" y="3445914"/>
                      <a:pt x="5103217" y="3470182"/>
                      <a:pt x="5103706" y="3500526"/>
                    </a:cubicBezTo>
                    <a:cubicBezTo>
                      <a:pt x="5104204" y="3530859"/>
                      <a:pt x="5079928" y="3555934"/>
                      <a:pt x="5049592" y="3556438"/>
                    </a:cubicBezTo>
                    <a:cubicBezTo>
                      <a:pt x="5019251" y="3556926"/>
                      <a:pt x="4994168" y="3532642"/>
                      <a:pt x="4993669" y="3502314"/>
                    </a:cubicBezTo>
                    <a:cubicBezTo>
                      <a:pt x="4993181" y="3471966"/>
                      <a:pt x="5017462" y="3446890"/>
                      <a:pt x="5047793" y="3446381"/>
                    </a:cubicBezTo>
                    <a:close/>
                    <a:moveTo>
                      <a:pt x="4616332" y="3437669"/>
                    </a:moveTo>
                    <a:cubicBezTo>
                      <a:pt x="4616332" y="3437669"/>
                      <a:pt x="4624130" y="3445094"/>
                      <a:pt x="4624130" y="3445094"/>
                    </a:cubicBezTo>
                    <a:cubicBezTo>
                      <a:pt x="4632186" y="3452812"/>
                      <a:pt x="4632403" y="3465506"/>
                      <a:pt x="4624685" y="3473557"/>
                    </a:cubicBezTo>
                    <a:cubicBezTo>
                      <a:pt x="4616966" y="3481628"/>
                      <a:pt x="4604081" y="3481981"/>
                      <a:pt x="4596026" y="3474301"/>
                    </a:cubicBezTo>
                    <a:lnTo>
                      <a:pt x="4588406" y="3466857"/>
                    </a:lnTo>
                    <a:close/>
                    <a:moveTo>
                      <a:pt x="5047937" y="3433097"/>
                    </a:moveTo>
                    <a:cubicBezTo>
                      <a:pt x="5007916" y="3433760"/>
                      <a:pt x="4975887" y="3466833"/>
                      <a:pt x="4976538" y="3506862"/>
                    </a:cubicBezTo>
                    <a:cubicBezTo>
                      <a:pt x="4977199" y="3546875"/>
                      <a:pt x="5010285" y="3578914"/>
                      <a:pt x="5050306" y="3578251"/>
                    </a:cubicBezTo>
                    <a:cubicBezTo>
                      <a:pt x="5090316" y="3577588"/>
                      <a:pt x="5122346" y="3544515"/>
                      <a:pt x="5121695" y="3504486"/>
                    </a:cubicBezTo>
                    <a:cubicBezTo>
                      <a:pt x="5121044" y="3464472"/>
                      <a:pt x="5087958" y="3432465"/>
                      <a:pt x="5047937" y="3433097"/>
                    </a:cubicBezTo>
                    <a:close/>
                    <a:moveTo>
                      <a:pt x="4619064" y="3366775"/>
                    </a:moveTo>
                    <a:cubicBezTo>
                      <a:pt x="4624229" y="3366657"/>
                      <a:pt x="4629534" y="3368538"/>
                      <a:pt x="4633551" y="3372397"/>
                    </a:cubicBezTo>
                    <a:lnTo>
                      <a:pt x="4641171" y="3379645"/>
                    </a:lnTo>
                    <a:lnTo>
                      <a:pt x="4613245" y="3409010"/>
                    </a:lnTo>
                    <a:lnTo>
                      <a:pt x="4605447" y="3401585"/>
                    </a:lnTo>
                    <a:cubicBezTo>
                      <a:pt x="4597391" y="3393887"/>
                      <a:pt x="4597213" y="3380997"/>
                      <a:pt x="4604912" y="3372926"/>
                    </a:cubicBezTo>
                    <a:cubicBezTo>
                      <a:pt x="4608772" y="3368910"/>
                      <a:pt x="4613878" y="3366892"/>
                      <a:pt x="4619064" y="3366775"/>
                    </a:cubicBezTo>
                    <a:close/>
                    <a:moveTo>
                      <a:pt x="4620508" y="3352083"/>
                    </a:moveTo>
                    <a:cubicBezTo>
                      <a:pt x="4610711" y="3352298"/>
                      <a:pt x="4601132" y="3356255"/>
                      <a:pt x="4593849" y="3363876"/>
                    </a:cubicBezTo>
                    <a:cubicBezTo>
                      <a:pt x="4579282" y="3379116"/>
                      <a:pt x="4579717" y="3403329"/>
                      <a:pt x="4594937" y="3417903"/>
                    </a:cubicBezTo>
                    <a:lnTo>
                      <a:pt x="4602735" y="3425151"/>
                    </a:lnTo>
                    <a:lnTo>
                      <a:pt x="4574809" y="3454536"/>
                    </a:lnTo>
                    <a:lnTo>
                      <a:pt x="4545992" y="3426973"/>
                    </a:lnTo>
                    <a:cubicBezTo>
                      <a:pt x="4542390" y="3423526"/>
                      <a:pt x="4536729" y="3423584"/>
                      <a:pt x="4533285" y="3427150"/>
                    </a:cubicBezTo>
                    <a:cubicBezTo>
                      <a:pt x="4529861" y="3430734"/>
                      <a:pt x="4529881" y="3436415"/>
                      <a:pt x="4533463" y="3439844"/>
                    </a:cubicBezTo>
                    <a:lnTo>
                      <a:pt x="4562300" y="3467406"/>
                    </a:lnTo>
                    <a:lnTo>
                      <a:pt x="4556857" y="3473204"/>
                    </a:lnTo>
                    <a:cubicBezTo>
                      <a:pt x="4553433" y="3476789"/>
                      <a:pt x="4553453" y="3482627"/>
                      <a:pt x="4557036" y="3486075"/>
                    </a:cubicBezTo>
                    <a:cubicBezTo>
                      <a:pt x="4560618" y="3489503"/>
                      <a:pt x="4566298" y="3489307"/>
                      <a:pt x="4569742" y="3485722"/>
                    </a:cubicBezTo>
                    <a:lnTo>
                      <a:pt x="4575363" y="3479904"/>
                    </a:lnTo>
                    <a:lnTo>
                      <a:pt x="4582963" y="3487348"/>
                    </a:lnTo>
                    <a:cubicBezTo>
                      <a:pt x="4598203" y="3501923"/>
                      <a:pt x="4622428" y="3501296"/>
                      <a:pt x="4636995" y="3486075"/>
                    </a:cubicBezTo>
                    <a:cubicBezTo>
                      <a:pt x="4651562" y="3470854"/>
                      <a:pt x="4651146" y="3446602"/>
                      <a:pt x="4635907" y="3432047"/>
                    </a:cubicBezTo>
                    <a:lnTo>
                      <a:pt x="4628128" y="3424603"/>
                    </a:lnTo>
                    <a:lnTo>
                      <a:pt x="4656233" y="3395415"/>
                    </a:lnTo>
                    <a:lnTo>
                      <a:pt x="4685050" y="3422977"/>
                    </a:lnTo>
                    <a:cubicBezTo>
                      <a:pt x="4688633" y="3426405"/>
                      <a:pt x="4694313" y="3426405"/>
                      <a:pt x="4697737" y="3422801"/>
                    </a:cubicBezTo>
                    <a:cubicBezTo>
                      <a:pt x="4701181" y="3419216"/>
                      <a:pt x="4700983" y="3413554"/>
                      <a:pt x="4697381" y="3410107"/>
                    </a:cubicBezTo>
                    <a:cubicBezTo>
                      <a:pt x="4697381" y="3410107"/>
                      <a:pt x="4668563" y="3382368"/>
                      <a:pt x="4668563" y="3382368"/>
                    </a:cubicBezTo>
                    <a:lnTo>
                      <a:pt x="4676342" y="3374375"/>
                    </a:lnTo>
                    <a:cubicBezTo>
                      <a:pt x="4679785" y="3370771"/>
                      <a:pt x="4679568" y="3365129"/>
                      <a:pt x="4675985" y="3361701"/>
                    </a:cubicBezTo>
                    <a:cubicBezTo>
                      <a:pt x="4672403" y="3358273"/>
                      <a:pt x="4666723" y="3358273"/>
                      <a:pt x="4663299" y="3361877"/>
                    </a:cubicBezTo>
                    <a:lnTo>
                      <a:pt x="4655501" y="3370027"/>
                    </a:lnTo>
                    <a:lnTo>
                      <a:pt x="4647881" y="3362602"/>
                    </a:lnTo>
                    <a:cubicBezTo>
                      <a:pt x="4640261" y="3355315"/>
                      <a:pt x="4630286" y="3351867"/>
                      <a:pt x="4620508" y="3352083"/>
                    </a:cubicBezTo>
                    <a:close/>
                    <a:moveTo>
                      <a:pt x="4988114" y="3331861"/>
                    </a:moveTo>
                    <a:cubicBezTo>
                      <a:pt x="4988114" y="3331861"/>
                      <a:pt x="4989201" y="3398449"/>
                      <a:pt x="4989201" y="3398449"/>
                    </a:cubicBezTo>
                    <a:lnTo>
                      <a:pt x="4979948" y="3398588"/>
                    </a:lnTo>
                    <a:lnTo>
                      <a:pt x="4978861" y="3332016"/>
                    </a:lnTo>
                    <a:close/>
                    <a:moveTo>
                      <a:pt x="4995156" y="3315354"/>
                    </a:moveTo>
                    <a:lnTo>
                      <a:pt x="4968344" y="3315786"/>
                    </a:lnTo>
                    <a:cubicBezTo>
                      <a:pt x="4963478" y="3315879"/>
                      <a:pt x="4959627" y="3319874"/>
                      <a:pt x="4959701" y="3324702"/>
                    </a:cubicBezTo>
                    <a:cubicBezTo>
                      <a:pt x="4959701" y="3324702"/>
                      <a:pt x="4961078" y="3408848"/>
                      <a:pt x="4961078" y="3408848"/>
                    </a:cubicBezTo>
                    <a:cubicBezTo>
                      <a:pt x="4961163" y="3413692"/>
                      <a:pt x="4965153" y="3417564"/>
                      <a:pt x="4969987" y="3417471"/>
                    </a:cubicBezTo>
                    <a:lnTo>
                      <a:pt x="4996810" y="3417055"/>
                    </a:lnTo>
                    <a:cubicBezTo>
                      <a:pt x="5001664" y="3416947"/>
                      <a:pt x="5005516" y="3412967"/>
                      <a:pt x="5005452" y="3408123"/>
                    </a:cubicBezTo>
                    <a:lnTo>
                      <a:pt x="5004065" y="3323993"/>
                    </a:lnTo>
                    <a:cubicBezTo>
                      <a:pt x="5003990" y="3319149"/>
                      <a:pt x="5000010" y="3315277"/>
                      <a:pt x="4995156" y="3315354"/>
                    </a:cubicBezTo>
                    <a:close/>
                    <a:moveTo>
                      <a:pt x="5126101" y="3288236"/>
                    </a:moveTo>
                    <a:cubicBezTo>
                      <a:pt x="5141092" y="3287989"/>
                      <a:pt x="5153511" y="3300006"/>
                      <a:pt x="5153756" y="3315015"/>
                    </a:cubicBezTo>
                    <a:lnTo>
                      <a:pt x="5158248" y="3590638"/>
                    </a:lnTo>
                    <a:cubicBezTo>
                      <a:pt x="5158483" y="3605647"/>
                      <a:pt x="5146480" y="3618064"/>
                      <a:pt x="5131479" y="3618311"/>
                    </a:cubicBezTo>
                    <a:lnTo>
                      <a:pt x="4970477" y="3620918"/>
                    </a:lnTo>
                    <a:cubicBezTo>
                      <a:pt x="4955476" y="3621180"/>
                      <a:pt x="4943068" y="3609148"/>
                      <a:pt x="4942822" y="3594170"/>
                    </a:cubicBezTo>
                    <a:lnTo>
                      <a:pt x="4942673" y="3584838"/>
                    </a:lnTo>
                    <a:lnTo>
                      <a:pt x="4937733" y="3584930"/>
                    </a:lnTo>
                    <a:cubicBezTo>
                      <a:pt x="4932879" y="3585007"/>
                      <a:pt x="4928888" y="3581151"/>
                      <a:pt x="4928803" y="3576292"/>
                    </a:cubicBezTo>
                    <a:lnTo>
                      <a:pt x="4928088" y="3532375"/>
                    </a:lnTo>
                    <a:cubicBezTo>
                      <a:pt x="4928024" y="3527532"/>
                      <a:pt x="4931876" y="3523537"/>
                      <a:pt x="4936741" y="3523460"/>
                    </a:cubicBezTo>
                    <a:lnTo>
                      <a:pt x="4941670" y="3523367"/>
                    </a:lnTo>
                    <a:lnTo>
                      <a:pt x="4938331" y="3318532"/>
                    </a:lnTo>
                    <a:cubicBezTo>
                      <a:pt x="4938085" y="3303523"/>
                      <a:pt x="4950088" y="3291121"/>
                      <a:pt x="4965100" y="3290859"/>
                    </a:cubicBezTo>
                    <a:close/>
                    <a:moveTo>
                      <a:pt x="4638460" y="3232058"/>
                    </a:moveTo>
                    <a:cubicBezTo>
                      <a:pt x="4634026" y="3232156"/>
                      <a:pt x="4629613" y="3233860"/>
                      <a:pt x="4626308" y="3237308"/>
                    </a:cubicBezTo>
                    <a:lnTo>
                      <a:pt x="4431218" y="3441293"/>
                    </a:lnTo>
                    <a:cubicBezTo>
                      <a:pt x="4424607" y="3448208"/>
                      <a:pt x="4424845" y="3459159"/>
                      <a:pt x="4431752" y="3465760"/>
                    </a:cubicBezTo>
                    <a:lnTo>
                      <a:pt x="4462212" y="3494968"/>
                    </a:lnTo>
                    <a:cubicBezTo>
                      <a:pt x="4469120" y="3501590"/>
                      <a:pt x="4480084" y="3501335"/>
                      <a:pt x="4486695" y="3494420"/>
                    </a:cubicBezTo>
                    <a:lnTo>
                      <a:pt x="4500292" y="3480276"/>
                    </a:lnTo>
                    <a:lnTo>
                      <a:pt x="4487783" y="3468131"/>
                    </a:lnTo>
                    <a:lnTo>
                      <a:pt x="4483429" y="3472656"/>
                    </a:lnTo>
                    <a:cubicBezTo>
                      <a:pt x="4479985" y="3476241"/>
                      <a:pt x="4474325" y="3476456"/>
                      <a:pt x="4470743" y="3473028"/>
                    </a:cubicBezTo>
                    <a:lnTo>
                      <a:pt x="4453326" y="3456338"/>
                    </a:lnTo>
                    <a:cubicBezTo>
                      <a:pt x="4449743" y="3452910"/>
                      <a:pt x="4449704" y="3447229"/>
                      <a:pt x="4453147" y="3443644"/>
                    </a:cubicBezTo>
                    <a:lnTo>
                      <a:pt x="4629573" y="3259072"/>
                    </a:lnTo>
                    <a:cubicBezTo>
                      <a:pt x="4632997" y="3255487"/>
                      <a:pt x="4638678" y="3255448"/>
                      <a:pt x="4642260" y="3258876"/>
                    </a:cubicBezTo>
                    <a:lnTo>
                      <a:pt x="4659677" y="3275390"/>
                    </a:lnTo>
                    <a:cubicBezTo>
                      <a:pt x="4663259" y="3278818"/>
                      <a:pt x="4663457" y="3284675"/>
                      <a:pt x="4660033" y="3288260"/>
                    </a:cubicBezTo>
                    <a:lnTo>
                      <a:pt x="4655144" y="3293157"/>
                    </a:lnTo>
                    <a:lnTo>
                      <a:pt x="4667831" y="3305127"/>
                    </a:lnTo>
                    <a:lnTo>
                      <a:pt x="4681784" y="3290434"/>
                    </a:lnTo>
                    <a:cubicBezTo>
                      <a:pt x="4688395" y="3283519"/>
                      <a:pt x="4688157" y="3272569"/>
                      <a:pt x="4681250" y="3265948"/>
                    </a:cubicBezTo>
                    <a:lnTo>
                      <a:pt x="4650790" y="3236759"/>
                    </a:lnTo>
                    <a:cubicBezTo>
                      <a:pt x="4647327" y="3233468"/>
                      <a:pt x="4642893" y="3231940"/>
                      <a:pt x="4638460" y="3232058"/>
                    </a:cubicBezTo>
                    <a:close/>
                    <a:moveTo>
                      <a:pt x="4638084" y="3214094"/>
                    </a:moveTo>
                    <a:cubicBezTo>
                      <a:pt x="4647129" y="3213898"/>
                      <a:pt x="4656273" y="3217150"/>
                      <a:pt x="4663299" y="3223889"/>
                    </a:cubicBezTo>
                    <a:lnTo>
                      <a:pt x="4693759" y="3252901"/>
                    </a:lnTo>
                    <a:cubicBezTo>
                      <a:pt x="4707811" y="3266359"/>
                      <a:pt x="4708306" y="3288887"/>
                      <a:pt x="4694847" y="3302952"/>
                    </a:cubicBezTo>
                    <a:lnTo>
                      <a:pt x="4680696" y="3317625"/>
                    </a:lnTo>
                    <a:lnTo>
                      <a:pt x="4819952" y="3450716"/>
                    </a:lnTo>
                    <a:cubicBezTo>
                      <a:pt x="4831788" y="3462058"/>
                      <a:pt x="4832204" y="3480942"/>
                      <a:pt x="4820863" y="3492794"/>
                    </a:cubicBezTo>
                    <a:lnTo>
                      <a:pt x="4694491" y="3624788"/>
                    </a:lnTo>
                    <a:cubicBezTo>
                      <a:pt x="4683150" y="3636640"/>
                      <a:pt x="4664249" y="3637031"/>
                      <a:pt x="4652413" y="3625689"/>
                    </a:cubicBezTo>
                    <a:lnTo>
                      <a:pt x="4513355" y="3492598"/>
                    </a:lnTo>
                    <a:lnTo>
                      <a:pt x="4499738" y="3506938"/>
                    </a:lnTo>
                    <a:cubicBezTo>
                      <a:pt x="4486279" y="3521003"/>
                      <a:pt x="4463776" y="3521493"/>
                      <a:pt x="4449704" y="3508015"/>
                    </a:cubicBezTo>
                    <a:lnTo>
                      <a:pt x="4419244" y="3478827"/>
                    </a:lnTo>
                    <a:cubicBezTo>
                      <a:pt x="4405172" y="3465349"/>
                      <a:pt x="4404697" y="3443017"/>
                      <a:pt x="4418155" y="3428971"/>
                    </a:cubicBezTo>
                    <a:lnTo>
                      <a:pt x="4613443" y="3224986"/>
                    </a:lnTo>
                    <a:cubicBezTo>
                      <a:pt x="4620172" y="3217953"/>
                      <a:pt x="4629059" y="3214290"/>
                      <a:pt x="4638084" y="3214094"/>
                    </a:cubicBezTo>
                    <a:close/>
                    <a:moveTo>
                      <a:pt x="2112331" y="3193927"/>
                    </a:moveTo>
                    <a:lnTo>
                      <a:pt x="2112331" y="3257941"/>
                    </a:lnTo>
                    <a:lnTo>
                      <a:pt x="2144239" y="3226021"/>
                    </a:lnTo>
                    <a:cubicBezTo>
                      <a:pt x="2144239" y="3226021"/>
                      <a:pt x="2112331" y="3193927"/>
                      <a:pt x="2112331" y="3193927"/>
                    </a:cubicBezTo>
                    <a:close/>
                    <a:moveTo>
                      <a:pt x="3325916" y="3161800"/>
                    </a:moveTo>
                    <a:cubicBezTo>
                      <a:pt x="3312549" y="3161800"/>
                      <a:pt x="3301649" y="3172674"/>
                      <a:pt x="3301649" y="3186046"/>
                    </a:cubicBezTo>
                    <a:cubicBezTo>
                      <a:pt x="3301649" y="3199431"/>
                      <a:pt x="3312549" y="3210319"/>
                      <a:pt x="3325916" y="3210319"/>
                    </a:cubicBezTo>
                    <a:cubicBezTo>
                      <a:pt x="3339299" y="3210319"/>
                      <a:pt x="3350183" y="3199431"/>
                      <a:pt x="3350183" y="3186046"/>
                    </a:cubicBezTo>
                    <a:cubicBezTo>
                      <a:pt x="3350183" y="3172674"/>
                      <a:pt x="3339299" y="3161800"/>
                      <a:pt x="3325916" y="3161800"/>
                    </a:cubicBezTo>
                    <a:close/>
                    <a:moveTo>
                      <a:pt x="2212051" y="3113787"/>
                    </a:moveTo>
                    <a:cubicBezTo>
                      <a:pt x="2216675" y="3126039"/>
                      <a:pt x="2219486" y="3138984"/>
                      <a:pt x="2219486" y="3152952"/>
                    </a:cubicBezTo>
                    <a:cubicBezTo>
                      <a:pt x="2219486" y="3166888"/>
                      <a:pt x="2216675" y="3180384"/>
                      <a:pt x="2211880" y="3192667"/>
                    </a:cubicBezTo>
                    <a:lnTo>
                      <a:pt x="2172352" y="3153141"/>
                    </a:lnTo>
                    <a:cubicBezTo>
                      <a:pt x="2172352" y="3153141"/>
                      <a:pt x="2212051" y="3113787"/>
                      <a:pt x="2212051" y="3113787"/>
                    </a:cubicBezTo>
                    <a:close/>
                    <a:moveTo>
                      <a:pt x="3002173" y="3086470"/>
                    </a:moveTo>
                    <a:cubicBezTo>
                      <a:pt x="3004770" y="3086470"/>
                      <a:pt x="3008962" y="3087450"/>
                      <a:pt x="3012517" y="3091291"/>
                    </a:cubicBezTo>
                    <a:cubicBezTo>
                      <a:pt x="3016065" y="3095125"/>
                      <a:pt x="3026073" y="3104459"/>
                      <a:pt x="3026073" y="3123365"/>
                    </a:cubicBezTo>
                    <a:cubicBezTo>
                      <a:pt x="3026073" y="3142313"/>
                      <a:pt x="3012195" y="3160624"/>
                      <a:pt x="3010256" y="3163164"/>
                    </a:cubicBezTo>
                    <a:cubicBezTo>
                      <a:pt x="3008303" y="3165738"/>
                      <a:pt x="2983430" y="3205859"/>
                      <a:pt x="2944005" y="3221266"/>
                    </a:cubicBezTo>
                    <a:cubicBezTo>
                      <a:pt x="2904581" y="3236659"/>
                      <a:pt x="2904581" y="3231524"/>
                      <a:pt x="2897463" y="3230880"/>
                    </a:cubicBezTo>
                    <a:cubicBezTo>
                      <a:pt x="2890367" y="3230257"/>
                      <a:pt x="2874521" y="3221588"/>
                      <a:pt x="2871287" y="3212597"/>
                    </a:cubicBezTo>
                    <a:cubicBezTo>
                      <a:pt x="2868054" y="3203599"/>
                      <a:pt x="2868054" y="3195902"/>
                      <a:pt x="2869012" y="3194300"/>
                    </a:cubicBezTo>
                    <a:cubicBezTo>
                      <a:pt x="2869992" y="3192691"/>
                      <a:pt x="2872582" y="3191732"/>
                      <a:pt x="2876437" y="3189808"/>
                    </a:cubicBezTo>
                    <a:cubicBezTo>
                      <a:pt x="2880329" y="3187891"/>
                      <a:pt x="2899409" y="3178578"/>
                      <a:pt x="2902942" y="3177290"/>
                    </a:cubicBezTo>
                    <a:cubicBezTo>
                      <a:pt x="2906505" y="3176017"/>
                      <a:pt x="2909109" y="3175373"/>
                      <a:pt x="2911670" y="3179215"/>
                    </a:cubicBezTo>
                    <a:cubicBezTo>
                      <a:pt x="2914267" y="3183056"/>
                      <a:pt x="2921692" y="3191732"/>
                      <a:pt x="2923968" y="3194300"/>
                    </a:cubicBezTo>
                    <a:cubicBezTo>
                      <a:pt x="2926221" y="3196882"/>
                      <a:pt x="2928481" y="3197197"/>
                      <a:pt x="2932366" y="3195265"/>
                    </a:cubicBezTo>
                    <a:cubicBezTo>
                      <a:pt x="2936236" y="3193341"/>
                      <a:pt x="2948739" y="3189269"/>
                      <a:pt x="2963560" y="3176185"/>
                    </a:cubicBezTo>
                    <a:cubicBezTo>
                      <a:pt x="2975075" y="3165962"/>
                      <a:pt x="2982859" y="3153368"/>
                      <a:pt x="2985134" y="3149527"/>
                    </a:cubicBezTo>
                    <a:cubicBezTo>
                      <a:pt x="2987388" y="3145685"/>
                      <a:pt x="2985346" y="3143593"/>
                      <a:pt x="2983430" y="3141676"/>
                    </a:cubicBezTo>
                    <a:cubicBezTo>
                      <a:pt x="2981681" y="3139941"/>
                      <a:pt x="2979552" y="3137184"/>
                      <a:pt x="2977599" y="3134938"/>
                    </a:cubicBezTo>
                    <a:cubicBezTo>
                      <a:pt x="2975668" y="3132685"/>
                      <a:pt x="2975031" y="3131083"/>
                      <a:pt x="2973729" y="3128508"/>
                    </a:cubicBezTo>
                    <a:cubicBezTo>
                      <a:pt x="2972434" y="3125947"/>
                      <a:pt x="2973078" y="3123708"/>
                      <a:pt x="2974066" y="3121784"/>
                    </a:cubicBezTo>
                    <a:cubicBezTo>
                      <a:pt x="2975031" y="3119866"/>
                      <a:pt x="2982786" y="3100919"/>
                      <a:pt x="2986019" y="3093208"/>
                    </a:cubicBezTo>
                    <a:cubicBezTo>
                      <a:pt x="2989238" y="3085526"/>
                      <a:pt x="2992472" y="3086792"/>
                      <a:pt x="2994747" y="3086792"/>
                    </a:cubicBezTo>
                    <a:cubicBezTo>
                      <a:pt x="2997000" y="3086792"/>
                      <a:pt x="2999583" y="3086470"/>
                      <a:pt x="3002173" y="3086470"/>
                    </a:cubicBezTo>
                    <a:close/>
                    <a:moveTo>
                      <a:pt x="4871008" y="3081130"/>
                    </a:moveTo>
                    <a:cubicBezTo>
                      <a:pt x="4873798" y="3081357"/>
                      <a:pt x="4876726" y="3082120"/>
                      <a:pt x="4879348" y="3083484"/>
                    </a:cubicBezTo>
                    <a:lnTo>
                      <a:pt x="4879714" y="3083662"/>
                    </a:lnTo>
                    <a:cubicBezTo>
                      <a:pt x="4890266" y="3089134"/>
                      <a:pt x="4894459" y="3102319"/>
                      <a:pt x="4888970" y="3112856"/>
                    </a:cubicBezTo>
                    <a:lnTo>
                      <a:pt x="4863033" y="3162541"/>
                    </a:lnTo>
                    <a:cubicBezTo>
                      <a:pt x="4857559" y="3173063"/>
                      <a:pt x="4844568" y="3177073"/>
                      <a:pt x="4834031" y="3171601"/>
                    </a:cubicBezTo>
                    <a:lnTo>
                      <a:pt x="4833483" y="3171423"/>
                    </a:lnTo>
                    <a:cubicBezTo>
                      <a:pt x="4822946" y="3165935"/>
                      <a:pt x="4818936" y="3152750"/>
                      <a:pt x="4824410" y="3142229"/>
                    </a:cubicBezTo>
                    <a:lnTo>
                      <a:pt x="4850164" y="3092544"/>
                    </a:lnTo>
                    <a:cubicBezTo>
                      <a:pt x="4854266" y="3084637"/>
                      <a:pt x="4862652" y="3080464"/>
                      <a:pt x="4871008" y="3081130"/>
                    </a:cubicBezTo>
                    <a:close/>
                    <a:moveTo>
                      <a:pt x="1684397" y="3081065"/>
                    </a:moveTo>
                    <a:cubicBezTo>
                      <a:pt x="1696420" y="3081566"/>
                      <a:pt x="1707531" y="3086756"/>
                      <a:pt x="1715681" y="3095630"/>
                    </a:cubicBezTo>
                    <a:lnTo>
                      <a:pt x="1720765" y="3101158"/>
                    </a:lnTo>
                    <a:cubicBezTo>
                      <a:pt x="1721493" y="3101978"/>
                      <a:pt x="1722153" y="3102840"/>
                      <a:pt x="1722774" y="3103732"/>
                    </a:cubicBezTo>
                    <a:lnTo>
                      <a:pt x="1606153" y="3210754"/>
                    </a:lnTo>
                    <a:cubicBezTo>
                      <a:pt x="1605310" y="3210049"/>
                      <a:pt x="1604498" y="3209319"/>
                      <a:pt x="1603757" y="3208512"/>
                    </a:cubicBezTo>
                    <a:lnTo>
                      <a:pt x="1598674" y="3202990"/>
                    </a:lnTo>
                    <a:cubicBezTo>
                      <a:pt x="1590136" y="3193658"/>
                      <a:pt x="1585871" y="3181101"/>
                      <a:pt x="1586986" y="3168483"/>
                    </a:cubicBezTo>
                    <a:cubicBezTo>
                      <a:pt x="1587994" y="3157252"/>
                      <a:pt x="1593115" y="3146877"/>
                      <a:pt x="1601418" y="3139245"/>
                    </a:cubicBezTo>
                    <a:lnTo>
                      <a:pt x="1651939" y="3092887"/>
                    </a:lnTo>
                    <a:cubicBezTo>
                      <a:pt x="1660812" y="3084755"/>
                      <a:pt x="1672348" y="3080541"/>
                      <a:pt x="1684397" y="3081065"/>
                    </a:cubicBezTo>
                    <a:close/>
                    <a:moveTo>
                      <a:pt x="4875552" y="3067523"/>
                    </a:moveTo>
                    <a:cubicBezTo>
                      <a:pt x="4861615" y="3066435"/>
                      <a:pt x="4847755" y="3073596"/>
                      <a:pt x="4840924" y="3086747"/>
                    </a:cubicBezTo>
                    <a:lnTo>
                      <a:pt x="4814987" y="3136432"/>
                    </a:lnTo>
                    <a:cubicBezTo>
                      <a:pt x="4805853" y="3153968"/>
                      <a:pt x="4812684" y="3175531"/>
                      <a:pt x="4830220" y="3184656"/>
                    </a:cubicBezTo>
                    <a:lnTo>
                      <a:pt x="4830768" y="3185029"/>
                    </a:lnTo>
                    <a:cubicBezTo>
                      <a:pt x="4848288" y="3194138"/>
                      <a:pt x="4870047" y="3187318"/>
                      <a:pt x="4879181" y="3169799"/>
                    </a:cubicBezTo>
                    <a:lnTo>
                      <a:pt x="4904919" y="3120114"/>
                    </a:lnTo>
                    <a:cubicBezTo>
                      <a:pt x="4914053" y="3102578"/>
                      <a:pt x="4907222" y="3080821"/>
                      <a:pt x="4889687" y="3071696"/>
                    </a:cubicBezTo>
                    <a:lnTo>
                      <a:pt x="4889153" y="3071339"/>
                    </a:lnTo>
                    <a:cubicBezTo>
                      <a:pt x="4884761" y="3069049"/>
                      <a:pt x="4880187" y="3067897"/>
                      <a:pt x="4875552" y="3067523"/>
                    </a:cubicBezTo>
                    <a:close/>
                    <a:moveTo>
                      <a:pt x="2259201" y="3064655"/>
                    </a:moveTo>
                    <a:cubicBezTo>
                      <a:pt x="2275041" y="3090544"/>
                      <a:pt x="2284288" y="3120779"/>
                      <a:pt x="2284402" y="3152952"/>
                    </a:cubicBezTo>
                    <a:cubicBezTo>
                      <a:pt x="2284402" y="3186132"/>
                      <a:pt x="2274798" y="3217029"/>
                      <a:pt x="2258287" y="3243249"/>
                    </a:cubicBezTo>
                    <a:lnTo>
                      <a:pt x="2237810" y="3222934"/>
                    </a:lnTo>
                    <a:cubicBezTo>
                      <a:pt x="2248370" y="3202573"/>
                      <a:pt x="2254491" y="3179203"/>
                      <a:pt x="2254491" y="3154589"/>
                    </a:cubicBezTo>
                    <a:cubicBezTo>
                      <a:pt x="2254491" y="3129866"/>
                      <a:pt x="2248527" y="3106795"/>
                      <a:pt x="2237810" y="3086229"/>
                    </a:cubicBezTo>
                    <a:cubicBezTo>
                      <a:pt x="2237810" y="3086229"/>
                      <a:pt x="2259201" y="3064655"/>
                      <a:pt x="2259201" y="3064655"/>
                    </a:cubicBezTo>
                    <a:close/>
                    <a:moveTo>
                      <a:pt x="4016954" y="3048298"/>
                    </a:moveTo>
                    <a:cubicBezTo>
                      <a:pt x="4035802" y="3059340"/>
                      <a:pt x="4056803" y="3066224"/>
                      <a:pt x="4078527" y="3068462"/>
                    </a:cubicBezTo>
                    <a:lnTo>
                      <a:pt x="4043624" y="3174992"/>
                    </a:lnTo>
                    <a:cubicBezTo>
                      <a:pt x="4038055" y="3192011"/>
                      <a:pt x="4019751" y="3201283"/>
                      <a:pt x="4002760" y="3195687"/>
                    </a:cubicBezTo>
                    <a:cubicBezTo>
                      <a:pt x="3985769" y="3190156"/>
                      <a:pt x="3976496" y="3171833"/>
                      <a:pt x="3982070" y="3154842"/>
                    </a:cubicBezTo>
                    <a:cubicBezTo>
                      <a:pt x="3982070" y="3154842"/>
                      <a:pt x="4016954" y="3048298"/>
                      <a:pt x="4016954" y="3048298"/>
                    </a:cubicBezTo>
                    <a:close/>
                    <a:moveTo>
                      <a:pt x="2112331" y="3047962"/>
                    </a:moveTo>
                    <a:cubicBezTo>
                      <a:pt x="2112331" y="3047962"/>
                      <a:pt x="2112331" y="3111976"/>
                      <a:pt x="2112331" y="3111976"/>
                    </a:cubicBezTo>
                    <a:lnTo>
                      <a:pt x="2144239" y="3080056"/>
                    </a:lnTo>
                    <a:close/>
                    <a:moveTo>
                      <a:pt x="2949265" y="3024226"/>
                    </a:moveTo>
                    <a:cubicBezTo>
                      <a:pt x="2875919" y="3024226"/>
                      <a:pt x="2816270" y="3083428"/>
                      <a:pt x="2816270" y="3156207"/>
                    </a:cubicBezTo>
                    <a:cubicBezTo>
                      <a:pt x="2816270" y="3228985"/>
                      <a:pt x="2875919" y="3288172"/>
                      <a:pt x="2949265" y="3288172"/>
                    </a:cubicBezTo>
                    <a:cubicBezTo>
                      <a:pt x="2976285" y="3288172"/>
                      <a:pt x="3001455" y="3280131"/>
                      <a:pt x="3022432" y="3266360"/>
                    </a:cubicBezTo>
                    <a:lnTo>
                      <a:pt x="3073548" y="3282607"/>
                    </a:lnTo>
                    <a:lnTo>
                      <a:pt x="3056942" y="3233596"/>
                    </a:lnTo>
                    <a:cubicBezTo>
                      <a:pt x="3072876" y="3211828"/>
                      <a:pt x="3082261" y="3185076"/>
                      <a:pt x="3082261" y="3156207"/>
                    </a:cubicBezTo>
                    <a:cubicBezTo>
                      <a:pt x="3082261" y="3083428"/>
                      <a:pt x="3022611" y="3024226"/>
                      <a:pt x="2949265" y="3024226"/>
                    </a:cubicBezTo>
                    <a:close/>
                    <a:moveTo>
                      <a:pt x="4785253" y="3019657"/>
                    </a:moveTo>
                    <a:cubicBezTo>
                      <a:pt x="4783500" y="3020209"/>
                      <a:pt x="4781990" y="3021540"/>
                      <a:pt x="4781091" y="3023294"/>
                    </a:cubicBezTo>
                    <a:cubicBezTo>
                      <a:pt x="4779261" y="3026785"/>
                      <a:pt x="4780648" y="3031088"/>
                      <a:pt x="4784171" y="3032890"/>
                    </a:cubicBezTo>
                    <a:lnTo>
                      <a:pt x="4803383" y="3042876"/>
                    </a:lnTo>
                    <a:cubicBezTo>
                      <a:pt x="4813401" y="3048088"/>
                      <a:pt x="4817289" y="3060590"/>
                      <a:pt x="4812090" y="3070608"/>
                    </a:cubicBezTo>
                    <a:lnTo>
                      <a:pt x="4811907" y="3070982"/>
                    </a:lnTo>
                    <a:cubicBezTo>
                      <a:pt x="4806692" y="3081000"/>
                      <a:pt x="4794356" y="3084896"/>
                      <a:pt x="4784354" y="3079684"/>
                    </a:cubicBezTo>
                    <a:lnTo>
                      <a:pt x="4764943" y="3069699"/>
                    </a:lnTo>
                    <a:cubicBezTo>
                      <a:pt x="4761451" y="3067864"/>
                      <a:pt x="4757166" y="3069260"/>
                      <a:pt x="4755337" y="3072784"/>
                    </a:cubicBezTo>
                    <a:cubicBezTo>
                      <a:pt x="4753507" y="3076275"/>
                      <a:pt x="4754910" y="3080577"/>
                      <a:pt x="4758417" y="3082396"/>
                    </a:cubicBezTo>
                    <a:lnTo>
                      <a:pt x="4777645" y="3092365"/>
                    </a:lnTo>
                    <a:cubicBezTo>
                      <a:pt x="4787647" y="3097577"/>
                      <a:pt x="4791551" y="3109950"/>
                      <a:pt x="4786336" y="3119936"/>
                    </a:cubicBezTo>
                    <a:lnTo>
                      <a:pt x="4786153" y="3120471"/>
                    </a:lnTo>
                    <a:cubicBezTo>
                      <a:pt x="4780953" y="3130473"/>
                      <a:pt x="4768618" y="3134386"/>
                      <a:pt x="4758600" y="3129174"/>
                    </a:cubicBezTo>
                    <a:lnTo>
                      <a:pt x="4739204" y="3119205"/>
                    </a:lnTo>
                    <a:cubicBezTo>
                      <a:pt x="4735697" y="3117370"/>
                      <a:pt x="4731413" y="3118783"/>
                      <a:pt x="4729583" y="3122290"/>
                    </a:cubicBezTo>
                    <a:cubicBezTo>
                      <a:pt x="4727768" y="3125797"/>
                      <a:pt x="4729186" y="3130067"/>
                      <a:pt x="4732678" y="3131902"/>
                    </a:cubicBezTo>
                    <a:lnTo>
                      <a:pt x="4751891" y="3141872"/>
                    </a:lnTo>
                    <a:cubicBezTo>
                      <a:pt x="4768907" y="3150737"/>
                      <a:pt x="4789995" y="3144193"/>
                      <a:pt x="4798854" y="3127177"/>
                    </a:cubicBezTo>
                    <a:lnTo>
                      <a:pt x="4799037" y="3126641"/>
                    </a:lnTo>
                    <a:cubicBezTo>
                      <a:pt x="4804222" y="3116656"/>
                      <a:pt x="4804191" y="3105290"/>
                      <a:pt x="4799754" y="3095808"/>
                    </a:cubicBezTo>
                    <a:cubicBezTo>
                      <a:pt x="4810062" y="3094022"/>
                      <a:pt x="4819409" y="3087673"/>
                      <a:pt x="4824593" y="3077687"/>
                    </a:cubicBezTo>
                    <a:lnTo>
                      <a:pt x="4824776" y="3077135"/>
                    </a:lnTo>
                    <a:cubicBezTo>
                      <a:pt x="4833620" y="3060135"/>
                      <a:pt x="4827109" y="3039027"/>
                      <a:pt x="4810092" y="3030178"/>
                    </a:cubicBezTo>
                    <a:lnTo>
                      <a:pt x="4790697" y="3020209"/>
                    </a:lnTo>
                    <a:cubicBezTo>
                      <a:pt x="4788943" y="3019300"/>
                      <a:pt x="4787007" y="3019105"/>
                      <a:pt x="4785253" y="3019657"/>
                    </a:cubicBezTo>
                    <a:close/>
                    <a:moveTo>
                      <a:pt x="3325916" y="3016284"/>
                    </a:moveTo>
                    <a:cubicBezTo>
                      <a:pt x="3312865" y="3016284"/>
                      <a:pt x="3302234" y="3026906"/>
                      <a:pt x="3302234" y="3039955"/>
                    </a:cubicBezTo>
                    <a:lnTo>
                      <a:pt x="3302234" y="3116803"/>
                    </a:lnTo>
                    <a:cubicBezTo>
                      <a:pt x="3302234" y="3129851"/>
                      <a:pt x="3312865" y="3140487"/>
                      <a:pt x="3325916" y="3140487"/>
                    </a:cubicBezTo>
                    <a:cubicBezTo>
                      <a:pt x="3338967" y="3140487"/>
                      <a:pt x="3349598" y="3129851"/>
                      <a:pt x="3349598" y="3116803"/>
                    </a:cubicBezTo>
                    <a:cubicBezTo>
                      <a:pt x="3349598" y="3116803"/>
                      <a:pt x="3349598" y="3039955"/>
                      <a:pt x="3349598" y="3039955"/>
                    </a:cubicBezTo>
                    <a:cubicBezTo>
                      <a:pt x="3349598" y="3026906"/>
                      <a:pt x="3338967" y="3016284"/>
                      <a:pt x="3325916" y="3016284"/>
                    </a:cubicBezTo>
                    <a:close/>
                    <a:moveTo>
                      <a:pt x="2949265" y="2999220"/>
                    </a:moveTo>
                    <a:cubicBezTo>
                      <a:pt x="3036651" y="2999220"/>
                      <a:pt x="3107460" y="3069507"/>
                      <a:pt x="3107460" y="3156207"/>
                    </a:cubicBezTo>
                    <a:cubicBezTo>
                      <a:pt x="3107460" y="3185867"/>
                      <a:pt x="3099180" y="3213618"/>
                      <a:pt x="3084752" y="3237266"/>
                    </a:cubicBezTo>
                    <a:lnTo>
                      <a:pt x="3113324" y="3321488"/>
                    </a:lnTo>
                    <a:lnTo>
                      <a:pt x="3025729" y="3293648"/>
                    </a:lnTo>
                    <a:cubicBezTo>
                      <a:pt x="3003066" y="3306106"/>
                      <a:pt x="2977001" y="3313163"/>
                      <a:pt x="2949265" y="3313163"/>
                    </a:cubicBezTo>
                    <a:cubicBezTo>
                      <a:pt x="2861895" y="3313163"/>
                      <a:pt x="2791055" y="3242891"/>
                      <a:pt x="2791055" y="3156207"/>
                    </a:cubicBezTo>
                    <a:cubicBezTo>
                      <a:pt x="2791055" y="3069507"/>
                      <a:pt x="2861895" y="2999220"/>
                      <a:pt x="2949265" y="2999220"/>
                    </a:cubicBezTo>
                    <a:close/>
                    <a:moveTo>
                      <a:pt x="2078239" y="2982877"/>
                    </a:moveTo>
                    <a:lnTo>
                      <a:pt x="2095292" y="2982877"/>
                    </a:lnTo>
                    <a:lnTo>
                      <a:pt x="2192287" y="3080056"/>
                    </a:lnTo>
                    <a:cubicBezTo>
                      <a:pt x="2192287" y="3080056"/>
                      <a:pt x="2119223" y="3152952"/>
                      <a:pt x="2119223" y="3152952"/>
                    </a:cubicBezTo>
                    <a:lnTo>
                      <a:pt x="2192287" y="3226021"/>
                    </a:lnTo>
                    <a:lnTo>
                      <a:pt x="2095107" y="3323026"/>
                    </a:lnTo>
                    <a:lnTo>
                      <a:pt x="2078239" y="3323026"/>
                    </a:lnTo>
                    <a:lnTo>
                      <a:pt x="2078239" y="3193927"/>
                    </a:lnTo>
                    <a:lnTo>
                      <a:pt x="2000095" y="3272083"/>
                    </a:lnTo>
                    <a:lnTo>
                      <a:pt x="1976164" y="3248146"/>
                    </a:lnTo>
                    <a:lnTo>
                      <a:pt x="2071175" y="3152952"/>
                    </a:lnTo>
                    <a:lnTo>
                      <a:pt x="1976164" y="3057946"/>
                    </a:lnTo>
                    <a:lnTo>
                      <a:pt x="2000095" y="3034010"/>
                    </a:lnTo>
                    <a:lnTo>
                      <a:pt x="2078239" y="3111976"/>
                    </a:lnTo>
                    <a:close/>
                    <a:moveTo>
                      <a:pt x="3695307" y="2982860"/>
                    </a:moveTo>
                    <a:cubicBezTo>
                      <a:pt x="3696688" y="2985022"/>
                      <a:pt x="3698364" y="2986989"/>
                      <a:pt x="3700304" y="2988727"/>
                    </a:cubicBezTo>
                    <a:cubicBezTo>
                      <a:pt x="3710212" y="2997591"/>
                      <a:pt x="3725720" y="3012447"/>
                      <a:pt x="3743242" y="3032828"/>
                    </a:cubicBezTo>
                    <a:cubicBezTo>
                      <a:pt x="3749284" y="3039839"/>
                      <a:pt x="3755575" y="3047799"/>
                      <a:pt x="3761955" y="3056502"/>
                    </a:cubicBezTo>
                    <a:cubicBezTo>
                      <a:pt x="3789150" y="3093626"/>
                      <a:pt x="3805849" y="3137213"/>
                      <a:pt x="3810258" y="3182594"/>
                    </a:cubicBezTo>
                    <a:cubicBezTo>
                      <a:pt x="3810964" y="3189868"/>
                      <a:pt x="3811405" y="3196341"/>
                      <a:pt x="3811670" y="3201843"/>
                    </a:cubicBezTo>
                    <a:cubicBezTo>
                      <a:pt x="3825649" y="3196684"/>
                      <a:pt x="3850286" y="3183704"/>
                      <a:pt x="3854005" y="3155306"/>
                    </a:cubicBezTo>
                    <a:cubicBezTo>
                      <a:pt x="3859238" y="3115277"/>
                      <a:pt x="3830662" y="3096348"/>
                      <a:pt x="3829486" y="3095571"/>
                    </a:cubicBezTo>
                    <a:cubicBezTo>
                      <a:pt x="3825840" y="3093306"/>
                      <a:pt x="3824517" y="3088640"/>
                      <a:pt x="3826384" y="3084786"/>
                    </a:cubicBezTo>
                    <a:cubicBezTo>
                      <a:pt x="3828266" y="3080909"/>
                      <a:pt x="3832734" y="3079067"/>
                      <a:pt x="3836777" y="3080508"/>
                    </a:cubicBezTo>
                    <a:lnTo>
                      <a:pt x="3842377" y="3082487"/>
                    </a:lnTo>
                    <a:lnTo>
                      <a:pt x="3842377" y="3080932"/>
                    </a:lnTo>
                    <a:cubicBezTo>
                      <a:pt x="3842377" y="3077100"/>
                      <a:pt x="3844964" y="3073749"/>
                      <a:pt x="3848669" y="3072777"/>
                    </a:cubicBezTo>
                    <a:cubicBezTo>
                      <a:pt x="3852388" y="3071816"/>
                      <a:pt x="3856283" y="3073452"/>
                      <a:pt x="3858150" y="3076780"/>
                    </a:cubicBezTo>
                    <a:lnTo>
                      <a:pt x="3862428" y="3084340"/>
                    </a:lnTo>
                    <a:lnTo>
                      <a:pt x="3863457" y="3082258"/>
                    </a:lnTo>
                    <a:cubicBezTo>
                      <a:pt x="3865015" y="3079090"/>
                      <a:pt x="3868425" y="3077215"/>
                      <a:pt x="3871924" y="3077603"/>
                    </a:cubicBezTo>
                    <a:cubicBezTo>
                      <a:pt x="3875452" y="3077992"/>
                      <a:pt x="3878362" y="3080543"/>
                      <a:pt x="3879200" y="3083974"/>
                    </a:cubicBezTo>
                    <a:lnTo>
                      <a:pt x="3885154" y="3108277"/>
                    </a:lnTo>
                    <a:lnTo>
                      <a:pt x="3887755" y="3107934"/>
                    </a:lnTo>
                    <a:cubicBezTo>
                      <a:pt x="3890622" y="3107568"/>
                      <a:pt x="3893444" y="3108666"/>
                      <a:pt x="3895311" y="3110873"/>
                    </a:cubicBezTo>
                    <a:cubicBezTo>
                      <a:pt x="3897163" y="3113058"/>
                      <a:pt x="3897766" y="3116054"/>
                      <a:pt x="3896913" y="3118799"/>
                    </a:cubicBezTo>
                    <a:lnTo>
                      <a:pt x="3894591" y="3126210"/>
                    </a:lnTo>
                    <a:cubicBezTo>
                      <a:pt x="3898942" y="3127720"/>
                      <a:pt x="3902014" y="3130167"/>
                      <a:pt x="3902014" y="3135154"/>
                    </a:cubicBezTo>
                    <a:cubicBezTo>
                      <a:pt x="3902014" y="3136652"/>
                      <a:pt x="3902014" y="3137590"/>
                      <a:pt x="3896575" y="3153647"/>
                    </a:cubicBezTo>
                    <a:cubicBezTo>
                      <a:pt x="3897560" y="3154974"/>
                      <a:pt x="3899412" y="3156941"/>
                      <a:pt x="3901059" y="3158359"/>
                    </a:cubicBezTo>
                    <a:cubicBezTo>
                      <a:pt x="3904425" y="3161242"/>
                      <a:pt x="3904998" y="3166205"/>
                      <a:pt x="3902411" y="3169762"/>
                    </a:cubicBezTo>
                    <a:lnTo>
                      <a:pt x="3895767" y="3178820"/>
                    </a:lnTo>
                    <a:cubicBezTo>
                      <a:pt x="3895973" y="3179106"/>
                      <a:pt x="3896164" y="3179426"/>
                      <a:pt x="3896340" y="3179746"/>
                    </a:cubicBezTo>
                    <a:cubicBezTo>
                      <a:pt x="3897795" y="3182548"/>
                      <a:pt x="3897575" y="3185911"/>
                      <a:pt x="3895767" y="3188484"/>
                    </a:cubicBezTo>
                    <a:lnTo>
                      <a:pt x="3895311" y="3189125"/>
                    </a:lnTo>
                    <a:cubicBezTo>
                      <a:pt x="3887006" y="3200985"/>
                      <a:pt x="3876745" y="3210569"/>
                      <a:pt x="3864765" y="3217637"/>
                    </a:cubicBezTo>
                    <a:cubicBezTo>
                      <a:pt x="3858150" y="3221525"/>
                      <a:pt x="3852594" y="3224007"/>
                      <a:pt x="3847743" y="3225174"/>
                    </a:cubicBezTo>
                    <a:cubicBezTo>
                      <a:pt x="3828457" y="3229851"/>
                      <a:pt x="3804658" y="3229897"/>
                      <a:pt x="3803644" y="3229897"/>
                    </a:cubicBezTo>
                    <a:cubicBezTo>
                      <a:pt x="3803644" y="3229897"/>
                      <a:pt x="3803644" y="3229897"/>
                      <a:pt x="3803629" y="3229897"/>
                    </a:cubicBezTo>
                    <a:cubicBezTo>
                      <a:pt x="3803629" y="3229897"/>
                      <a:pt x="3803629" y="3229897"/>
                      <a:pt x="3803614" y="3229897"/>
                    </a:cubicBezTo>
                    <a:lnTo>
                      <a:pt x="3666598" y="3229897"/>
                    </a:lnTo>
                    <a:cubicBezTo>
                      <a:pt x="3666583" y="3229897"/>
                      <a:pt x="3666569" y="3229897"/>
                      <a:pt x="3666554" y="3229897"/>
                    </a:cubicBezTo>
                    <a:cubicBezTo>
                      <a:pt x="3661909" y="3229897"/>
                      <a:pt x="3658131" y="3226123"/>
                      <a:pt x="3658131" y="3221480"/>
                    </a:cubicBezTo>
                    <a:cubicBezTo>
                      <a:pt x="3658131" y="3221159"/>
                      <a:pt x="3658146" y="3220851"/>
                      <a:pt x="3658175" y="3220530"/>
                    </a:cubicBezTo>
                    <a:cubicBezTo>
                      <a:pt x="3658631" y="3208304"/>
                      <a:pt x="3667921" y="3197988"/>
                      <a:pt x="3680136" y="3196319"/>
                    </a:cubicBezTo>
                    <a:lnTo>
                      <a:pt x="3686207" y="3195506"/>
                    </a:lnTo>
                    <a:lnTo>
                      <a:pt x="3648723" y="3161219"/>
                    </a:lnTo>
                    <a:cubicBezTo>
                      <a:pt x="3648209" y="3160750"/>
                      <a:pt x="3647753" y="3160235"/>
                      <a:pt x="3647371" y="3159640"/>
                    </a:cubicBezTo>
                    <a:lnTo>
                      <a:pt x="3646548" y="3158405"/>
                    </a:lnTo>
                    <a:lnTo>
                      <a:pt x="3640638" y="3211118"/>
                    </a:lnTo>
                    <a:cubicBezTo>
                      <a:pt x="3639448" y="3221834"/>
                      <a:pt x="3630422" y="3229897"/>
                      <a:pt x="3619647" y="3229897"/>
                    </a:cubicBezTo>
                    <a:lnTo>
                      <a:pt x="3595907" y="3229897"/>
                    </a:lnTo>
                    <a:cubicBezTo>
                      <a:pt x="3591247" y="3229897"/>
                      <a:pt x="3587484" y="3226123"/>
                      <a:pt x="3587484" y="3221480"/>
                    </a:cubicBezTo>
                    <a:lnTo>
                      <a:pt x="3587484" y="3221068"/>
                    </a:lnTo>
                    <a:cubicBezTo>
                      <a:pt x="3587484" y="3210260"/>
                      <a:pt x="3595775" y="3201339"/>
                      <a:pt x="3606358" y="3200344"/>
                    </a:cubicBezTo>
                    <a:lnTo>
                      <a:pt x="3607005" y="3104755"/>
                    </a:lnTo>
                    <a:cubicBezTo>
                      <a:pt x="3607049" y="3099471"/>
                      <a:pt x="3605653" y="3094427"/>
                      <a:pt x="3602963" y="3090207"/>
                    </a:cubicBezTo>
                    <a:cubicBezTo>
                      <a:pt x="3593070" y="3074595"/>
                      <a:pt x="3588101" y="3056594"/>
                      <a:pt x="3588616" y="3038112"/>
                    </a:cubicBezTo>
                    <a:lnTo>
                      <a:pt x="3589145" y="3017823"/>
                    </a:lnTo>
                    <a:close/>
                    <a:moveTo>
                      <a:pt x="2528403" y="2977408"/>
                    </a:moveTo>
                    <a:cubicBezTo>
                      <a:pt x="2535282" y="2977408"/>
                      <a:pt x="2540885" y="2982995"/>
                      <a:pt x="2540885" y="2989897"/>
                    </a:cubicBezTo>
                    <a:lnTo>
                      <a:pt x="2540885" y="2999242"/>
                    </a:lnTo>
                    <a:cubicBezTo>
                      <a:pt x="2645202" y="3004522"/>
                      <a:pt x="2728903" y="3075235"/>
                      <a:pt x="2737057" y="3164229"/>
                    </a:cubicBezTo>
                    <a:cubicBezTo>
                      <a:pt x="2726932" y="3156951"/>
                      <a:pt x="2711533" y="3152304"/>
                      <a:pt x="2694298" y="3152304"/>
                    </a:cubicBezTo>
                    <a:cubicBezTo>
                      <a:pt x="2667499" y="3152304"/>
                      <a:pt x="2645144" y="3163563"/>
                      <a:pt x="2640082" y="3178478"/>
                    </a:cubicBezTo>
                    <a:lnTo>
                      <a:pt x="2637860" y="3178478"/>
                    </a:lnTo>
                    <a:cubicBezTo>
                      <a:pt x="2632682" y="3163648"/>
                      <a:pt x="2610404" y="3152492"/>
                      <a:pt x="2583702" y="3152492"/>
                    </a:cubicBezTo>
                    <a:cubicBezTo>
                      <a:pt x="2566428" y="3152492"/>
                      <a:pt x="2551029" y="3157173"/>
                      <a:pt x="2540904" y="3164485"/>
                    </a:cubicBezTo>
                    <a:lnTo>
                      <a:pt x="2540904" y="3289784"/>
                    </a:lnTo>
                    <a:cubicBezTo>
                      <a:pt x="2540904" y="3307245"/>
                      <a:pt x="2555086" y="3321442"/>
                      <a:pt x="2572534" y="3321442"/>
                    </a:cubicBezTo>
                    <a:cubicBezTo>
                      <a:pt x="2589981" y="3321442"/>
                      <a:pt x="2604202" y="3307245"/>
                      <a:pt x="2604202" y="3289784"/>
                    </a:cubicBezTo>
                    <a:cubicBezTo>
                      <a:pt x="2604202" y="3282899"/>
                      <a:pt x="2609786" y="3277296"/>
                      <a:pt x="2616703" y="3277296"/>
                    </a:cubicBezTo>
                    <a:cubicBezTo>
                      <a:pt x="2623581" y="3277296"/>
                      <a:pt x="2629185" y="3282899"/>
                      <a:pt x="2629185" y="3289784"/>
                    </a:cubicBezTo>
                    <a:cubicBezTo>
                      <a:pt x="2629185" y="3321032"/>
                      <a:pt x="2603777" y="3346437"/>
                      <a:pt x="2572534" y="3346437"/>
                    </a:cubicBezTo>
                    <a:cubicBezTo>
                      <a:pt x="2541310" y="3346437"/>
                      <a:pt x="2515902" y="3321032"/>
                      <a:pt x="2515902" y="3289784"/>
                    </a:cubicBezTo>
                    <a:lnTo>
                      <a:pt x="2515902" y="3164298"/>
                    </a:lnTo>
                    <a:cubicBezTo>
                      <a:pt x="2505758" y="3156985"/>
                      <a:pt x="2490378" y="3152304"/>
                      <a:pt x="2473105" y="3152304"/>
                    </a:cubicBezTo>
                    <a:cubicBezTo>
                      <a:pt x="2446287" y="3152304"/>
                      <a:pt x="2423932" y="3163563"/>
                      <a:pt x="2418889" y="3178478"/>
                    </a:cubicBezTo>
                    <a:lnTo>
                      <a:pt x="2416667" y="3178478"/>
                    </a:lnTo>
                    <a:cubicBezTo>
                      <a:pt x="2411469" y="3163648"/>
                      <a:pt x="2389211" y="3152492"/>
                      <a:pt x="2362489" y="3152492"/>
                    </a:cubicBezTo>
                    <a:cubicBezTo>
                      <a:pt x="2345254" y="3152492"/>
                      <a:pt x="2329874" y="3157156"/>
                      <a:pt x="2319711" y="3164417"/>
                    </a:cubicBezTo>
                    <a:cubicBezTo>
                      <a:pt x="2327768" y="3075355"/>
                      <a:pt x="2411527" y="3004522"/>
                      <a:pt x="2515902" y="2999242"/>
                    </a:cubicBezTo>
                    <a:lnTo>
                      <a:pt x="2515902" y="2989897"/>
                    </a:lnTo>
                    <a:cubicBezTo>
                      <a:pt x="2515902" y="2982995"/>
                      <a:pt x="2521506" y="2977408"/>
                      <a:pt x="2528403" y="2977408"/>
                    </a:cubicBezTo>
                    <a:close/>
                    <a:moveTo>
                      <a:pt x="3325916" y="2950142"/>
                    </a:moveTo>
                    <a:cubicBezTo>
                      <a:pt x="3339758" y="2950142"/>
                      <a:pt x="3352176" y="2957298"/>
                      <a:pt x="3359090" y="2969294"/>
                    </a:cubicBezTo>
                    <a:lnTo>
                      <a:pt x="3489837" y="3195755"/>
                    </a:lnTo>
                    <a:cubicBezTo>
                      <a:pt x="3496766" y="3207738"/>
                      <a:pt x="3496766" y="3222063"/>
                      <a:pt x="3489837" y="3234060"/>
                    </a:cubicBezTo>
                    <a:cubicBezTo>
                      <a:pt x="3482924" y="3246056"/>
                      <a:pt x="3470506" y="3253212"/>
                      <a:pt x="3456664" y="3253212"/>
                    </a:cubicBezTo>
                    <a:lnTo>
                      <a:pt x="3195168" y="3253212"/>
                    </a:lnTo>
                    <a:cubicBezTo>
                      <a:pt x="3181326" y="3253212"/>
                      <a:pt x="3168908" y="3246056"/>
                      <a:pt x="3161995" y="3234060"/>
                    </a:cubicBezTo>
                    <a:cubicBezTo>
                      <a:pt x="3155066" y="3222063"/>
                      <a:pt x="3155066" y="3207738"/>
                      <a:pt x="3161995" y="3195755"/>
                    </a:cubicBezTo>
                    <a:cubicBezTo>
                      <a:pt x="3161995" y="3195755"/>
                      <a:pt x="3292743" y="2969294"/>
                      <a:pt x="3292743" y="2969294"/>
                    </a:cubicBezTo>
                    <a:cubicBezTo>
                      <a:pt x="3299656" y="2957298"/>
                      <a:pt x="3312074" y="2950142"/>
                      <a:pt x="3325916" y="2950142"/>
                    </a:cubicBezTo>
                    <a:close/>
                    <a:moveTo>
                      <a:pt x="2598397" y="2939236"/>
                    </a:moveTo>
                    <a:cubicBezTo>
                      <a:pt x="2598397" y="2939236"/>
                      <a:pt x="2622914" y="2956619"/>
                      <a:pt x="2626418" y="2963254"/>
                    </a:cubicBezTo>
                    <a:cubicBezTo>
                      <a:pt x="2629922" y="2969889"/>
                      <a:pt x="2627377" y="2978104"/>
                      <a:pt x="2620763" y="2981626"/>
                    </a:cubicBezTo>
                    <a:cubicBezTo>
                      <a:pt x="2614112" y="2985113"/>
                      <a:pt x="2605890" y="2982569"/>
                      <a:pt x="2602386" y="2975949"/>
                    </a:cubicBezTo>
                    <a:cubicBezTo>
                      <a:pt x="2598887" y="2969318"/>
                      <a:pt x="2598397" y="2939236"/>
                      <a:pt x="2598397" y="2939236"/>
                    </a:cubicBezTo>
                    <a:close/>
                    <a:moveTo>
                      <a:pt x="2429331" y="2939236"/>
                    </a:moveTo>
                    <a:cubicBezTo>
                      <a:pt x="2429331" y="2939236"/>
                      <a:pt x="2453882" y="2956619"/>
                      <a:pt x="2457369" y="2963254"/>
                    </a:cubicBezTo>
                    <a:cubicBezTo>
                      <a:pt x="2460874" y="2969888"/>
                      <a:pt x="2458344" y="2978107"/>
                      <a:pt x="2451709" y="2981612"/>
                    </a:cubicBezTo>
                    <a:cubicBezTo>
                      <a:pt x="2445057" y="2985110"/>
                      <a:pt x="2436840" y="2982569"/>
                      <a:pt x="2433335" y="2975933"/>
                    </a:cubicBezTo>
                    <a:cubicBezTo>
                      <a:pt x="2429836" y="2969315"/>
                      <a:pt x="2429331" y="2939236"/>
                      <a:pt x="2429331" y="2939236"/>
                    </a:cubicBezTo>
                    <a:close/>
                    <a:moveTo>
                      <a:pt x="3326699" y="2936208"/>
                    </a:moveTo>
                    <a:cubicBezTo>
                      <a:pt x="3309868" y="2936208"/>
                      <a:pt x="3294794" y="2944907"/>
                      <a:pt x="3286369" y="2959478"/>
                    </a:cubicBezTo>
                    <a:lnTo>
                      <a:pt x="3150759" y="3194342"/>
                    </a:lnTo>
                    <a:cubicBezTo>
                      <a:pt x="3142354" y="3208913"/>
                      <a:pt x="3142354" y="3226327"/>
                      <a:pt x="3150759" y="3240898"/>
                    </a:cubicBezTo>
                    <a:cubicBezTo>
                      <a:pt x="3159184" y="3255487"/>
                      <a:pt x="3174277" y="3264185"/>
                      <a:pt x="3191108" y="3264185"/>
                    </a:cubicBezTo>
                    <a:lnTo>
                      <a:pt x="3462289" y="3264185"/>
                    </a:lnTo>
                    <a:cubicBezTo>
                      <a:pt x="3479139" y="3264185"/>
                      <a:pt x="3494213" y="3255487"/>
                      <a:pt x="3502619" y="3240898"/>
                    </a:cubicBezTo>
                    <a:cubicBezTo>
                      <a:pt x="3511044" y="3226327"/>
                      <a:pt x="3511044" y="3208913"/>
                      <a:pt x="3502619" y="3194342"/>
                    </a:cubicBezTo>
                    <a:lnTo>
                      <a:pt x="3367028" y="2959478"/>
                    </a:lnTo>
                    <a:cubicBezTo>
                      <a:pt x="3358603" y="2944907"/>
                      <a:pt x="3343529" y="2936208"/>
                      <a:pt x="3326699" y="2936208"/>
                    </a:cubicBezTo>
                    <a:close/>
                    <a:moveTo>
                      <a:pt x="4814438" y="2928633"/>
                    </a:moveTo>
                    <a:cubicBezTo>
                      <a:pt x="4803337" y="2927756"/>
                      <a:pt x="4792344" y="2933553"/>
                      <a:pt x="4786885" y="2944058"/>
                    </a:cubicBezTo>
                    <a:cubicBezTo>
                      <a:pt x="4786885" y="2944058"/>
                      <a:pt x="4772201" y="2972343"/>
                      <a:pt x="4772201" y="2972343"/>
                    </a:cubicBezTo>
                    <a:lnTo>
                      <a:pt x="4965118" y="3072605"/>
                    </a:lnTo>
                    <a:lnTo>
                      <a:pt x="4979802" y="3044321"/>
                    </a:lnTo>
                    <a:cubicBezTo>
                      <a:pt x="4987075" y="3030324"/>
                      <a:pt x="4981647" y="3013178"/>
                      <a:pt x="4967649" y="3005888"/>
                    </a:cubicBezTo>
                    <a:lnTo>
                      <a:pt x="4958043" y="3000806"/>
                    </a:lnTo>
                    <a:lnTo>
                      <a:pt x="4947888" y="3020209"/>
                    </a:lnTo>
                    <a:cubicBezTo>
                      <a:pt x="4946074" y="3023700"/>
                      <a:pt x="4941789" y="3025112"/>
                      <a:pt x="4938282" y="3023294"/>
                    </a:cubicBezTo>
                    <a:cubicBezTo>
                      <a:pt x="4934775" y="3021443"/>
                      <a:pt x="4933372" y="3017189"/>
                      <a:pt x="4935202" y="3013682"/>
                    </a:cubicBezTo>
                    <a:lnTo>
                      <a:pt x="4945357" y="2994279"/>
                    </a:lnTo>
                    <a:lnTo>
                      <a:pt x="4847617" y="2943506"/>
                    </a:lnTo>
                    <a:lnTo>
                      <a:pt x="4837645" y="2962909"/>
                    </a:lnTo>
                    <a:cubicBezTo>
                      <a:pt x="4835831" y="2966416"/>
                      <a:pt x="4831363" y="2967650"/>
                      <a:pt x="4827856" y="2965816"/>
                    </a:cubicBezTo>
                    <a:cubicBezTo>
                      <a:pt x="4824364" y="2963981"/>
                      <a:pt x="4823129" y="2959711"/>
                      <a:pt x="4824959" y="2956203"/>
                    </a:cubicBezTo>
                    <a:lnTo>
                      <a:pt x="4834931" y="2936800"/>
                    </a:lnTo>
                    <a:lnTo>
                      <a:pt x="4825508" y="2931897"/>
                    </a:lnTo>
                    <a:cubicBezTo>
                      <a:pt x="4822001" y="2930078"/>
                      <a:pt x="4818143" y="2928926"/>
                      <a:pt x="4814438" y="2928633"/>
                    </a:cubicBezTo>
                    <a:close/>
                    <a:moveTo>
                      <a:pt x="3326699" y="2917423"/>
                    </a:moveTo>
                    <a:cubicBezTo>
                      <a:pt x="3350330" y="2917423"/>
                      <a:pt x="3371486" y="2929642"/>
                      <a:pt x="3383292" y="2950102"/>
                    </a:cubicBezTo>
                    <a:lnTo>
                      <a:pt x="3518902" y="3184949"/>
                    </a:lnTo>
                    <a:cubicBezTo>
                      <a:pt x="3530708" y="3205393"/>
                      <a:pt x="3530708" y="3229847"/>
                      <a:pt x="3518902" y="3250291"/>
                    </a:cubicBezTo>
                    <a:cubicBezTo>
                      <a:pt x="3507077" y="3270751"/>
                      <a:pt x="3485920" y="3282970"/>
                      <a:pt x="3462289" y="3282970"/>
                    </a:cubicBezTo>
                    <a:lnTo>
                      <a:pt x="3191108" y="3282970"/>
                    </a:lnTo>
                    <a:cubicBezTo>
                      <a:pt x="3167477" y="3282970"/>
                      <a:pt x="3146320" y="3270751"/>
                      <a:pt x="3134514" y="3250291"/>
                    </a:cubicBezTo>
                    <a:cubicBezTo>
                      <a:pt x="3122689" y="3229847"/>
                      <a:pt x="3122689" y="3205393"/>
                      <a:pt x="3134514" y="3184949"/>
                    </a:cubicBezTo>
                    <a:cubicBezTo>
                      <a:pt x="3134514" y="3184949"/>
                      <a:pt x="3270105" y="2950102"/>
                      <a:pt x="3270105" y="2950102"/>
                    </a:cubicBezTo>
                    <a:cubicBezTo>
                      <a:pt x="3281930" y="2929642"/>
                      <a:pt x="3303067" y="2917423"/>
                      <a:pt x="3326699" y="2917423"/>
                    </a:cubicBezTo>
                    <a:close/>
                    <a:moveTo>
                      <a:pt x="2543853" y="2917423"/>
                    </a:moveTo>
                    <a:cubicBezTo>
                      <a:pt x="2543853" y="2917423"/>
                      <a:pt x="2568391" y="2934799"/>
                      <a:pt x="2571890" y="2941436"/>
                    </a:cubicBezTo>
                    <a:cubicBezTo>
                      <a:pt x="2575395" y="2948071"/>
                      <a:pt x="2572839" y="2956310"/>
                      <a:pt x="2566220" y="2959792"/>
                    </a:cubicBezTo>
                    <a:cubicBezTo>
                      <a:pt x="2559585" y="2963313"/>
                      <a:pt x="2551346" y="2960772"/>
                      <a:pt x="2547841" y="2954137"/>
                    </a:cubicBezTo>
                    <a:cubicBezTo>
                      <a:pt x="2544358" y="2947485"/>
                      <a:pt x="2543853" y="2917423"/>
                      <a:pt x="2543853" y="2917423"/>
                    </a:cubicBezTo>
                    <a:close/>
                    <a:moveTo>
                      <a:pt x="2483857" y="2917423"/>
                    </a:moveTo>
                    <a:cubicBezTo>
                      <a:pt x="2483857" y="2917423"/>
                      <a:pt x="2508396" y="2934799"/>
                      <a:pt x="2511911" y="2941436"/>
                    </a:cubicBezTo>
                    <a:cubicBezTo>
                      <a:pt x="2515399" y="2948071"/>
                      <a:pt x="2512874" y="2956310"/>
                      <a:pt x="2506224" y="2959792"/>
                    </a:cubicBezTo>
                    <a:cubicBezTo>
                      <a:pt x="2499589" y="2963313"/>
                      <a:pt x="2491388" y="2960772"/>
                      <a:pt x="2487883" y="2954137"/>
                    </a:cubicBezTo>
                    <a:cubicBezTo>
                      <a:pt x="2484362" y="2947485"/>
                      <a:pt x="2483857" y="2917423"/>
                      <a:pt x="2483857" y="2917423"/>
                    </a:cubicBezTo>
                    <a:close/>
                    <a:moveTo>
                      <a:pt x="1967606" y="2906517"/>
                    </a:moveTo>
                    <a:cubicBezTo>
                      <a:pt x="1974155" y="2915958"/>
                      <a:pt x="1978052" y="2926935"/>
                      <a:pt x="1978844" y="2938688"/>
                    </a:cubicBezTo>
                    <a:cubicBezTo>
                      <a:pt x="1978844" y="2938705"/>
                      <a:pt x="1978861" y="2938737"/>
                      <a:pt x="1978861" y="2938769"/>
                    </a:cubicBezTo>
                    <a:cubicBezTo>
                      <a:pt x="1978861" y="2938769"/>
                      <a:pt x="1978893" y="2939238"/>
                      <a:pt x="1978974" y="2940240"/>
                    </a:cubicBezTo>
                    <a:lnTo>
                      <a:pt x="1978990" y="2940499"/>
                    </a:lnTo>
                    <a:cubicBezTo>
                      <a:pt x="1979103" y="2943409"/>
                      <a:pt x="1979216" y="2949633"/>
                      <a:pt x="1978424" y="2958573"/>
                    </a:cubicBezTo>
                    <a:cubicBezTo>
                      <a:pt x="1975012" y="2997227"/>
                      <a:pt x="1956416" y="3073857"/>
                      <a:pt x="1870553" y="3152636"/>
                    </a:cubicBezTo>
                    <a:cubicBezTo>
                      <a:pt x="1758236" y="3255714"/>
                      <a:pt x="1670724" y="3233355"/>
                      <a:pt x="1660472" y="3230235"/>
                    </a:cubicBezTo>
                    <a:cubicBezTo>
                      <a:pt x="1649056" y="3228344"/>
                      <a:pt x="1638675" y="3223575"/>
                      <a:pt x="1629943" y="3216364"/>
                    </a:cubicBezTo>
                    <a:lnTo>
                      <a:pt x="1726607" y="3127675"/>
                    </a:lnTo>
                    <a:cubicBezTo>
                      <a:pt x="1730973" y="3133964"/>
                      <a:pt x="1734175" y="3140948"/>
                      <a:pt x="1736002" y="3148352"/>
                    </a:cubicBezTo>
                    <a:cubicBezTo>
                      <a:pt x="1753951" y="3143017"/>
                      <a:pt x="1792889" y="3128629"/>
                      <a:pt x="1827654" y="3096748"/>
                    </a:cubicBezTo>
                    <a:cubicBezTo>
                      <a:pt x="1862662" y="3064609"/>
                      <a:pt x="1882535" y="3024597"/>
                      <a:pt x="1890394" y="3006232"/>
                    </a:cubicBezTo>
                    <a:cubicBezTo>
                      <a:pt x="1883295" y="3003742"/>
                      <a:pt x="1876763" y="3000024"/>
                      <a:pt x="1870941" y="2995207"/>
                    </a:cubicBezTo>
                    <a:close/>
                    <a:moveTo>
                      <a:pt x="4855790" y="2901437"/>
                    </a:moveTo>
                    <a:cubicBezTo>
                      <a:pt x="4857529" y="2900885"/>
                      <a:pt x="4859465" y="2900885"/>
                      <a:pt x="4861219" y="2901810"/>
                    </a:cubicBezTo>
                    <a:cubicBezTo>
                      <a:pt x="4864726" y="2903612"/>
                      <a:pt x="4866128" y="2908094"/>
                      <a:pt x="4864299" y="2911601"/>
                    </a:cubicBezTo>
                    <a:lnTo>
                      <a:pt x="4854327" y="2930809"/>
                    </a:lnTo>
                    <a:lnTo>
                      <a:pt x="4951883" y="2981582"/>
                    </a:lnTo>
                    <a:lnTo>
                      <a:pt x="4962038" y="2962357"/>
                    </a:lnTo>
                    <a:cubicBezTo>
                      <a:pt x="4963868" y="2958850"/>
                      <a:pt x="4968137" y="2957470"/>
                      <a:pt x="4971644" y="2959288"/>
                    </a:cubicBezTo>
                    <a:cubicBezTo>
                      <a:pt x="4975151" y="2961123"/>
                      <a:pt x="4976539" y="2965393"/>
                      <a:pt x="4974725" y="2968884"/>
                    </a:cubicBezTo>
                    <a:lnTo>
                      <a:pt x="4964569" y="2988109"/>
                    </a:lnTo>
                    <a:lnTo>
                      <a:pt x="4974176" y="2993191"/>
                    </a:lnTo>
                    <a:cubicBezTo>
                      <a:pt x="4995172" y="3004102"/>
                      <a:pt x="5003421" y="3030032"/>
                      <a:pt x="4992488" y="3051026"/>
                    </a:cubicBezTo>
                    <a:lnTo>
                      <a:pt x="4903288" y="3222374"/>
                    </a:lnTo>
                    <a:cubicBezTo>
                      <a:pt x="4892370" y="3243384"/>
                      <a:pt x="4866433" y="3251600"/>
                      <a:pt x="4845452" y="3240689"/>
                    </a:cubicBezTo>
                    <a:lnTo>
                      <a:pt x="4703295" y="3166535"/>
                    </a:lnTo>
                    <a:cubicBezTo>
                      <a:pt x="4682299" y="3155608"/>
                      <a:pt x="4674065" y="3129678"/>
                      <a:pt x="4684983" y="3108683"/>
                    </a:cubicBezTo>
                    <a:lnTo>
                      <a:pt x="4774198" y="2937336"/>
                    </a:lnTo>
                    <a:cubicBezTo>
                      <a:pt x="4785116" y="2916358"/>
                      <a:pt x="4811053" y="2908305"/>
                      <a:pt x="4832034" y="2919216"/>
                    </a:cubicBezTo>
                    <a:lnTo>
                      <a:pt x="4841640" y="2924103"/>
                    </a:lnTo>
                    <a:lnTo>
                      <a:pt x="4851612" y="2904879"/>
                    </a:lnTo>
                    <a:cubicBezTo>
                      <a:pt x="4852527" y="2903141"/>
                      <a:pt x="4854037" y="2901989"/>
                      <a:pt x="4855790" y="2901437"/>
                    </a:cubicBezTo>
                    <a:close/>
                    <a:moveTo>
                      <a:pt x="4270971" y="2901093"/>
                    </a:moveTo>
                    <a:cubicBezTo>
                      <a:pt x="4275721" y="2900704"/>
                      <a:pt x="4279880" y="2904251"/>
                      <a:pt x="4280265" y="2908985"/>
                    </a:cubicBezTo>
                    <a:cubicBezTo>
                      <a:pt x="4280654" y="2913741"/>
                      <a:pt x="4277119" y="2917900"/>
                      <a:pt x="4272368" y="2918289"/>
                    </a:cubicBezTo>
                    <a:lnTo>
                      <a:pt x="4249153" y="2920164"/>
                    </a:lnTo>
                    <a:cubicBezTo>
                      <a:pt x="4244404" y="2920563"/>
                      <a:pt x="4240235" y="2917027"/>
                      <a:pt x="4239841" y="2912265"/>
                    </a:cubicBezTo>
                    <a:cubicBezTo>
                      <a:pt x="4239463" y="2907526"/>
                      <a:pt x="4242999" y="2903366"/>
                      <a:pt x="4247747" y="2902973"/>
                    </a:cubicBezTo>
                    <a:close/>
                    <a:moveTo>
                      <a:pt x="3677425" y="2868522"/>
                    </a:moveTo>
                    <a:cubicBezTo>
                      <a:pt x="3681090" y="2869301"/>
                      <a:pt x="3683804" y="2872381"/>
                      <a:pt x="3684095" y="2876100"/>
                    </a:cubicBezTo>
                    <a:lnTo>
                      <a:pt x="3691355" y="2966062"/>
                    </a:lnTo>
                    <a:lnTo>
                      <a:pt x="3590613" y="2999241"/>
                    </a:lnTo>
                    <a:lnTo>
                      <a:pt x="3591307" y="2973488"/>
                    </a:lnTo>
                    <a:lnTo>
                      <a:pt x="3577058" y="2971534"/>
                    </a:lnTo>
                    <a:cubicBezTo>
                      <a:pt x="3563850" y="2969732"/>
                      <a:pt x="3552710" y="2960876"/>
                      <a:pt x="3547970" y="2948411"/>
                    </a:cubicBezTo>
                    <a:lnTo>
                      <a:pt x="3542417" y="2933778"/>
                    </a:lnTo>
                    <a:cubicBezTo>
                      <a:pt x="3541439" y="2931240"/>
                      <a:pt x="3541758" y="2928373"/>
                      <a:pt x="3543264" y="2926121"/>
                    </a:cubicBezTo>
                    <a:cubicBezTo>
                      <a:pt x="3544770" y="2923863"/>
                      <a:pt x="3547262" y="2922444"/>
                      <a:pt x="3549996" y="2922359"/>
                    </a:cubicBezTo>
                    <a:lnTo>
                      <a:pt x="3594388" y="2920764"/>
                    </a:lnTo>
                    <a:lnTo>
                      <a:pt x="3605063" y="2904409"/>
                    </a:lnTo>
                    <a:cubicBezTo>
                      <a:pt x="3606326" y="2902474"/>
                      <a:pt x="3608311" y="2901147"/>
                      <a:pt x="3610574" y="2900727"/>
                    </a:cubicBezTo>
                    <a:lnTo>
                      <a:pt x="3657992" y="2891877"/>
                    </a:lnTo>
                    <a:lnTo>
                      <a:pt x="3668278" y="2872782"/>
                    </a:lnTo>
                    <a:cubicBezTo>
                      <a:pt x="3670054" y="2869502"/>
                      <a:pt x="3673761" y="2867767"/>
                      <a:pt x="3677425" y="2868522"/>
                    </a:cubicBezTo>
                    <a:close/>
                    <a:moveTo>
                      <a:pt x="1929782" y="2857481"/>
                    </a:moveTo>
                    <a:cubicBezTo>
                      <a:pt x="1941324" y="2857975"/>
                      <a:pt x="1952679" y="2862863"/>
                      <a:pt x="1961092" y="2872033"/>
                    </a:cubicBezTo>
                    <a:lnTo>
                      <a:pt x="1966155" y="2877569"/>
                    </a:lnTo>
                    <a:cubicBezTo>
                      <a:pt x="1966903" y="2878367"/>
                      <a:pt x="1967543" y="2879240"/>
                      <a:pt x="1968164" y="2880131"/>
                    </a:cubicBezTo>
                    <a:lnTo>
                      <a:pt x="1851542" y="2987139"/>
                    </a:lnTo>
                    <a:cubicBezTo>
                      <a:pt x="1850711" y="2986447"/>
                      <a:pt x="1849907" y="2985724"/>
                      <a:pt x="1849165" y="2984920"/>
                    </a:cubicBezTo>
                    <a:lnTo>
                      <a:pt x="1844077" y="2979378"/>
                    </a:lnTo>
                    <a:cubicBezTo>
                      <a:pt x="1835540" y="2970058"/>
                      <a:pt x="1831282" y="2957484"/>
                      <a:pt x="1832397" y="2944891"/>
                    </a:cubicBezTo>
                    <a:cubicBezTo>
                      <a:pt x="1833386" y="2933651"/>
                      <a:pt x="1838525" y="2923265"/>
                      <a:pt x="1846827" y="2915634"/>
                    </a:cubicBezTo>
                    <a:cubicBezTo>
                      <a:pt x="1846827" y="2915634"/>
                      <a:pt x="1897346" y="2869290"/>
                      <a:pt x="1897346" y="2869290"/>
                    </a:cubicBezTo>
                    <a:cubicBezTo>
                      <a:pt x="1906510" y="2860887"/>
                      <a:pt x="1918240" y="2856987"/>
                      <a:pt x="1929782" y="2857481"/>
                    </a:cubicBezTo>
                    <a:close/>
                    <a:moveTo>
                      <a:pt x="4357215" y="2842182"/>
                    </a:moveTo>
                    <a:cubicBezTo>
                      <a:pt x="4325042" y="2844798"/>
                      <a:pt x="4300991" y="2873125"/>
                      <a:pt x="4303599" y="2905282"/>
                    </a:cubicBezTo>
                    <a:cubicBezTo>
                      <a:pt x="4304086" y="2911326"/>
                      <a:pt x="4305477" y="2917077"/>
                      <a:pt x="4307634" y="2922438"/>
                    </a:cubicBezTo>
                    <a:cubicBezTo>
                      <a:pt x="4314782" y="2919539"/>
                      <a:pt x="4322486" y="2917701"/>
                      <a:pt x="4330555" y="2917041"/>
                    </a:cubicBezTo>
                    <a:cubicBezTo>
                      <a:pt x="4335946" y="2916594"/>
                      <a:pt x="4341337" y="2916711"/>
                      <a:pt x="4346676" y="2917371"/>
                    </a:cubicBezTo>
                    <a:cubicBezTo>
                      <a:pt x="4355685" y="2890376"/>
                      <a:pt x="4374502" y="2868306"/>
                      <a:pt x="4398623" y="2854932"/>
                    </a:cubicBezTo>
                    <a:cubicBezTo>
                      <a:pt x="4387354" y="2845858"/>
                      <a:pt x="4372745" y="2840909"/>
                      <a:pt x="4357215" y="2842182"/>
                    </a:cubicBezTo>
                    <a:close/>
                    <a:moveTo>
                      <a:pt x="3135136" y="2835625"/>
                    </a:moveTo>
                    <a:lnTo>
                      <a:pt x="3134428" y="2839653"/>
                    </a:lnTo>
                    <a:lnTo>
                      <a:pt x="3117804" y="2930427"/>
                    </a:lnTo>
                    <a:cubicBezTo>
                      <a:pt x="3116595" y="2937225"/>
                      <a:pt x="3112080" y="2942886"/>
                      <a:pt x="3105780" y="2945647"/>
                    </a:cubicBezTo>
                    <a:cubicBezTo>
                      <a:pt x="3099532" y="2948323"/>
                      <a:pt x="3092240" y="2947770"/>
                      <a:pt x="3086530" y="2944045"/>
                    </a:cubicBezTo>
                    <a:cubicBezTo>
                      <a:pt x="3063389" y="2929076"/>
                      <a:pt x="3033127" y="2909338"/>
                      <a:pt x="3033967" y="2908174"/>
                    </a:cubicBezTo>
                    <a:close/>
                    <a:moveTo>
                      <a:pt x="4355824" y="2824967"/>
                    </a:moveTo>
                    <a:cubicBezTo>
                      <a:pt x="4378989" y="2823093"/>
                      <a:pt x="4400588" y="2831895"/>
                      <a:pt x="4415788" y="2847213"/>
                    </a:cubicBezTo>
                    <a:cubicBezTo>
                      <a:pt x="4424692" y="2844091"/>
                      <a:pt x="4434083" y="2842064"/>
                      <a:pt x="4443787" y="2841275"/>
                    </a:cubicBezTo>
                    <a:cubicBezTo>
                      <a:pt x="4503959" y="2836373"/>
                      <a:pt x="4557071" y="2880254"/>
                      <a:pt x="4564045" y="2939759"/>
                    </a:cubicBezTo>
                    <a:cubicBezTo>
                      <a:pt x="4564879" y="2939642"/>
                      <a:pt x="4565714" y="2939559"/>
                      <a:pt x="4566549" y="2939488"/>
                    </a:cubicBezTo>
                    <a:cubicBezTo>
                      <a:pt x="4598444" y="2936896"/>
                      <a:pt x="4626495" y="2960734"/>
                      <a:pt x="4629086" y="2992631"/>
                    </a:cubicBezTo>
                    <a:cubicBezTo>
                      <a:pt x="4631695" y="3024529"/>
                      <a:pt x="4607852" y="3052585"/>
                      <a:pt x="4575957" y="3055165"/>
                    </a:cubicBezTo>
                    <a:lnTo>
                      <a:pt x="4343337" y="3074089"/>
                    </a:lnTo>
                    <a:cubicBezTo>
                      <a:pt x="4300034" y="3077612"/>
                      <a:pt x="4261948" y="3045267"/>
                      <a:pt x="4258418" y="3001952"/>
                    </a:cubicBezTo>
                    <a:cubicBezTo>
                      <a:pt x="4256053" y="2972859"/>
                      <a:pt x="4269913" y="2946122"/>
                      <a:pt x="4292400" y="2930639"/>
                    </a:cubicBezTo>
                    <a:cubicBezTo>
                      <a:pt x="4289182" y="2923228"/>
                      <a:pt x="4287095" y="2915180"/>
                      <a:pt x="4286400" y="2906707"/>
                    </a:cubicBezTo>
                    <a:cubicBezTo>
                      <a:pt x="4283009" y="2865018"/>
                      <a:pt x="4314138" y="2828384"/>
                      <a:pt x="4355824" y="2824967"/>
                    </a:cubicBezTo>
                    <a:close/>
                    <a:moveTo>
                      <a:pt x="4083968" y="2819202"/>
                    </a:moveTo>
                    <a:cubicBezTo>
                      <a:pt x="4071376" y="2820062"/>
                      <a:pt x="4058752" y="2823404"/>
                      <a:pt x="4046803" y="2829458"/>
                    </a:cubicBezTo>
                    <a:cubicBezTo>
                      <a:pt x="3999006" y="2853672"/>
                      <a:pt x="3979819" y="2912263"/>
                      <a:pt x="4004032" y="2960062"/>
                    </a:cubicBezTo>
                    <a:cubicBezTo>
                      <a:pt x="4028246" y="3007861"/>
                      <a:pt x="4086834" y="3027049"/>
                      <a:pt x="4134631" y="3002834"/>
                    </a:cubicBezTo>
                    <a:cubicBezTo>
                      <a:pt x="4182428" y="2978620"/>
                      <a:pt x="4201615" y="2920042"/>
                      <a:pt x="4177402" y="2872230"/>
                    </a:cubicBezTo>
                    <a:cubicBezTo>
                      <a:pt x="4159242" y="2836370"/>
                      <a:pt x="4121746" y="2816620"/>
                      <a:pt x="4083968" y="2819202"/>
                    </a:cubicBezTo>
                    <a:close/>
                    <a:moveTo>
                      <a:pt x="4275869" y="2815859"/>
                    </a:moveTo>
                    <a:lnTo>
                      <a:pt x="4293610" y="2830929"/>
                    </a:lnTo>
                    <a:cubicBezTo>
                      <a:pt x="4297238" y="2834024"/>
                      <a:pt x="4297686" y="2839471"/>
                      <a:pt x="4294604" y="2843092"/>
                    </a:cubicBezTo>
                    <a:cubicBezTo>
                      <a:pt x="4293061" y="2844919"/>
                      <a:pt x="4290930" y="2845937"/>
                      <a:pt x="4288735" y="2846123"/>
                    </a:cubicBezTo>
                    <a:cubicBezTo>
                      <a:pt x="4286528" y="2846299"/>
                      <a:pt x="4284255" y="2845644"/>
                      <a:pt x="4282438" y="2844078"/>
                    </a:cubicBezTo>
                    <a:lnTo>
                      <a:pt x="4264685" y="2829012"/>
                    </a:lnTo>
                    <a:cubicBezTo>
                      <a:pt x="4261056" y="2825902"/>
                      <a:pt x="4260612" y="2820476"/>
                      <a:pt x="4263700" y="2816854"/>
                    </a:cubicBezTo>
                    <a:cubicBezTo>
                      <a:pt x="4266784" y="2813233"/>
                      <a:pt x="4272232" y="2812775"/>
                      <a:pt x="4275869" y="2815859"/>
                    </a:cubicBezTo>
                    <a:close/>
                    <a:moveTo>
                      <a:pt x="4446299" y="2804947"/>
                    </a:moveTo>
                    <a:cubicBezTo>
                      <a:pt x="4449928" y="2808036"/>
                      <a:pt x="4450375" y="2813480"/>
                      <a:pt x="4447284" y="2817122"/>
                    </a:cubicBezTo>
                    <a:lnTo>
                      <a:pt x="4432211" y="2834867"/>
                    </a:lnTo>
                    <a:cubicBezTo>
                      <a:pt x="4430663" y="2836683"/>
                      <a:pt x="4428541" y="2837695"/>
                      <a:pt x="4426334" y="2837881"/>
                    </a:cubicBezTo>
                    <a:cubicBezTo>
                      <a:pt x="4424127" y="2838057"/>
                      <a:pt x="4421856" y="2837402"/>
                      <a:pt x="4420053" y="2835879"/>
                    </a:cubicBezTo>
                    <a:cubicBezTo>
                      <a:pt x="4416416" y="2832778"/>
                      <a:pt x="4415969" y="2827321"/>
                      <a:pt x="4419060" y="2823700"/>
                    </a:cubicBezTo>
                    <a:lnTo>
                      <a:pt x="4434148" y="2805949"/>
                    </a:lnTo>
                    <a:cubicBezTo>
                      <a:pt x="4437229" y="2802323"/>
                      <a:pt x="4442669" y="2801875"/>
                      <a:pt x="4446299" y="2804947"/>
                    </a:cubicBezTo>
                    <a:close/>
                    <a:moveTo>
                      <a:pt x="1144008" y="2792001"/>
                    </a:moveTo>
                    <a:cubicBezTo>
                      <a:pt x="1149426" y="2795581"/>
                      <a:pt x="1154791" y="2799274"/>
                      <a:pt x="1160052" y="2803230"/>
                    </a:cubicBezTo>
                    <a:lnTo>
                      <a:pt x="1172694" y="2796594"/>
                    </a:lnTo>
                    <a:cubicBezTo>
                      <a:pt x="1183652" y="2790895"/>
                      <a:pt x="1197101" y="2792826"/>
                      <a:pt x="1205886" y="2801599"/>
                    </a:cubicBezTo>
                    <a:lnTo>
                      <a:pt x="1294380" y="2890096"/>
                    </a:lnTo>
                    <a:cubicBezTo>
                      <a:pt x="1300745" y="2896488"/>
                      <a:pt x="1303621" y="2905561"/>
                      <a:pt x="1302253" y="2914465"/>
                    </a:cubicBezTo>
                    <a:cubicBezTo>
                      <a:pt x="1300903" y="2923350"/>
                      <a:pt x="1295397" y="2931111"/>
                      <a:pt x="1287384" y="2935291"/>
                    </a:cubicBezTo>
                    <a:lnTo>
                      <a:pt x="1267308" y="2945826"/>
                    </a:lnTo>
                    <a:cubicBezTo>
                      <a:pt x="1287437" y="2992727"/>
                      <a:pt x="1298378" y="3038653"/>
                      <a:pt x="1301341" y="3067746"/>
                    </a:cubicBezTo>
                    <a:lnTo>
                      <a:pt x="1388713" y="3097776"/>
                    </a:lnTo>
                    <a:cubicBezTo>
                      <a:pt x="1392606" y="3099107"/>
                      <a:pt x="1395341" y="3102725"/>
                      <a:pt x="1395569" y="3106905"/>
                    </a:cubicBezTo>
                    <a:cubicBezTo>
                      <a:pt x="1395780" y="3111048"/>
                      <a:pt x="1393483" y="3114909"/>
                      <a:pt x="1389730" y="3116709"/>
                    </a:cubicBezTo>
                    <a:lnTo>
                      <a:pt x="1351611" y="3134648"/>
                    </a:lnTo>
                    <a:cubicBezTo>
                      <a:pt x="1344142" y="3138173"/>
                      <a:pt x="1338198" y="3144152"/>
                      <a:pt x="1334638" y="3151613"/>
                    </a:cubicBezTo>
                    <a:lnTo>
                      <a:pt x="1316701" y="3189685"/>
                    </a:lnTo>
                    <a:cubicBezTo>
                      <a:pt x="1314948" y="3193434"/>
                      <a:pt x="1311055" y="3195796"/>
                      <a:pt x="1306899" y="3195552"/>
                    </a:cubicBezTo>
                    <a:cubicBezTo>
                      <a:pt x="1302744" y="3195290"/>
                      <a:pt x="1299149" y="3192572"/>
                      <a:pt x="1297834" y="3188673"/>
                    </a:cubicBezTo>
                    <a:lnTo>
                      <a:pt x="1267711" y="3101169"/>
                    </a:lnTo>
                    <a:cubicBezTo>
                      <a:pt x="1226699" y="3094439"/>
                      <a:pt x="1155563" y="3063022"/>
                      <a:pt x="1093738" y="3015840"/>
                    </a:cubicBezTo>
                    <a:lnTo>
                      <a:pt x="1086812" y="3037191"/>
                    </a:lnTo>
                    <a:cubicBezTo>
                      <a:pt x="1085549" y="3041053"/>
                      <a:pt x="1082428" y="3043977"/>
                      <a:pt x="1078483" y="3044895"/>
                    </a:cubicBezTo>
                    <a:cubicBezTo>
                      <a:pt x="1074520" y="3045870"/>
                      <a:pt x="1070453" y="3044652"/>
                      <a:pt x="1067507" y="3041765"/>
                    </a:cubicBezTo>
                    <a:lnTo>
                      <a:pt x="1060107" y="3034360"/>
                    </a:lnTo>
                    <a:cubicBezTo>
                      <a:pt x="1054444" y="3028662"/>
                      <a:pt x="1050937" y="3021164"/>
                      <a:pt x="1050394" y="3013103"/>
                    </a:cubicBezTo>
                    <a:lnTo>
                      <a:pt x="1047781" y="2975519"/>
                    </a:lnTo>
                    <a:cubicBezTo>
                      <a:pt x="1036998" y="2964628"/>
                      <a:pt x="1026758" y="2953755"/>
                      <a:pt x="1017044" y="2942995"/>
                    </a:cubicBezTo>
                    <a:cubicBezTo>
                      <a:pt x="1045572" y="2936359"/>
                      <a:pt x="1073223" y="2921644"/>
                      <a:pt x="1096000" y="2898812"/>
                    </a:cubicBezTo>
                    <a:cubicBezTo>
                      <a:pt x="1126176" y="2868651"/>
                      <a:pt x="1142307" y="2829979"/>
                      <a:pt x="1144008" y="2792001"/>
                    </a:cubicBezTo>
                    <a:close/>
                    <a:moveTo>
                      <a:pt x="4081755" y="2786853"/>
                    </a:moveTo>
                    <a:cubicBezTo>
                      <a:pt x="4132129" y="2783388"/>
                      <a:pt x="4182048" y="2809725"/>
                      <a:pt x="4206299" y="2857603"/>
                    </a:cubicBezTo>
                    <a:cubicBezTo>
                      <a:pt x="4238633" y="2921426"/>
                      <a:pt x="4213105" y="2999383"/>
                      <a:pt x="4149258" y="3031733"/>
                    </a:cubicBezTo>
                    <a:cubicBezTo>
                      <a:pt x="4085437" y="3064055"/>
                      <a:pt x="4007470" y="3038526"/>
                      <a:pt x="3975135" y="2974689"/>
                    </a:cubicBezTo>
                    <a:cubicBezTo>
                      <a:pt x="3942814" y="2910866"/>
                      <a:pt x="3968342" y="2832895"/>
                      <a:pt x="4032163" y="2800559"/>
                    </a:cubicBezTo>
                    <a:cubicBezTo>
                      <a:pt x="4048121" y="2792475"/>
                      <a:pt x="4064963" y="2788008"/>
                      <a:pt x="4081755" y="2786853"/>
                    </a:cubicBezTo>
                    <a:close/>
                    <a:moveTo>
                      <a:pt x="1014278" y="2778048"/>
                    </a:moveTo>
                    <a:cubicBezTo>
                      <a:pt x="1010135" y="2778048"/>
                      <a:pt x="1005992" y="2779639"/>
                      <a:pt x="1002827" y="2782821"/>
                    </a:cubicBezTo>
                    <a:cubicBezTo>
                      <a:pt x="996545" y="2789077"/>
                      <a:pt x="996545" y="2799370"/>
                      <a:pt x="1002875" y="2805668"/>
                    </a:cubicBezTo>
                    <a:cubicBezTo>
                      <a:pt x="1009157" y="2811949"/>
                      <a:pt x="1019399" y="2811949"/>
                      <a:pt x="1025730" y="2805668"/>
                    </a:cubicBezTo>
                    <a:cubicBezTo>
                      <a:pt x="1032031" y="2799370"/>
                      <a:pt x="1032031" y="2789077"/>
                      <a:pt x="1025730" y="2782821"/>
                    </a:cubicBezTo>
                    <a:cubicBezTo>
                      <a:pt x="1022565" y="2779639"/>
                      <a:pt x="1018421" y="2778048"/>
                      <a:pt x="1014278" y="2778048"/>
                    </a:cubicBezTo>
                    <a:close/>
                    <a:moveTo>
                      <a:pt x="4350870" y="2775669"/>
                    </a:moveTo>
                    <a:cubicBezTo>
                      <a:pt x="4355620" y="2775291"/>
                      <a:pt x="4359787" y="2778816"/>
                      <a:pt x="4360184" y="2783582"/>
                    </a:cubicBezTo>
                    <a:lnTo>
                      <a:pt x="4362062" y="2806791"/>
                    </a:lnTo>
                    <a:cubicBezTo>
                      <a:pt x="4362448" y="2811531"/>
                      <a:pt x="4358911" y="2815706"/>
                      <a:pt x="4354171" y="2816105"/>
                    </a:cubicBezTo>
                    <a:cubicBezTo>
                      <a:pt x="4349422" y="2816488"/>
                      <a:pt x="4345246" y="2812937"/>
                      <a:pt x="4344866" y="2808186"/>
                    </a:cubicBezTo>
                    <a:lnTo>
                      <a:pt x="4342980" y="2784984"/>
                    </a:lnTo>
                    <a:cubicBezTo>
                      <a:pt x="4342592" y="2780233"/>
                      <a:pt x="4346131" y="2776058"/>
                      <a:pt x="4350870" y="2775669"/>
                    </a:cubicBezTo>
                    <a:close/>
                    <a:moveTo>
                      <a:pt x="1009158" y="2748392"/>
                    </a:moveTo>
                    <a:cubicBezTo>
                      <a:pt x="1042810" y="2747962"/>
                      <a:pt x="1080486" y="2757396"/>
                      <a:pt x="1117158" y="2776264"/>
                    </a:cubicBezTo>
                    <a:cubicBezTo>
                      <a:pt x="1119788" y="2812183"/>
                      <a:pt x="1106328" y="2850665"/>
                      <a:pt x="1077124" y="2879910"/>
                    </a:cubicBezTo>
                    <a:cubicBezTo>
                      <a:pt x="1054163" y="2902832"/>
                      <a:pt x="1025498" y="2916039"/>
                      <a:pt x="996834" y="2919422"/>
                    </a:cubicBezTo>
                    <a:cubicBezTo>
                      <a:pt x="941008" y="2852022"/>
                      <a:pt x="911668" y="2793323"/>
                      <a:pt x="925302" y="2779706"/>
                    </a:cubicBezTo>
                    <a:cubicBezTo>
                      <a:pt x="945878" y="2759117"/>
                      <a:pt x="975506" y="2748822"/>
                      <a:pt x="1009158" y="2748392"/>
                    </a:cubicBezTo>
                    <a:close/>
                    <a:moveTo>
                      <a:pt x="1718150" y="2704743"/>
                    </a:moveTo>
                    <a:cubicBezTo>
                      <a:pt x="1724209" y="2704743"/>
                      <a:pt x="1730273" y="2707057"/>
                      <a:pt x="1734914" y="2711686"/>
                    </a:cubicBezTo>
                    <a:cubicBezTo>
                      <a:pt x="1741568" y="2718346"/>
                      <a:pt x="1743250" y="2727961"/>
                      <a:pt x="1740320" y="2736293"/>
                    </a:cubicBezTo>
                    <a:cubicBezTo>
                      <a:pt x="1748638" y="2733353"/>
                      <a:pt x="1758242" y="2735026"/>
                      <a:pt x="1764934" y="2741702"/>
                    </a:cubicBezTo>
                    <a:cubicBezTo>
                      <a:pt x="1774159" y="2750960"/>
                      <a:pt x="1774159" y="2765951"/>
                      <a:pt x="1764934" y="2775193"/>
                    </a:cubicBezTo>
                    <a:cubicBezTo>
                      <a:pt x="1760435" y="2779676"/>
                      <a:pt x="1754650" y="2781885"/>
                      <a:pt x="1748771" y="2782031"/>
                    </a:cubicBezTo>
                    <a:lnTo>
                      <a:pt x="1748771" y="2782112"/>
                    </a:lnTo>
                    <a:cubicBezTo>
                      <a:pt x="1748619" y="2782096"/>
                      <a:pt x="1748487" y="2782145"/>
                      <a:pt x="1748317" y="2782096"/>
                    </a:cubicBezTo>
                    <a:cubicBezTo>
                      <a:pt x="1748184" y="2782096"/>
                      <a:pt x="1748090" y="2782096"/>
                      <a:pt x="1747977" y="2782096"/>
                    </a:cubicBezTo>
                    <a:cubicBezTo>
                      <a:pt x="1726085" y="2780244"/>
                      <a:pt x="1708504" y="2792540"/>
                      <a:pt x="1699203" y="2801879"/>
                    </a:cubicBezTo>
                    <a:cubicBezTo>
                      <a:pt x="1674401" y="2826664"/>
                      <a:pt x="1668049" y="2903180"/>
                      <a:pt x="1668049" y="2903180"/>
                    </a:cubicBezTo>
                    <a:lnTo>
                      <a:pt x="1667784" y="2903148"/>
                    </a:lnTo>
                    <a:cubicBezTo>
                      <a:pt x="1665327" y="2920559"/>
                      <a:pt x="1657746" y="2937370"/>
                      <a:pt x="1644324" y="2950753"/>
                    </a:cubicBezTo>
                    <a:cubicBezTo>
                      <a:pt x="1635099" y="2959995"/>
                      <a:pt x="1624153" y="2966330"/>
                      <a:pt x="1612621" y="2970358"/>
                    </a:cubicBezTo>
                    <a:cubicBezTo>
                      <a:pt x="1603528" y="2973509"/>
                      <a:pt x="1594114" y="2975295"/>
                      <a:pt x="1584605" y="2975247"/>
                    </a:cubicBezTo>
                    <a:cubicBezTo>
                      <a:pt x="1580011" y="2975198"/>
                      <a:pt x="1575417" y="2974727"/>
                      <a:pt x="1570880" y="2973931"/>
                    </a:cubicBezTo>
                    <a:cubicBezTo>
                      <a:pt x="1568423" y="2973509"/>
                      <a:pt x="1566079" y="2972794"/>
                      <a:pt x="1563640" y="2972161"/>
                    </a:cubicBezTo>
                    <a:cubicBezTo>
                      <a:pt x="1561655" y="2971576"/>
                      <a:pt x="1559670" y="2971072"/>
                      <a:pt x="1557685" y="2970390"/>
                    </a:cubicBezTo>
                    <a:cubicBezTo>
                      <a:pt x="1554566" y="2969286"/>
                      <a:pt x="1551503" y="2967970"/>
                      <a:pt x="1548460" y="2966476"/>
                    </a:cubicBezTo>
                    <a:cubicBezTo>
                      <a:pt x="1547571" y="2966037"/>
                      <a:pt x="1546702" y="2965550"/>
                      <a:pt x="1545813" y="2965063"/>
                    </a:cubicBezTo>
                    <a:cubicBezTo>
                      <a:pt x="1542165" y="2963130"/>
                      <a:pt x="1538630" y="2960954"/>
                      <a:pt x="1535246" y="2958436"/>
                    </a:cubicBezTo>
                    <a:cubicBezTo>
                      <a:pt x="1524489" y="2948155"/>
                      <a:pt x="1513052" y="2959703"/>
                      <a:pt x="1522636" y="2968474"/>
                    </a:cubicBezTo>
                    <a:cubicBezTo>
                      <a:pt x="1540558" y="2983676"/>
                      <a:pt x="1561353" y="2990660"/>
                      <a:pt x="1585097" y="2990660"/>
                    </a:cubicBezTo>
                    <a:cubicBezTo>
                      <a:pt x="1611563" y="2990660"/>
                      <a:pt x="1636460" y="2980347"/>
                      <a:pt x="1655194" y="2961636"/>
                    </a:cubicBezTo>
                    <a:cubicBezTo>
                      <a:pt x="1670336" y="2946498"/>
                      <a:pt x="1679921" y="2927008"/>
                      <a:pt x="1682964" y="2905259"/>
                    </a:cubicBezTo>
                    <a:lnTo>
                      <a:pt x="1683059" y="2904870"/>
                    </a:lnTo>
                    <a:lnTo>
                      <a:pt x="1683078" y="2904447"/>
                    </a:lnTo>
                    <a:cubicBezTo>
                      <a:pt x="1684193" y="2891600"/>
                      <a:pt x="1686934" y="2874042"/>
                      <a:pt x="1691018" y="2857427"/>
                    </a:cubicBezTo>
                    <a:cubicBezTo>
                      <a:pt x="1718599" y="2885899"/>
                      <a:pt x="1735348" y="2922801"/>
                      <a:pt x="1735348" y="2963195"/>
                    </a:cubicBezTo>
                    <a:cubicBezTo>
                      <a:pt x="1735348" y="3053257"/>
                      <a:pt x="1705801" y="3044422"/>
                      <a:pt x="1550558" y="3044422"/>
                    </a:cubicBezTo>
                    <a:cubicBezTo>
                      <a:pt x="1407074" y="3044422"/>
                      <a:pt x="1365825" y="3053257"/>
                      <a:pt x="1365825" y="2963195"/>
                    </a:cubicBezTo>
                    <a:cubicBezTo>
                      <a:pt x="1365825" y="2874789"/>
                      <a:pt x="1445620" y="2802999"/>
                      <a:pt x="1545038" y="2800384"/>
                    </a:cubicBezTo>
                    <a:cubicBezTo>
                      <a:pt x="1549991" y="2803081"/>
                      <a:pt x="1536720" y="2808051"/>
                      <a:pt x="1531257" y="2812306"/>
                    </a:cubicBezTo>
                    <a:cubicBezTo>
                      <a:pt x="1520387" y="2820833"/>
                      <a:pt x="1525378" y="2830270"/>
                      <a:pt x="1530746" y="2828175"/>
                    </a:cubicBezTo>
                    <a:cubicBezTo>
                      <a:pt x="1543299" y="2817422"/>
                      <a:pt x="1558177" y="2810942"/>
                      <a:pt x="1573659" y="2808830"/>
                    </a:cubicBezTo>
                    <a:lnTo>
                      <a:pt x="1573622" y="2808749"/>
                    </a:lnTo>
                    <a:cubicBezTo>
                      <a:pt x="1573622" y="2808749"/>
                      <a:pt x="1650128" y="2802415"/>
                      <a:pt x="1674930" y="2777581"/>
                    </a:cubicBezTo>
                    <a:cubicBezTo>
                      <a:pt x="1684136" y="2768420"/>
                      <a:pt x="1696160" y="2751171"/>
                      <a:pt x="1694704" y="2729715"/>
                    </a:cubicBezTo>
                    <a:cubicBezTo>
                      <a:pt x="1694364" y="2723235"/>
                      <a:pt x="1696462" y="2716640"/>
                      <a:pt x="1701415" y="2711686"/>
                    </a:cubicBezTo>
                    <a:cubicBezTo>
                      <a:pt x="1706037" y="2707057"/>
                      <a:pt x="1712091" y="2704743"/>
                      <a:pt x="1718150" y="2704743"/>
                    </a:cubicBezTo>
                    <a:close/>
                    <a:moveTo>
                      <a:pt x="4602261" y="2674670"/>
                    </a:moveTo>
                    <a:cubicBezTo>
                      <a:pt x="4589815" y="2670773"/>
                      <a:pt x="4576527" y="2677722"/>
                      <a:pt x="4572624" y="2690144"/>
                    </a:cubicBezTo>
                    <a:cubicBezTo>
                      <a:pt x="4568720" y="2702577"/>
                      <a:pt x="4575670" y="2715876"/>
                      <a:pt x="4588116" y="2719773"/>
                    </a:cubicBezTo>
                    <a:lnTo>
                      <a:pt x="4607068" y="2725734"/>
                    </a:lnTo>
                    <a:cubicBezTo>
                      <a:pt x="4607175" y="2716132"/>
                      <a:pt x="4608675" y="2706374"/>
                      <a:pt x="4611691" y="2696760"/>
                    </a:cubicBezTo>
                    <a:lnTo>
                      <a:pt x="4617141" y="2679332"/>
                    </a:lnTo>
                    <a:cubicBezTo>
                      <a:pt x="4617141" y="2679332"/>
                      <a:pt x="4602261" y="2674670"/>
                      <a:pt x="4602261" y="2674670"/>
                    </a:cubicBezTo>
                    <a:close/>
                    <a:moveTo>
                      <a:pt x="4637975" y="2639668"/>
                    </a:moveTo>
                    <a:lnTo>
                      <a:pt x="4842925" y="2703932"/>
                    </a:lnTo>
                    <a:cubicBezTo>
                      <a:pt x="4847135" y="2705253"/>
                      <a:pt x="4849492" y="2709749"/>
                      <a:pt x="4848160" y="2713978"/>
                    </a:cubicBezTo>
                    <a:lnTo>
                      <a:pt x="4831933" y="2765808"/>
                    </a:lnTo>
                    <a:cubicBezTo>
                      <a:pt x="4821248" y="2799877"/>
                      <a:pt x="4794091" y="2824266"/>
                      <a:pt x="4761989" y="2833080"/>
                    </a:cubicBezTo>
                    <a:lnTo>
                      <a:pt x="4852707" y="2861521"/>
                    </a:lnTo>
                    <a:cubicBezTo>
                      <a:pt x="4856932" y="2862831"/>
                      <a:pt x="4859274" y="2867371"/>
                      <a:pt x="4857958" y="2871578"/>
                    </a:cubicBezTo>
                    <a:cubicBezTo>
                      <a:pt x="4856626" y="2875785"/>
                      <a:pt x="4852140" y="2878139"/>
                      <a:pt x="4847900" y="2876829"/>
                    </a:cubicBezTo>
                    <a:lnTo>
                      <a:pt x="4535179" y="2778763"/>
                    </a:lnTo>
                    <a:cubicBezTo>
                      <a:pt x="4530954" y="2777442"/>
                      <a:pt x="4528612" y="2772957"/>
                      <a:pt x="4529928" y="2768717"/>
                    </a:cubicBezTo>
                    <a:cubicBezTo>
                      <a:pt x="4531260" y="2764521"/>
                      <a:pt x="4535746" y="2762145"/>
                      <a:pt x="4539986" y="2763477"/>
                    </a:cubicBezTo>
                    <a:lnTo>
                      <a:pt x="4630704" y="2791929"/>
                    </a:lnTo>
                    <a:cubicBezTo>
                      <a:pt x="4619023" y="2777942"/>
                      <a:pt x="4611262" y="2760991"/>
                      <a:pt x="4608354" y="2742907"/>
                    </a:cubicBezTo>
                    <a:lnTo>
                      <a:pt x="4583324" y="2735059"/>
                    </a:lnTo>
                    <a:cubicBezTo>
                      <a:pt x="4562444" y="2728531"/>
                      <a:pt x="4550794" y="2706230"/>
                      <a:pt x="4557346" y="2685360"/>
                    </a:cubicBezTo>
                    <a:cubicBezTo>
                      <a:pt x="4563883" y="2664490"/>
                      <a:pt x="4586172" y="2652823"/>
                      <a:pt x="4607037" y="2659373"/>
                    </a:cubicBezTo>
                    <a:lnTo>
                      <a:pt x="4621947" y="2664046"/>
                    </a:lnTo>
                    <a:lnTo>
                      <a:pt x="4627933" y="2644930"/>
                    </a:lnTo>
                    <a:cubicBezTo>
                      <a:pt x="4629265" y="2640701"/>
                      <a:pt x="4633750" y="2638358"/>
                      <a:pt x="4637975" y="2639668"/>
                    </a:cubicBezTo>
                    <a:close/>
                    <a:moveTo>
                      <a:pt x="753904" y="2628407"/>
                    </a:moveTo>
                    <a:lnTo>
                      <a:pt x="871506" y="2628407"/>
                    </a:lnTo>
                    <a:cubicBezTo>
                      <a:pt x="880833" y="2628407"/>
                      <a:pt x="888444" y="2636035"/>
                      <a:pt x="888444" y="2645362"/>
                    </a:cubicBezTo>
                    <a:lnTo>
                      <a:pt x="888444" y="2772509"/>
                    </a:lnTo>
                    <a:cubicBezTo>
                      <a:pt x="888444" y="2781821"/>
                      <a:pt x="880833" y="2789456"/>
                      <a:pt x="871506" y="2789456"/>
                    </a:cubicBezTo>
                    <a:lnTo>
                      <a:pt x="751933" y="2789456"/>
                    </a:lnTo>
                    <a:cubicBezTo>
                      <a:pt x="747946" y="2789456"/>
                      <a:pt x="747946" y="2785161"/>
                      <a:pt x="747946" y="2785161"/>
                    </a:cubicBezTo>
                    <a:lnTo>
                      <a:pt x="747946" y="2634163"/>
                    </a:lnTo>
                    <a:cubicBezTo>
                      <a:pt x="747946" y="2634163"/>
                      <a:pt x="747946" y="2628407"/>
                      <a:pt x="753904" y="2628407"/>
                    </a:cubicBezTo>
                    <a:close/>
                    <a:moveTo>
                      <a:pt x="595773" y="2628407"/>
                    </a:moveTo>
                    <a:lnTo>
                      <a:pt x="713256" y="2628407"/>
                    </a:lnTo>
                    <a:cubicBezTo>
                      <a:pt x="720414" y="2628407"/>
                      <a:pt x="719339" y="2635871"/>
                      <a:pt x="719339" y="2635871"/>
                    </a:cubicBezTo>
                    <a:lnTo>
                      <a:pt x="719339" y="2785311"/>
                    </a:lnTo>
                    <a:cubicBezTo>
                      <a:pt x="719339" y="2785311"/>
                      <a:pt x="719385" y="2789456"/>
                      <a:pt x="715091" y="2789456"/>
                    </a:cubicBezTo>
                    <a:lnTo>
                      <a:pt x="595773" y="2789456"/>
                    </a:lnTo>
                    <a:cubicBezTo>
                      <a:pt x="586459" y="2789456"/>
                      <a:pt x="578836" y="2781821"/>
                      <a:pt x="578836" y="2772509"/>
                    </a:cubicBezTo>
                    <a:lnTo>
                      <a:pt x="578836" y="2645362"/>
                    </a:lnTo>
                    <a:cubicBezTo>
                      <a:pt x="578836" y="2636035"/>
                      <a:pt x="586459" y="2628407"/>
                      <a:pt x="595773" y="2628407"/>
                    </a:cubicBezTo>
                    <a:close/>
                    <a:moveTo>
                      <a:pt x="2560629" y="2612048"/>
                    </a:moveTo>
                    <a:lnTo>
                      <a:pt x="2628368" y="2679935"/>
                    </a:lnTo>
                    <a:lnTo>
                      <a:pt x="2720233" y="2651652"/>
                    </a:lnTo>
                    <a:lnTo>
                      <a:pt x="2676335" y="2737300"/>
                    </a:lnTo>
                    <a:lnTo>
                      <a:pt x="2731603" y="2816004"/>
                    </a:lnTo>
                    <a:lnTo>
                      <a:pt x="2636662" y="2800688"/>
                    </a:lnTo>
                    <a:lnTo>
                      <a:pt x="2578856" y="2877548"/>
                    </a:lnTo>
                    <a:lnTo>
                      <a:pt x="2564136" y="2782521"/>
                    </a:lnTo>
                    <a:lnTo>
                      <a:pt x="2473096" y="2751251"/>
                    </a:lnTo>
                    <a:cubicBezTo>
                      <a:pt x="2473096" y="2751251"/>
                      <a:pt x="2558906" y="2707935"/>
                      <a:pt x="2558906" y="2707935"/>
                    </a:cubicBezTo>
                    <a:close/>
                    <a:moveTo>
                      <a:pt x="4017378" y="2582539"/>
                    </a:moveTo>
                    <a:cubicBezTo>
                      <a:pt x="4008936" y="2582539"/>
                      <a:pt x="3992160" y="2589682"/>
                      <a:pt x="3981098" y="2594631"/>
                    </a:cubicBezTo>
                    <a:cubicBezTo>
                      <a:pt x="3969053" y="2600013"/>
                      <a:pt x="3955589" y="2604529"/>
                      <a:pt x="3955589" y="2613461"/>
                    </a:cubicBezTo>
                    <a:cubicBezTo>
                      <a:pt x="3955589" y="2621772"/>
                      <a:pt x="3960228" y="2625567"/>
                      <a:pt x="3975967" y="2625567"/>
                    </a:cubicBezTo>
                    <a:lnTo>
                      <a:pt x="3996818" y="2625567"/>
                    </a:lnTo>
                    <a:cubicBezTo>
                      <a:pt x="4015468" y="2625567"/>
                      <a:pt x="4034100" y="2623071"/>
                      <a:pt x="4034100" y="2611225"/>
                    </a:cubicBezTo>
                    <a:lnTo>
                      <a:pt x="4034100" y="2596882"/>
                    </a:lnTo>
                    <a:cubicBezTo>
                      <a:pt x="4034100" y="2583015"/>
                      <a:pt x="4026057" y="2582539"/>
                      <a:pt x="4017378" y="2582539"/>
                    </a:cubicBezTo>
                    <a:close/>
                    <a:moveTo>
                      <a:pt x="3739179" y="2582496"/>
                    </a:moveTo>
                    <a:cubicBezTo>
                      <a:pt x="3730500" y="2582496"/>
                      <a:pt x="3722476" y="2583015"/>
                      <a:pt x="3722476" y="2596867"/>
                    </a:cubicBezTo>
                    <a:lnTo>
                      <a:pt x="3722476" y="2611225"/>
                    </a:lnTo>
                    <a:lnTo>
                      <a:pt x="3722439" y="2611225"/>
                    </a:lnTo>
                    <a:cubicBezTo>
                      <a:pt x="3722439" y="2623086"/>
                      <a:pt x="3741071" y="2625567"/>
                      <a:pt x="3759739" y="2625567"/>
                    </a:cubicBezTo>
                    <a:lnTo>
                      <a:pt x="3780608" y="2625567"/>
                    </a:lnTo>
                    <a:cubicBezTo>
                      <a:pt x="3796311" y="2625567"/>
                      <a:pt x="3800968" y="2621772"/>
                      <a:pt x="3800968" y="2613461"/>
                    </a:cubicBezTo>
                    <a:cubicBezTo>
                      <a:pt x="3800968" y="2604472"/>
                      <a:pt x="3787504" y="2599999"/>
                      <a:pt x="3775459" y="2594617"/>
                    </a:cubicBezTo>
                    <a:cubicBezTo>
                      <a:pt x="3764415" y="2589696"/>
                      <a:pt x="3747639" y="2582496"/>
                      <a:pt x="3739179" y="2582496"/>
                    </a:cubicBezTo>
                    <a:close/>
                    <a:moveTo>
                      <a:pt x="2804862" y="2558144"/>
                    </a:moveTo>
                    <a:lnTo>
                      <a:pt x="3194592" y="2707483"/>
                    </a:lnTo>
                    <a:cubicBezTo>
                      <a:pt x="3203601" y="2710955"/>
                      <a:pt x="3210036" y="2719067"/>
                      <a:pt x="3211245" y="2728663"/>
                    </a:cubicBezTo>
                    <a:cubicBezTo>
                      <a:pt x="3212532" y="2738258"/>
                      <a:pt x="3208476" y="2747801"/>
                      <a:pt x="3200637" y="2753471"/>
                    </a:cubicBezTo>
                    <a:lnTo>
                      <a:pt x="3115051" y="2815754"/>
                    </a:lnTo>
                    <a:lnTo>
                      <a:pt x="2810907" y="2576498"/>
                    </a:lnTo>
                    <a:lnTo>
                      <a:pt x="3079853" y="2841434"/>
                    </a:lnTo>
                    <a:lnTo>
                      <a:pt x="2962755" y="2926589"/>
                    </a:lnTo>
                    <a:cubicBezTo>
                      <a:pt x="2955345" y="2931945"/>
                      <a:pt x="2945770" y="2933655"/>
                      <a:pt x="2936878" y="2930968"/>
                    </a:cubicBezTo>
                    <a:cubicBezTo>
                      <a:pt x="2928044" y="2928246"/>
                      <a:pt x="2921024" y="2921565"/>
                      <a:pt x="2917807" y="2912929"/>
                    </a:cubicBezTo>
                    <a:lnTo>
                      <a:pt x="2792635" y="2570199"/>
                    </a:lnTo>
                    <a:cubicBezTo>
                      <a:pt x="2791329" y="2566728"/>
                      <a:pt x="2792245" y="2562802"/>
                      <a:pt x="2794878" y="2560220"/>
                    </a:cubicBezTo>
                    <a:cubicBezTo>
                      <a:pt x="2797511" y="2557621"/>
                      <a:pt x="2801391" y="2556818"/>
                      <a:pt x="2804862" y="2558144"/>
                    </a:cubicBezTo>
                    <a:close/>
                    <a:moveTo>
                      <a:pt x="4824790" y="2547527"/>
                    </a:moveTo>
                    <a:cubicBezTo>
                      <a:pt x="4828722" y="2545475"/>
                      <a:pt x="4833555" y="2546989"/>
                      <a:pt x="4835591" y="2550910"/>
                    </a:cubicBezTo>
                    <a:cubicBezTo>
                      <a:pt x="4837655" y="2554836"/>
                      <a:pt x="4836131" y="2559686"/>
                      <a:pt x="4832207" y="2561738"/>
                    </a:cubicBezTo>
                    <a:lnTo>
                      <a:pt x="4831467" y="2562128"/>
                    </a:lnTo>
                    <a:cubicBezTo>
                      <a:pt x="4815468" y="2570485"/>
                      <a:pt x="4809259" y="2590291"/>
                      <a:pt x="4817623" y="2606270"/>
                    </a:cubicBezTo>
                    <a:cubicBezTo>
                      <a:pt x="4823643" y="2617820"/>
                      <a:pt x="4824832" y="2631003"/>
                      <a:pt x="4820943" y="2643434"/>
                    </a:cubicBezTo>
                    <a:cubicBezTo>
                      <a:pt x="4817033" y="2655859"/>
                      <a:pt x="4808536" y="2666025"/>
                      <a:pt x="4796994" y="2672063"/>
                    </a:cubicBezTo>
                    <a:cubicBezTo>
                      <a:pt x="4795039" y="2673086"/>
                      <a:pt x="4792851" y="2673217"/>
                      <a:pt x="4790879" y="2672602"/>
                    </a:cubicBezTo>
                    <a:cubicBezTo>
                      <a:pt x="4788925" y="2671998"/>
                      <a:pt x="4787208" y="2670626"/>
                      <a:pt x="4786180" y="2668657"/>
                    </a:cubicBezTo>
                    <a:cubicBezTo>
                      <a:pt x="4784143" y="2664736"/>
                      <a:pt x="4785650" y="2659904"/>
                      <a:pt x="4789566" y="2657846"/>
                    </a:cubicBezTo>
                    <a:cubicBezTo>
                      <a:pt x="4797313" y="2653807"/>
                      <a:pt x="4803029" y="2646976"/>
                      <a:pt x="4805650" y="2638649"/>
                    </a:cubicBezTo>
                    <a:cubicBezTo>
                      <a:pt x="4808258" y="2630317"/>
                      <a:pt x="4807468" y="2621452"/>
                      <a:pt x="4803408" y="2613692"/>
                    </a:cubicBezTo>
                    <a:cubicBezTo>
                      <a:pt x="4790964" y="2589883"/>
                      <a:pt x="4800227" y="2560372"/>
                      <a:pt x="4824039" y="2547929"/>
                    </a:cubicBezTo>
                    <a:close/>
                    <a:moveTo>
                      <a:pt x="4781156" y="2531174"/>
                    </a:moveTo>
                    <a:cubicBezTo>
                      <a:pt x="4785091" y="2529116"/>
                      <a:pt x="4789930" y="2530630"/>
                      <a:pt x="4791979" y="2534562"/>
                    </a:cubicBezTo>
                    <a:cubicBezTo>
                      <a:pt x="4794023" y="2538477"/>
                      <a:pt x="4792509" y="2543327"/>
                      <a:pt x="4788584" y="2545361"/>
                    </a:cubicBezTo>
                    <a:lnTo>
                      <a:pt x="4787836" y="2545769"/>
                    </a:lnTo>
                    <a:cubicBezTo>
                      <a:pt x="4780088" y="2549820"/>
                      <a:pt x="4774387" y="2556633"/>
                      <a:pt x="4771768" y="2564978"/>
                    </a:cubicBezTo>
                    <a:cubicBezTo>
                      <a:pt x="4769151" y="2573311"/>
                      <a:pt x="4769942" y="2582176"/>
                      <a:pt x="4774000" y="2589917"/>
                    </a:cubicBezTo>
                    <a:cubicBezTo>
                      <a:pt x="4780021" y="2601461"/>
                      <a:pt x="4781208" y="2614655"/>
                      <a:pt x="4777310" y="2627075"/>
                    </a:cubicBezTo>
                    <a:cubicBezTo>
                      <a:pt x="4773411" y="2639500"/>
                      <a:pt x="4764907" y="2649660"/>
                      <a:pt x="4753371" y="2655710"/>
                    </a:cubicBezTo>
                    <a:cubicBezTo>
                      <a:pt x="4751408" y="2656727"/>
                      <a:pt x="4749225" y="2656858"/>
                      <a:pt x="4747256" y="2656243"/>
                    </a:cubicBezTo>
                    <a:cubicBezTo>
                      <a:pt x="4745306" y="2655627"/>
                      <a:pt x="4743579" y="2654273"/>
                      <a:pt x="4742560" y="2652304"/>
                    </a:cubicBezTo>
                    <a:cubicBezTo>
                      <a:pt x="4740504" y="2648377"/>
                      <a:pt x="4742018" y="2643545"/>
                      <a:pt x="4745942" y="2641487"/>
                    </a:cubicBezTo>
                    <a:cubicBezTo>
                      <a:pt x="4753693" y="2637448"/>
                      <a:pt x="4759401" y="2630617"/>
                      <a:pt x="4762010" y="2622284"/>
                    </a:cubicBezTo>
                    <a:cubicBezTo>
                      <a:pt x="4764629" y="2613958"/>
                      <a:pt x="4763837" y="2605081"/>
                      <a:pt x="4759785" y="2597339"/>
                    </a:cubicBezTo>
                    <a:cubicBezTo>
                      <a:pt x="4753757" y="2585795"/>
                      <a:pt x="4752578" y="2572607"/>
                      <a:pt x="4756478" y="2560182"/>
                    </a:cubicBezTo>
                    <a:cubicBezTo>
                      <a:pt x="4760375" y="2547757"/>
                      <a:pt x="4768879" y="2537584"/>
                      <a:pt x="4780418" y="2531564"/>
                    </a:cubicBezTo>
                    <a:close/>
                    <a:moveTo>
                      <a:pt x="4737535" y="2520262"/>
                    </a:moveTo>
                    <a:cubicBezTo>
                      <a:pt x="4741458" y="2518204"/>
                      <a:pt x="4746309" y="2519718"/>
                      <a:pt x="4748346" y="2523657"/>
                    </a:cubicBezTo>
                    <a:cubicBezTo>
                      <a:pt x="4750403" y="2527566"/>
                      <a:pt x="4748884" y="2532416"/>
                      <a:pt x="4744964" y="2534475"/>
                    </a:cubicBezTo>
                    <a:lnTo>
                      <a:pt x="4744216" y="2534859"/>
                    </a:lnTo>
                    <a:cubicBezTo>
                      <a:pt x="4728221" y="2543210"/>
                      <a:pt x="4722007" y="2563018"/>
                      <a:pt x="4730370" y="2579005"/>
                    </a:cubicBezTo>
                    <a:cubicBezTo>
                      <a:pt x="4736401" y="2590551"/>
                      <a:pt x="4737568" y="2603746"/>
                      <a:pt x="4733677" y="2616185"/>
                    </a:cubicBezTo>
                    <a:cubicBezTo>
                      <a:pt x="4729787" y="2628593"/>
                      <a:pt x="4721283" y="2638760"/>
                      <a:pt x="4709749" y="2644799"/>
                    </a:cubicBezTo>
                    <a:cubicBezTo>
                      <a:pt x="4707787" y="2645817"/>
                      <a:pt x="4705589" y="2645959"/>
                      <a:pt x="4703634" y="2645338"/>
                    </a:cubicBezTo>
                    <a:cubicBezTo>
                      <a:pt x="4701679" y="2644728"/>
                      <a:pt x="4699954" y="2643368"/>
                      <a:pt x="4698936" y="2641398"/>
                    </a:cubicBezTo>
                    <a:cubicBezTo>
                      <a:pt x="4696882" y="2637483"/>
                      <a:pt x="4698396" y="2632633"/>
                      <a:pt x="4702318" y="2630587"/>
                    </a:cubicBezTo>
                    <a:cubicBezTo>
                      <a:pt x="4710069" y="2626541"/>
                      <a:pt x="4715778" y="2619710"/>
                      <a:pt x="4718387" y="2611376"/>
                    </a:cubicBezTo>
                    <a:cubicBezTo>
                      <a:pt x="4720998" y="2603048"/>
                      <a:pt x="4720208" y="2594182"/>
                      <a:pt x="4716164" y="2586428"/>
                    </a:cubicBezTo>
                    <a:cubicBezTo>
                      <a:pt x="4703720" y="2562610"/>
                      <a:pt x="4712965" y="2533108"/>
                      <a:pt x="4736785" y="2520652"/>
                    </a:cubicBezTo>
                    <a:close/>
                    <a:moveTo>
                      <a:pt x="756293" y="2519345"/>
                    </a:moveTo>
                    <a:lnTo>
                      <a:pt x="893318" y="2519345"/>
                    </a:lnTo>
                    <a:cubicBezTo>
                      <a:pt x="902622" y="2519345"/>
                      <a:pt x="910257" y="2526975"/>
                      <a:pt x="910257" y="2536292"/>
                    </a:cubicBezTo>
                    <a:lnTo>
                      <a:pt x="910257" y="2589172"/>
                    </a:lnTo>
                    <a:cubicBezTo>
                      <a:pt x="910257" y="2598502"/>
                      <a:pt x="902622" y="2606127"/>
                      <a:pt x="893318" y="2606127"/>
                    </a:cubicBezTo>
                    <a:lnTo>
                      <a:pt x="755828" y="2606127"/>
                    </a:lnTo>
                    <a:cubicBezTo>
                      <a:pt x="750625" y="2606127"/>
                      <a:pt x="750625" y="2601599"/>
                      <a:pt x="750625" y="2601599"/>
                    </a:cubicBezTo>
                    <a:lnTo>
                      <a:pt x="750625" y="2525090"/>
                    </a:lnTo>
                    <a:cubicBezTo>
                      <a:pt x="750625" y="2525090"/>
                      <a:pt x="750625" y="2519345"/>
                      <a:pt x="756293" y="2519345"/>
                    </a:cubicBezTo>
                    <a:close/>
                    <a:moveTo>
                      <a:pt x="576707" y="2519345"/>
                    </a:moveTo>
                    <a:lnTo>
                      <a:pt x="714158" y="2519345"/>
                    </a:lnTo>
                    <a:cubicBezTo>
                      <a:pt x="719398" y="2519345"/>
                      <a:pt x="719398" y="2524331"/>
                      <a:pt x="719398" y="2524331"/>
                    </a:cubicBezTo>
                    <a:lnTo>
                      <a:pt x="719398" y="2601704"/>
                    </a:lnTo>
                    <a:cubicBezTo>
                      <a:pt x="719398" y="2601704"/>
                      <a:pt x="719398" y="2606127"/>
                      <a:pt x="713027" y="2606127"/>
                    </a:cubicBezTo>
                    <a:lnTo>
                      <a:pt x="576707" y="2606127"/>
                    </a:lnTo>
                    <a:cubicBezTo>
                      <a:pt x="567394" y="2606127"/>
                      <a:pt x="559760" y="2598502"/>
                      <a:pt x="559760" y="2589172"/>
                    </a:cubicBezTo>
                    <a:lnTo>
                      <a:pt x="559760" y="2536292"/>
                    </a:lnTo>
                    <a:cubicBezTo>
                      <a:pt x="559760" y="2526975"/>
                      <a:pt x="567394" y="2519345"/>
                      <a:pt x="576707" y="2519345"/>
                    </a:cubicBezTo>
                    <a:close/>
                    <a:moveTo>
                      <a:pt x="3381748" y="2513892"/>
                    </a:moveTo>
                    <a:cubicBezTo>
                      <a:pt x="3426450" y="2513892"/>
                      <a:pt x="3434850" y="2550870"/>
                      <a:pt x="3433663" y="2565185"/>
                    </a:cubicBezTo>
                    <a:cubicBezTo>
                      <a:pt x="3432733" y="2576683"/>
                      <a:pt x="3430332" y="2591620"/>
                      <a:pt x="3430332" y="2591620"/>
                    </a:cubicBezTo>
                    <a:cubicBezTo>
                      <a:pt x="3430332" y="2591620"/>
                      <a:pt x="3435057" y="2594134"/>
                      <a:pt x="3435057" y="2604223"/>
                    </a:cubicBezTo>
                    <a:cubicBezTo>
                      <a:pt x="3433387" y="2629552"/>
                      <a:pt x="3424721" y="2618630"/>
                      <a:pt x="3422913" y="2629718"/>
                    </a:cubicBezTo>
                    <a:cubicBezTo>
                      <a:pt x="3418601" y="2656471"/>
                      <a:pt x="3408773" y="2651684"/>
                      <a:pt x="3408773" y="2666302"/>
                    </a:cubicBezTo>
                    <a:cubicBezTo>
                      <a:pt x="3408773" y="2682829"/>
                      <a:pt x="3413532" y="2693388"/>
                      <a:pt x="3426726" y="2702674"/>
                    </a:cubicBezTo>
                    <a:cubicBezTo>
                      <a:pt x="3356367" y="2737895"/>
                      <a:pt x="3346926" y="2745075"/>
                      <a:pt x="3346926" y="2776554"/>
                    </a:cubicBezTo>
                    <a:lnTo>
                      <a:pt x="3346926" y="2841102"/>
                    </a:lnTo>
                    <a:cubicBezTo>
                      <a:pt x="3346926" y="2841102"/>
                      <a:pt x="3249155" y="2841102"/>
                      <a:pt x="3249155" y="2841102"/>
                    </a:cubicBezTo>
                    <a:cubicBezTo>
                      <a:pt x="3249155" y="2841102"/>
                      <a:pt x="3249998" y="2758891"/>
                      <a:pt x="3255016" y="2750377"/>
                    </a:cubicBezTo>
                    <a:cubicBezTo>
                      <a:pt x="3262512" y="2737652"/>
                      <a:pt x="3279923" y="2728957"/>
                      <a:pt x="3312241" y="2715429"/>
                    </a:cubicBezTo>
                    <a:cubicBezTo>
                      <a:pt x="3344430" y="2701977"/>
                      <a:pt x="3354723" y="2690601"/>
                      <a:pt x="3354723" y="2666302"/>
                    </a:cubicBezTo>
                    <a:cubicBezTo>
                      <a:pt x="3354723" y="2651684"/>
                      <a:pt x="3344895" y="2656471"/>
                      <a:pt x="3340574" y="2629718"/>
                    </a:cubicBezTo>
                    <a:cubicBezTo>
                      <a:pt x="3338784" y="2618630"/>
                      <a:pt x="3330083" y="2629552"/>
                      <a:pt x="3328439" y="2604223"/>
                    </a:cubicBezTo>
                    <a:cubicBezTo>
                      <a:pt x="3328439" y="2594134"/>
                      <a:pt x="3333172" y="2591620"/>
                      <a:pt x="3333172" y="2591620"/>
                    </a:cubicBezTo>
                    <a:cubicBezTo>
                      <a:pt x="3333172" y="2591620"/>
                      <a:pt x="3330780" y="2576683"/>
                      <a:pt x="3329842" y="2565185"/>
                    </a:cubicBezTo>
                    <a:cubicBezTo>
                      <a:pt x="3328654" y="2550870"/>
                      <a:pt x="3337054" y="2513892"/>
                      <a:pt x="3381748" y="2513892"/>
                    </a:cubicBezTo>
                    <a:close/>
                    <a:moveTo>
                      <a:pt x="3556599" y="2459360"/>
                    </a:moveTo>
                    <a:cubicBezTo>
                      <a:pt x="3616229" y="2459360"/>
                      <a:pt x="3627389" y="2508689"/>
                      <a:pt x="3625825" y="2527781"/>
                    </a:cubicBezTo>
                    <a:cubicBezTo>
                      <a:pt x="3624582" y="2543103"/>
                      <a:pt x="3621369" y="2563026"/>
                      <a:pt x="3621369" y="2563026"/>
                    </a:cubicBezTo>
                    <a:cubicBezTo>
                      <a:pt x="3621369" y="2563026"/>
                      <a:pt x="3627683" y="2566352"/>
                      <a:pt x="3627683" y="2579817"/>
                    </a:cubicBezTo>
                    <a:cubicBezTo>
                      <a:pt x="3625462" y="2613576"/>
                      <a:pt x="3613896" y="2599032"/>
                      <a:pt x="3611480" y="2613806"/>
                    </a:cubicBezTo>
                    <a:cubicBezTo>
                      <a:pt x="3605739" y="2649458"/>
                      <a:pt x="3592609" y="2643089"/>
                      <a:pt x="3592609" y="2662587"/>
                    </a:cubicBezTo>
                    <a:cubicBezTo>
                      <a:pt x="3592609" y="2695019"/>
                      <a:pt x="3606367" y="2710147"/>
                      <a:pt x="3649291" y="2728088"/>
                    </a:cubicBezTo>
                    <a:cubicBezTo>
                      <a:pt x="3662380" y="2733555"/>
                      <a:pt x="3685902" y="2742048"/>
                      <a:pt x="3685902" y="2762449"/>
                    </a:cubicBezTo>
                    <a:lnTo>
                      <a:pt x="3685902" y="2841538"/>
                    </a:lnTo>
                    <a:lnTo>
                      <a:pt x="3384190" y="2841538"/>
                    </a:lnTo>
                    <a:cubicBezTo>
                      <a:pt x="3384190" y="2841538"/>
                      <a:pt x="3384190" y="2782230"/>
                      <a:pt x="3384190" y="2782230"/>
                    </a:cubicBezTo>
                    <a:cubicBezTo>
                      <a:pt x="3384190" y="2763616"/>
                      <a:pt x="3420815" y="2746100"/>
                      <a:pt x="3463892" y="2728088"/>
                    </a:cubicBezTo>
                    <a:cubicBezTo>
                      <a:pt x="3506844" y="2710147"/>
                      <a:pt x="3520575" y="2695019"/>
                      <a:pt x="3520575" y="2662587"/>
                    </a:cubicBezTo>
                    <a:cubicBezTo>
                      <a:pt x="3520575" y="2643106"/>
                      <a:pt x="3507473" y="2649476"/>
                      <a:pt x="3501690" y="2613806"/>
                    </a:cubicBezTo>
                    <a:cubicBezTo>
                      <a:pt x="3499315" y="2599032"/>
                      <a:pt x="3487722" y="2613576"/>
                      <a:pt x="3485515" y="2579817"/>
                    </a:cubicBezTo>
                    <a:cubicBezTo>
                      <a:pt x="3485515" y="2566352"/>
                      <a:pt x="3491843" y="2563026"/>
                      <a:pt x="3491843" y="2563026"/>
                    </a:cubicBezTo>
                    <a:cubicBezTo>
                      <a:pt x="3491843" y="2563026"/>
                      <a:pt x="3488616" y="2543103"/>
                      <a:pt x="3487359" y="2527781"/>
                    </a:cubicBezTo>
                    <a:cubicBezTo>
                      <a:pt x="3485794" y="2508689"/>
                      <a:pt x="3496997" y="2459360"/>
                      <a:pt x="3556599" y="2459360"/>
                    </a:cubicBezTo>
                    <a:close/>
                    <a:moveTo>
                      <a:pt x="826371" y="2453786"/>
                    </a:moveTo>
                    <a:cubicBezTo>
                      <a:pt x="823628" y="2453786"/>
                      <a:pt x="820442" y="2454135"/>
                      <a:pt x="816903" y="2454828"/>
                    </a:cubicBezTo>
                    <a:cubicBezTo>
                      <a:pt x="801716" y="2457793"/>
                      <a:pt x="783492" y="2468630"/>
                      <a:pt x="773559" y="2476728"/>
                    </a:cubicBezTo>
                    <a:cubicBezTo>
                      <a:pt x="772632" y="2477284"/>
                      <a:pt x="773487" y="2477939"/>
                      <a:pt x="774049" y="2478092"/>
                    </a:cubicBezTo>
                    <a:cubicBezTo>
                      <a:pt x="781657" y="2480264"/>
                      <a:pt x="793127" y="2482237"/>
                      <a:pt x="806157" y="2482237"/>
                    </a:cubicBezTo>
                    <a:cubicBezTo>
                      <a:pt x="812068" y="2482237"/>
                      <a:pt x="817561" y="2481762"/>
                      <a:pt x="821990" y="2480889"/>
                    </a:cubicBezTo>
                    <a:cubicBezTo>
                      <a:pt x="830208" y="2479307"/>
                      <a:pt x="835940" y="2476694"/>
                      <a:pt x="838146" y="2473576"/>
                    </a:cubicBezTo>
                    <a:cubicBezTo>
                      <a:pt x="838666" y="2472821"/>
                      <a:pt x="840279" y="2470546"/>
                      <a:pt x="839000" y="2464041"/>
                    </a:cubicBezTo>
                    <a:cubicBezTo>
                      <a:pt x="837452" y="2456085"/>
                      <a:pt x="834607" y="2453786"/>
                      <a:pt x="826371" y="2453786"/>
                    </a:cubicBezTo>
                    <a:close/>
                    <a:moveTo>
                      <a:pt x="643732" y="2453786"/>
                    </a:moveTo>
                    <a:cubicBezTo>
                      <a:pt x="635495" y="2453786"/>
                      <a:pt x="632668" y="2456085"/>
                      <a:pt x="631114" y="2464057"/>
                    </a:cubicBezTo>
                    <a:cubicBezTo>
                      <a:pt x="629853" y="2470546"/>
                      <a:pt x="631455" y="2472821"/>
                      <a:pt x="631975" y="2473576"/>
                    </a:cubicBezTo>
                    <a:cubicBezTo>
                      <a:pt x="634180" y="2476694"/>
                      <a:pt x="639924" y="2479307"/>
                      <a:pt x="648107" y="2480889"/>
                    </a:cubicBezTo>
                    <a:cubicBezTo>
                      <a:pt x="652554" y="2481762"/>
                      <a:pt x="658047" y="2482237"/>
                      <a:pt x="663958" y="2482237"/>
                    </a:cubicBezTo>
                    <a:cubicBezTo>
                      <a:pt x="677126" y="2482237"/>
                      <a:pt x="688733" y="2480214"/>
                      <a:pt x="696342" y="2478023"/>
                    </a:cubicBezTo>
                    <a:cubicBezTo>
                      <a:pt x="696796" y="2477889"/>
                      <a:pt x="697232" y="2477081"/>
                      <a:pt x="696342" y="2476571"/>
                    </a:cubicBezTo>
                    <a:cubicBezTo>
                      <a:pt x="686390" y="2468458"/>
                      <a:pt x="668405" y="2457793"/>
                      <a:pt x="653217" y="2454828"/>
                    </a:cubicBezTo>
                    <a:cubicBezTo>
                      <a:pt x="649679" y="2454135"/>
                      <a:pt x="646493" y="2453786"/>
                      <a:pt x="643732" y="2453786"/>
                    </a:cubicBezTo>
                    <a:close/>
                    <a:moveTo>
                      <a:pt x="1510197" y="2448454"/>
                    </a:moveTo>
                    <a:lnTo>
                      <a:pt x="1602805" y="2559615"/>
                    </a:lnTo>
                    <a:lnTo>
                      <a:pt x="1547283" y="2559615"/>
                    </a:lnTo>
                    <a:lnTo>
                      <a:pt x="1547283" y="2707750"/>
                    </a:lnTo>
                    <a:cubicBezTo>
                      <a:pt x="1547283" y="2707750"/>
                      <a:pt x="1473197" y="2707750"/>
                      <a:pt x="1473197" y="2707750"/>
                    </a:cubicBezTo>
                    <a:lnTo>
                      <a:pt x="1473197" y="2559615"/>
                    </a:lnTo>
                    <a:lnTo>
                      <a:pt x="1417590" y="2559615"/>
                    </a:lnTo>
                    <a:close/>
                    <a:moveTo>
                      <a:pt x="3878260" y="2439112"/>
                    </a:moveTo>
                    <a:cubicBezTo>
                      <a:pt x="3779280" y="2439112"/>
                      <a:pt x="3776951" y="2456297"/>
                      <a:pt x="3776696" y="2456499"/>
                    </a:cubicBezTo>
                    <a:cubicBezTo>
                      <a:pt x="3773640" y="2465633"/>
                      <a:pt x="3761558" y="2493121"/>
                      <a:pt x="3751879" y="2532383"/>
                    </a:cubicBezTo>
                    <a:cubicBezTo>
                      <a:pt x="3751879" y="2532383"/>
                      <a:pt x="3793690" y="2546610"/>
                      <a:pt x="3878279" y="2546610"/>
                    </a:cubicBezTo>
                    <a:cubicBezTo>
                      <a:pt x="3962921" y="2546610"/>
                      <a:pt x="4004988" y="2532397"/>
                      <a:pt x="4004988" y="2532397"/>
                    </a:cubicBezTo>
                    <a:cubicBezTo>
                      <a:pt x="3994780" y="2489816"/>
                      <a:pt x="3983591" y="2465763"/>
                      <a:pt x="3981134" y="2459053"/>
                    </a:cubicBezTo>
                    <a:cubicBezTo>
                      <a:pt x="3979187" y="2454191"/>
                      <a:pt x="3977259" y="2439112"/>
                      <a:pt x="3878260" y="2439112"/>
                    </a:cubicBezTo>
                    <a:close/>
                    <a:moveTo>
                      <a:pt x="826371" y="2426642"/>
                    </a:moveTo>
                    <a:cubicBezTo>
                      <a:pt x="847637" y="2426642"/>
                      <a:pt x="861599" y="2438069"/>
                      <a:pt x="865658" y="2458843"/>
                    </a:cubicBezTo>
                    <a:cubicBezTo>
                      <a:pt x="867965" y="2470707"/>
                      <a:pt x="866183" y="2480919"/>
                      <a:pt x="860338" y="2489224"/>
                    </a:cubicBezTo>
                    <a:cubicBezTo>
                      <a:pt x="853805" y="2498468"/>
                      <a:pt x="842957" y="2504482"/>
                      <a:pt x="827196" y="2507546"/>
                    </a:cubicBezTo>
                    <a:cubicBezTo>
                      <a:pt x="820980" y="2508780"/>
                      <a:pt x="813909" y="2509385"/>
                      <a:pt x="806157" y="2509385"/>
                    </a:cubicBezTo>
                    <a:cubicBezTo>
                      <a:pt x="793127" y="2509385"/>
                      <a:pt x="779165" y="2507615"/>
                      <a:pt x="767851" y="2504551"/>
                    </a:cubicBezTo>
                    <a:cubicBezTo>
                      <a:pt x="751091" y="2499985"/>
                      <a:pt x="742048" y="2493059"/>
                      <a:pt x="740147" y="2483367"/>
                    </a:cubicBezTo>
                    <a:cubicBezTo>
                      <a:pt x="738862" y="2476763"/>
                      <a:pt x="740147" y="2465995"/>
                      <a:pt x="766010" y="2448653"/>
                    </a:cubicBezTo>
                    <a:cubicBezTo>
                      <a:pt x="781269" y="2438448"/>
                      <a:pt x="798345" y="2430787"/>
                      <a:pt x="811704" y="2428174"/>
                    </a:cubicBezTo>
                    <a:cubicBezTo>
                      <a:pt x="816939" y="2427155"/>
                      <a:pt x="821876" y="2426642"/>
                      <a:pt x="826371" y="2426642"/>
                    </a:cubicBezTo>
                    <a:close/>
                    <a:moveTo>
                      <a:pt x="643732" y="2426642"/>
                    </a:moveTo>
                    <a:cubicBezTo>
                      <a:pt x="648232" y="2426642"/>
                      <a:pt x="653175" y="2427155"/>
                      <a:pt x="658417" y="2428174"/>
                    </a:cubicBezTo>
                    <a:cubicBezTo>
                      <a:pt x="671776" y="2430787"/>
                      <a:pt x="688847" y="2438448"/>
                      <a:pt x="704106" y="2448653"/>
                    </a:cubicBezTo>
                    <a:cubicBezTo>
                      <a:pt x="729993" y="2465995"/>
                      <a:pt x="731254" y="2476763"/>
                      <a:pt x="729975" y="2483367"/>
                    </a:cubicBezTo>
                    <a:cubicBezTo>
                      <a:pt x="728068" y="2493059"/>
                      <a:pt x="719013" y="2499985"/>
                      <a:pt x="702271" y="2504551"/>
                    </a:cubicBezTo>
                    <a:cubicBezTo>
                      <a:pt x="690957" y="2507615"/>
                      <a:pt x="676994" y="2509385"/>
                      <a:pt x="663958" y="2509385"/>
                    </a:cubicBezTo>
                    <a:cubicBezTo>
                      <a:pt x="656206" y="2509385"/>
                      <a:pt x="649117" y="2508780"/>
                      <a:pt x="642919" y="2507566"/>
                    </a:cubicBezTo>
                    <a:cubicBezTo>
                      <a:pt x="627157" y="2504482"/>
                      <a:pt x="616315" y="2498491"/>
                      <a:pt x="609782" y="2489224"/>
                    </a:cubicBezTo>
                    <a:cubicBezTo>
                      <a:pt x="603930" y="2480946"/>
                      <a:pt x="602149" y="2470707"/>
                      <a:pt x="604474" y="2458843"/>
                    </a:cubicBezTo>
                    <a:cubicBezTo>
                      <a:pt x="608520" y="2438069"/>
                      <a:pt x="622459" y="2426642"/>
                      <a:pt x="643732" y="2426642"/>
                    </a:cubicBezTo>
                    <a:close/>
                    <a:moveTo>
                      <a:pt x="444380" y="2417528"/>
                    </a:moveTo>
                    <a:lnTo>
                      <a:pt x="444380" y="2468840"/>
                    </a:lnTo>
                    <a:cubicBezTo>
                      <a:pt x="444380" y="2477354"/>
                      <a:pt x="437458" y="2484265"/>
                      <a:pt x="428911" y="2484265"/>
                    </a:cubicBezTo>
                    <a:lnTo>
                      <a:pt x="348533" y="2484265"/>
                    </a:lnTo>
                    <a:lnTo>
                      <a:pt x="336135" y="2508084"/>
                    </a:lnTo>
                    <a:cubicBezTo>
                      <a:pt x="336135" y="2508399"/>
                      <a:pt x="336122" y="2508729"/>
                      <a:pt x="336122" y="2509059"/>
                    </a:cubicBezTo>
                    <a:cubicBezTo>
                      <a:pt x="336122" y="2560220"/>
                      <a:pt x="377751" y="2601863"/>
                      <a:pt x="428938" y="2601863"/>
                    </a:cubicBezTo>
                    <a:cubicBezTo>
                      <a:pt x="480111" y="2601863"/>
                      <a:pt x="521740" y="2560220"/>
                      <a:pt x="521740" y="2509059"/>
                    </a:cubicBezTo>
                    <a:cubicBezTo>
                      <a:pt x="521740" y="2463129"/>
                      <a:pt x="488208" y="2424904"/>
                      <a:pt x="444380" y="2417528"/>
                    </a:cubicBezTo>
                    <a:close/>
                    <a:moveTo>
                      <a:pt x="3878279" y="2410282"/>
                    </a:moveTo>
                    <a:cubicBezTo>
                      <a:pt x="3943726" y="2410282"/>
                      <a:pt x="3963376" y="2417742"/>
                      <a:pt x="3963376" y="2417742"/>
                    </a:cubicBezTo>
                    <a:cubicBezTo>
                      <a:pt x="3977113" y="2422345"/>
                      <a:pt x="3996236" y="2428838"/>
                      <a:pt x="4003841" y="2443340"/>
                    </a:cubicBezTo>
                    <a:cubicBezTo>
                      <a:pt x="4007408" y="2450150"/>
                      <a:pt x="4022418" y="2492284"/>
                      <a:pt x="4034645" y="2527160"/>
                    </a:cubicBezTo>
                    <a:lnTo>
                      <a:pt x="4050439" y="2527160"/>
                    </a:lnTo>
                    <a:cubicBezTo>
                      <a:pt x="4057607" y="2527160"/>
                      <a:pt x="4065413" y="2532960"/>
                      <a:pt x="4067887" y="2540160"/>
                    </a:cubicBezTo>
                    <a:lnTo>
                      <a:pt x="4072327" y="2553118"/>
                    </a:lnTo>
                    <a:cubicBezTo>
                      <a:pt x="4074783" y="2560304"/>
                      <a:pt x="4070981" y="2566090"/>
                      <a:pt x="4063794" y="2566090"/>
                    </a:cubicBezTo>
                    <a:lnTo>
                      <a:pt x="4048219" y="2566090"/>
                    </a:lnTo>
                    <a:cubicBezTo>
                      <a:pt x="4050220" y="2571934"/>
                      <a:pt x="4051439" y="2575483"/>
                      <a:pt x="4051439" y="2575483"/>
                    </a:cubicBezTo>
                    <a:cubicBezTo>
                      <a:pt x="4052695" y="2577590"/>
                      <a:pt x="4053586" y="2587330"/>
                      <a:pt x="4053586" y="2589927"/>
                    </a:cubicBezTo>
                    <a:lnTo>
                      <a:pt x="4053586" y="2708204"/>
                    </a:lnTo>
                    <a:cubicBezTo>
                      <a:pt x="4053586" y="2715808"/>
                      <a:pt x="4047436" y="2721955"/>
                      <a:pt x="4039849" y="2721955"/>
                    </a:cubicBezTo>
                    <a:lnTo>
                      <a:pt x="3989431" y="2721955"/>
                    </a:lnTo>
                    <a:cubicBezTo>
                      <a:pt x="3981826" y="2721955"/>
                      <a:pt x="3975676" y="2715808"/>
                      <a:pt x="3975676" y="2708204"/>
                    </a:cubicBezTo>
                    <a:lnTo>
                      <a:pt x="3975676" y="2682982"/>
                    </a:lnTo>
                    <a:lnTo>
                      <a:pt x="3780881" y="2682982"/>
                    </a:lnTo>
                    <a:lnTo>
                      <a:pt x="3780881" y="2708204"/>
                    </a:lnTo>
                    <a:cubicBezTo>
                      <a:pt x="3780881" y="2715808"/>
                      <a:pt x="3774731" y="2721955"/>
                      <a:pt x="3767126" y="2721955"/>
                    </a:cubicBezTo>
                    <a:lnTo>
                      <a:pt x="3716726" y="2721955"/>
                    </a:lnTo>
                    <a:cubicBezTo>
                      <a:pt x="3709121" y="2721955"/>
                      <a:pt x="3702953" y="2715808"/>
                      <a:pt x="3702953" y="2708204"/>
                    </a:cubicBezTo>
                    <a:lnTo>
                      <a:pt x="3702953" y="2589898"/>
                    </a:lnTo>
                    <a:cubicBezTo>
                      <a:pt x="3702953" y="2587301"/>
                      <a:pt x="3703862" y="2577590"/>
                      <a:pt x="3705118" y="2575483"/>
                    </a:cubicBezTo>
                    <a:cubicBezTo>
                      <a:pt x="3705118" y="2575483"/>
                      <a:pt x="3706373" y="2571934"/>
                      <a:pt x="3708411" y="2566090"/>
                    </a:cubicBezTo>
                    <a:lnTo>
                      <a:pt x="3692763" y="2566090"/>
                    </a:lnTo>
                    <a:cubicBezTo>
                      <a:pt x="3685595" y="2566090"/>
                      <a:pt x="3681774" y="2560289"/>
                      <a:pt x="3684230" y="2553118"/>
                    </a:cubicBezTo>
                    <a:lnTo>
                      <a:pt x="3688651" y="2540160"/>
                    </a:lnTo>
                    <a:cubicBezTo>
                      <a:pt x="3691126" y="2532960"/>
                      <a:pt x="3698931" y="2527174"/>
                      <a:pt x="3706118" y="2527174"/>
                    </a:cubicBezTo>
                    <a:lnTo>
                      <a:pt x="3722221" y="2527174"/>
                    </a:lnTo>
                    <a:cubicBezTo>
                      <a:pt x="3734321" y="2493236"/>
                      <a:pt x="3749095" y="2452271"/>
                      <a:pt x="3753389" y="2442661"/>
                    </a:cubicBezTo>
                    <a:cubicBezTo>
                      <a:pt x="3760085" y="2427742"/>
                      <a:pt x="3781463" y="2421018"/>
                      <a:pt x="3793199" y="2417742"/>
                    </a:cubicBezTo>
                    <a:cubicBezTo>
                      <a:pt x="3793199" y="2417742"/>
                      <a:pt x="3812831" y="2410282"/>
                      <a:pt x="3878279" y="2410282"/>
                    </a:cubicBezTo>
                    <a:close/>
                    <a:moveTo>
                      <a:pt x="2658974" y="2369923"/>
                    </a:moveTo>
                    <a:cubicBezTo>
                      <a:pt x="2658974" y="2369923"/>
                      <a:pt x="2657090" y="2374647"/>
                      <a:pt x="2654792" y="2377907"/>
                    </a:cubicBezTo>
                    <a:lnTo>
                      <a:pt x="2635032" y="2405101"/>
                    </a:lnTo>
                    <a:lnTo>
                      <a:pt x="2635032" y="2405280"/>
                    </a:lnTo>
                    <a:cubicBezTo>
                      <a:pt x="2635032" y="2405280"/>
                      <a:pt x="2658606" y="2405280"/>
                      <a:pt x="2658606" y="2405280"/>
                    </a:cubicBezTo>
                    <a:lnTo>
                      <a:pt x="2658606" y="2378983"/>
                    </a:lnTo>
                    <a:cubicBezTo>
                      <a:pt x="2658606" y="2374782"/>
                      <a:pt x="2659158" y="2369923"/>
                      <a:pt x="2659158" y="2369923"/>
                    </a:cubicBezTo>
                    <a:close/>
                    <a:moveTo>
                      <a:pt x="1955029" y="2364431"/>
                    </a:moveTo>
                    <a:lnTo>
                      <a:pt x="1935044" y="2375961"/>
                    </a:lnTo>
                    <a:lnTo>
                      <a:pt x="1935044" y="2399036"/>
                    </a:lnTo>
                    <a:lnTo>
                      <a:pt x="1955029" y="2410594"/>
                    </a:lnTo>
                    <a:lnTo>
                      <a:pt x="1975001" y="2399036"/>
                    </a:lnTo>
                    <a:cubicBezTo>
                      <a:pt x="1975001" y="2399036"/>
                      <a:pt x="1975001" y="2375961"/>
                      <a:pt x="1975001" y="2375961"/>
                    </a:cubicBezTo>
                    <a:close/>
                    <a:moveTo>
                      <a:pt x="2765940" y="2354869"/>
                    </a:moveTo>
                    <a:cubicBezTo>
                      <a:pt x="2768973" y="2354480"/>
                      <a:pt x="2771731" y="2356558"/>
                      <a:pt x="2772113" y="2359593"/>
                    </a:cubicBezTo>
                    <a:lnTo>
                      <a:pt x="2773201" y="2368114"/>
                    </a:lnTo>
                    <a:cubicBezTo>
                      <a:pt x="2773584" y="2371134"/>
                      <a:pt x="2771332" y="2373885"/>
                      <a:pt x="2768299" y="2374274"/>
                    </a:cubicBezTo>
                    <a:lnTo>
                      <a:pt x="2740558" y="2377907"/>
                    </a:lnTo>
                    <a:cubicBezTo>
                      <a:pt x="2737541" y="2378295"/>
                      <a:pt x="2734799" y="2376217"/>
                      <a:pt x="2734400" y="2373182"/>
                    </a:cubicBezTo>
                    <a:lnTo>
                      <a:pt x="2733313" y="2364661"/>
                    </a:lnTo>
                    <a:cubicBezTo>
                      <a:pt x="2732899" y="2361656"/>
                      <a:pt x="2734998" y="2358890"/>
                      <a:pt x="2738015" y="2358501"/>
                    </a:cubicBezTo>
                    <a:close/>
                    <a:moveTo>
                      <a:pt x="2655528" y="2354869"/>
                    </a:moveTo>
                    <a:lnTo>
                      <a:pt x="2673833" y="2354869"/>
                    </a:lnTo>
                    <a:lnTo>
                      <a:pt x="2673833" y="2405280"/>
                    </a:lnTo>
                    <a:lnTo>
                      <a:pt x="2684892" y="2405280"/>
                    </a:lnTo>
                    <a:lnTo>
                      <a:pt x="2684892" y="2418152"/>
                    </a:lnTo>
                    <a:lnTo>
                      <a:pt x="2673833" y="2418152"/>
                    </a:lnTo>
                    <a:lnTo>
                      <a:pt x="2673833" y="2440278"/>
                    </a:lnTo>
                    <a:cubicBezTo>
                      <a:pt x="2673833" y="2440278"/>
                      <a:pt x="2658606" y="2440278"/>
                      <a:pt x="2658606" y="2440278"/>
                    </a:cubicBezTo>
                    <a:lnTo>
                      <a:pt x="2658606" y="2418152"/>
                    </a:lnTo>
                    <a:lnTo>
                      <a:pt x="2618718" y="2418152"/>
                    </a:lnTo>
                    <a:lnTo>
                      <a:pt x="2618718" y="2408718"/>
                    </a:lnTo>
                    <a:close/>
                    <a:moveTo>
                      <a:pt x="2581541" y="2354869"/>
                    </a:moveTo>
                    <a:cubicBezTo>
                      <a:pt x="2596584" y="2354869"/>
                      <a:pt x="2609282" y="2363943"/>
                      <a:pt x="2609282" y="2380074"/>
                    </a:cubicBezTo>
                    <a:cubicBezTo>
                      <a:pt x="2609282" y="2407508"/>
                      <a:pt x="2571018" y="2412187"/>
                      <a:pt x="2570665" y="2428303"/>
                    </a:cubicBezTo>
                    <a:lnTo>
                      <a:pt x="2610554" y="2428303"/>
                    </a:lnTo>
                    <a:lnTo>
                      <a:pt x="2610554" y="2441728"/>
                    </a:lnTo>
                    <a:lnTo>
                      <a:pt x="2553984" y="2441728"/>
                    </a:lnTo>
                    <a:cubicBezTo>
                      <a:pt x="2553632" y="2438962"/>
                      <a:pt x="2553264" y="2436511"/>
                      <a:pt x="2553264" y="2434104"/>
                    </a:cubicBezTo>
                    <a:cubicBezTo>
                      <a:pt x="2553264" y="2403307"/>
                      <a:pt x="2593152" y="2398328"/>
                      <a:pt x="2593152" y="2381345"/>
                    </a:cubicBezTo>
                    <a:cubicBezTo>
                      <a:pt x="2593152" y="2373900"/>
                      <a:pt x="2587316" y="2369564"/>
                      <a:pt x="2580101" y="2369564"/>
                    </a:cubicBezTo>
                    <a:cubicBezTo>
                      <a:pt x="2570114" y="2369564"/>
                      <a:pt x="2564860" y="2379715"/>
                      <a:pt x="2564860" y="2379715"/>
                    </a:cubicBezTo>
                    <a:lnTo>
                      <a:pt x="2553264" y="2371912"/>
                    </a:lnTo>
                    <a:cubicBezTo>
                      <a:pt x="2553264" y="2371912"/>
                      <a:pt x="2561092" y="2354869"/>
                      <a:pt x="2581541" y="2354869"/>
                    </a:cubicBezTo>
                    <a:close/>
                    <a:moveTo>
                      <a:pt x="4130115" y="2333121"/>
                    </a:moveTo>
                    <a:lnTo>
                      <a:pt x="4130115" y="2335513"/>
                    </a:lnTo>
                    <a:lnTo>
                      <a:pt x="4130115" y="2618881"/>
                    </a:lnTo>
                    <a:cubicBezTo>
                      <a:pt x="4130115" y="2620539"/>
                      <a:pt x="4130837" y="2621274"/>
                      <a:pt x="4132530" y="2621274"/>
                    </a:cubicBezTo>
                    <a:cubicBezTo>
                      <a:pt x="4132530" y="2621274"/>
                      <a:pt x="4562507" y="2621274"/>
                      <a:pt x="4562507" y="2621274"/>
                    </a:cubicBezTo>
                    <a:cubicBezTo>
                      <a:pt x="4564177" y="2621274"/>
                      <a:pt x="4564900" y="2620539"/>
                      <a:pt x="4564900" y="2618881"/>
                    </a:cubicBezTo>
                    <a:lnTo>
                      <a:pt x="4564900" y="2333121"/>
                    </a:lnTo>
                    <a:close/>
                    <a:moveTo>
                      <a:pt x="4130115" y="2306673"/>
                    </a:moveTo>
                    <a:lnTo>
                      <a:pt x="4564900" y="2306673"/>
                    </a:lnTo>
                    <a:lnTo>
                      <a:pt x="4564900" y="2307389"/>
                    </a:lnTo>
                    <a:cubicBezTo>
                      <a:pt x="4578937" y="2308368"/>
                      <a:pt x="4589453" y="2319539"/>
                      <a:pt x="4591123" y="2333121"/>
                    </a:cubicBezTo>
                    <a:lnTo>
                      <a:pt x="4591123" y="2618881"/>
                    </a:lnTo>
                    <a:cubicBezTo>
                      <a:pt x="4591123" y="2624363"/>
                      <a:pt x="4589679" y="2628997"/>
                      <a:pt x="4587309" y="2633160"/>
                    </a:cubicBezTo>
                    <a:cubicBezTo>
                      <a:pt x="4581803" y="2642823"/>
                      <a:pt x="4573701" y="2647721"/>
                      <a:pt x="4562507" y="2647721"/>
                    </a:cubicBezTo>
                    <a:lnTo>
                      <a:pt x="4405573" y="2647721"/>
                    </a:lnTo>
                    <a:lnTo>
                      <a:pt x="4405573" y="2687298"/>
                    </a:lnTo>
                    <a:lnTo>
                      <a:pt x="4435408" y="2687298"/>
                    </a:lnTo>
                    <a:cubicBezTo>
                      <a:pt x="4442787" y="2687298"/>
                      <a:pt x="4448497" y="2693062"/>
                      <a:pt x="4448497" y="2700409"/>
                    </a:cubicBezTo>
                    <a:cubicBezTo>
                      <a:pt x="4448497" y="2707793"/>
                      <a:pt x="4442787" y="2713557"/>
                      <a:pt x="4435408" y="2713557"/>
                    </a:cubicBezTo>
                    <a:lnTo>
                      <a:pt x="4259630" y="2713557"/>
                    </a:lnTo>
                    <a:cubicBezTo>
                      <a:pt x="4252250" y="2713557"/>
                      <a:pt x="4246292" y="2707793"/>
                      <a:pt x="4246292" y="2700409"/>
                    </a:cubicBezTo>
                    <a:cubicBezTo>
                      <a:pt x="4246292" y="2693062"/>
                      <a:pt x="4252250" y="2687298"/>
                      <a:pt x="4259630" y="2687298"/>
                    </a:cubicBezTo>
                    <a:lnTo>
                      <a:pt x="4289441" y="2687298"/>
                    </a:lnTo>
                    <a:lnTo>
                      <a:pt x="4289441" y="2647721"/>
                    </a:lnTo>
                    <a:cubicBezTo>
                      <a:pt x="4289441" y="2647721"/>
                      <a:pt x="4132530" y="2647721"/>
                      <a:pt x="4132530" y="2647721"/>
                    </a:cubicBezTo>
                    <a:cubicBezTo>
                      <a:pt x="4121314" y="2647721"/>
                      <a:pt x="4113122" y="2642823"/>
                      <a:pt x="4107728" y="2633160"/>
                    </a:cubicBezTo>
                    <a:cubicBezTo>
                      <a:pt x="4105246" y="2628790"/>
                      <a:pt x="4103666" y="2624080"/>
                      <a:pt x="4103666" y="2618881"/>
                    </a:cubicBezTo>
                    <a:lnTo>
                      <a:pt x="4103666" y="2333121"/>
                    </a:lnTo>
                    <a:cubicBezTo>
                      <a:pt x="4105336" y="2319539"/>
                      <a:pt x="4116529" y="2308368"/>
                      <a:pt x="4130115" y="2307389"/>
                    </a:cubicBezTo>
                    <a:close/>
                    <a:moveTo>
                      <a:pt x="428938" y="2301219"/>
                    </a:moveTo>
                    <a:cubicBezTo>
                      <a:pt x="447397" y="2301219"/>
                      <a:pt x="462348" y="2316179"/>
                      <a:pt x="462348" y="2334632"/>
                    </a:cubicBezTo>
                    <a:cubicBezTo>
                      <a:pt x="462348" y="2347704"/>
                      <a:pt x="454852" y="2359006"/>
                      <a:pt x="443929" y="2364493"/>
                    </a:cubicBezTo>
                    <a:cubicBezTo>
                      <a:pt x="444202" y="2365632"/>
                      <a:pt x="444380" y="2366816"/>
                      <a:pt x="444380" y="2368046"/>
                    </a:cubicBezTo>
                    <a:lnTo>
                      <a:pt x="444380" y="2394129"/>
                    </a:lnTo>
                    <a:cubicBezTo>
                      <a:pt x="501042" y="2401714"/>
                      <a:pt x="544897" y="2450327"/>
                      <a:pt x="544897" y="2509029"/>
                    </a:cubicBezTo>
                    <a:cubicBezTo>
                      <a:pt x="544897" y="2572992"/>
                      <a:pt x="492877" y="2625008"/>
                      <a:pt x="428911" y="2625008"/>
                    </a:cubicBezTo>
                    <a:cubicBezTo>
                      <a:pt x="376782" y="2625008"/>
                      <a:pt x="332572" y="2590396"/>
                      <a:pt x="318031" y="2542952"/>
                    </a:cubicBezTo>
                    <a:lnTo>
                      <a:pt x="312597" y="2553430"/>
                    </a:lnTo>
                    <a:cubicBezTo>
                      <a:pt x="309852" y="2558691"/>
                      <a:pt x="304486" y="2561749"/>
                      <a:pt x="298889" y="2561749"/>
                    </a:cubicBezTo>
                    <a:cubicBezTo>
                      <a:pt x="296622" y="2561749"/>
                      <a:pt x="294328" y="2561240"/>
                      <a:pt x="292130" y="2560175"/>
                    </a:cubicBezTo>
                    <a:lnTo>
                      <a:pt x="260850" y="2544945"/>
                    </a:lnTo>
                    <a:cubicBezTo>
                      <a:pt x="253163" y="2541198"/>
                      <a:pt x="249982" y="2531964"/>
                      <a:pt x="253723" y="2524304"/>
                    </a:cubicBezTo>
                    <a:cubicBezTo>
                      <a:pt x="257437" y="2516629"/>
                      <a:pt x="266707" y="2513436"/>
                      <a:pt x="274353" y="2517168"/>
                    </a:cubicBezTo>
                    <a:lnTo>
                      <a:pt x="292130" y="2525833"/>
                    </a:lnTo>
                    <a:lnTo>
                      <a:pt x="325458" y="2461705"/>
                    </a:lnTo>
                    <a:cubicBezTo>
                      <a:pt x="328107" y="2456608"/>
                      <a:pt x="333377" y="2453400"/>
                      <a:pt x="339153" y="2453400"/>
                    </a:cubicBezTo>
                    <a:lnTo>
                      <a:pt x="413496" y="2453400"/>
                    </a:lnTo>
                    <a:lnTo>
                      <a:pt x="413496" y="2420107"/>
                    </a:lnTo>
                    <a:lnTo>
                      <a:pt x="355755" y="2420107"/>
                    </a:lnTo>
                    <a:cubicBezTo>
                      <a:pt x="347236" y="2420107"/>
                      <a:pt x="340313" y="2413181"/>
                      <a:pt x="340313" y="2404652"/>
                    </a:cubicBezTo>
                    <a:cubicBezTo>
                      <a:pt x="340313" y="2396122"/>
                      <a:pt x="347236" y="2389212"/>
                      <a:pt x="355755" y="2389212"/>
                    </a:cubicBezTo>
                    <a:lnTo>
                      <a:pt x="413496" y="2389212"/>
                    </a:lnTo>
                    <a:lnTo>
                      <a:pt x="413496" y="2368046"/>
                    </a:lnTo>
                    <a:cubicBezTo>
                      <a:pt x="413496" y="2366816"/>
                      <a:pt x="413660" y="2365632"/>
                      <a:pt x="413933" y="2364493"/>
                    </a:cubicBezTo>
                    <a:cubicBezTo>
                      <a:pt x="403010" y="2359006"/>
                      <a:pt x="395501" y="2347704"/>
                      <a:pt x="395501" y="2334632"/>
                    </a:cubicBezTo>
                    <a:cubicBezTo>
                      <a:pt x="395501" y="2316179"/>
                      <a:pt x="410478" y="2301219"/>
                      <a:pt x="428938" y="2301219"/>
                    </a:cubicBezTo>
                    <a:close/>
                    <a:moveTo>
                      <a:pt x="2748355" y="2300480"/>
                    </a:moveTo>
                    <a:cubicBezTo>
                      <a:pt x="2749718" y="2300854"/>
                      <a:pt x="2750867" y="2301871"/>
                      <a:pt x="2751618" y="2303201"/>
                    </a:cubicBezTo>
                    <a:lnTo>
                      <a:pt x="2755784" y="2310631"/>
                    </a:lnTo>
                    <a:cubicBezTo>
                      <a:pt x="2757301" y="2313293"/>
                      <a:pt x="2756458" y="2316567"/>
                      <a:pt x="2753793" y="2318062"/>
                    </a:cubicBezTo>
                    <a:lnTo>
                      <a:pt x="2729315" y="2331846"/>
                    </a:lnTo>
                    <a:cubicBezTo>
                      <a:pt x="2726680" y="2333341"/>
                      <a:pt x="2723203" y="2332324"/>
                      <a:pt x="2721702" y="2329678"/>
                    </a:cubicBezTo>
                    <a:cubicBezTo>
                      <a:pt x="2721702" y="2329678"/>
                      <a:pt x="2717535" y="2322412"/>
                      <a:pt x="2717535" y="2322412"/>
                    </a:cubicBezTo>
                    <a:cubicBezTo>
                      <a:pt x="2716034" y="2319766"/>
                      <a:pt x="2717045" y="2316297"/>
                      <a:pt x="2719710" y="2314802"/>
                    </a:cubicBezTo>
                    <a:lnTo>
                      <a:pt x="2744189" y="2301019"/>
                    </a:lnTo>
                    <a:cubicBezTo>
                      <a:pt x="2745506" y="2300286"/>
                      <a:pt x="2746992" y="2300092"/>
                      <a:pt x="2748355" y="2300480"/>
                    </a:cubicBezTo>
                    <a:close/>
                    <a:moveTo>
                      <a:pt x="2506299" y="2284155"/>
                    </a:moveTo>
                    <a:cubicBezTo>
                      <a:pt x="2508091" y="2284663"/>
                      <a:pt x="2509577" y="2286084"/>
                      <a:pt x="2510113" y="2288147"/>
                    </a:cubicBezTo>
                    <a:lnTo>
                      <a:pt x="2529322" y="2362852"/>
                    </a:lnTo>
                    <a:cubicBezTo>
                      <a:pt x="2530379" y="2366963"/>
                      <a:pt x="2526687" y="2370701"/>
                      <a:pt x="2522628" y="2369564"/>
                    </a:cubicBezTo>
                    <a:lnTo>
                      <a:pt x="2504859" y="2364661"/>
                    </a:lnTo>
                    <a:cubicBezTo>
                      <a:pt x="2496097" y="2422487"/>
                      <a:pt x="2532585" y="2479223"/>
                      <a:pt x="2591161" y="2493754"/>
                    </a:cubicBezTo>
                    <a:cubicBezTo>
                      <a:pt x="2652158" y="2508899"/>
                      <a:pt x="2713859" y="2470701"/>
                      <a:pt x="2730770" y="2410169"/>
                    </a:cubicBezTo>
                    <a:lnTo>
                      <a:pt x="2733665" y="2399479"/>
                    </a:lnTo>
                    <a:cubicBezTo>
                      <a:pt x="2734477" y="2396534"/>
                      <a:pt x="2737449" y="2394845"/>
                      <a:pt x="2740374" y="2395667"/>
                    </a:cubicBezTo>
                    <a:lnTo>
                      <a:pt x="2767028" y="2403097"/>
                    </a:lnTo>
                    <a:cubicBezTo>
                      <a:pt x="2769954" y="2403920"/>
                      <a:pt x="2771654" y="2406865"/>
                      <a:pt x="2770842" y="2409810"/>
                    </a:cubicBezTo>
                    <a:lnTo>
                      <a:pt x="2767932" y="2420140"/>
                    </a:lnTo>
                    <a:cubicBezTo>
                      <a:pt x="2745215" y="2501543"/>
                      <a:pt x="2661869" y="2552044"/>
                      <a:pt x="2580101" y="2530755"/>
                    </a:cubicBezTo>
                    <a:cubicBezTo>
                      <a:pt x="2501336" y="2510244"/>
                      <a:pt x="2453176" y="2432369"/>
                      <a:pt x="2467498" y="2354151"/>
                    </a:cubicBezTo>
                    <a:lnTo>
                      <a:pt x="2448289" y="2348709"/>
                    </a:lnTo>
                    <a:cubicBezTo>
                      <a:pt x="2444199" y="2347558"/>
                      <a:pt x="2442713" y="2342430"/>
                      <a:pt x="2445746" y="2339455"/>
                    </a:cubicBezTo>
                    <a:lnTo>
                      <a:pt x="2501045" y="2285426"/>
                    </a:lnTo>
                    <a:cubicBezTo>
                      <a:pt x="2502561" y="2283946"/>
                      <a:pt x="2504507" y="2283662"/>
                      <a:pt x="2506299" y="2284155"/>
                    </a:cubicBezTo>
                    <a:close/>
                    <a:moveTo>
                      <a:pt x="1582257" y="2279407"/>
                    </a:moveTo>
                    <a:cubicBezTo>
                      <a:pt x="1673148" y="2279407"/>
                      <a:pt x="1747051" y="2352140"/>
                      <a:pt x="1748944" y="2442469"/>
                    </a:cubicBezTo>
                    <a:cubicBezTo>
                      <a:pt x="1782232" y="2461729"/>
                      <a:pt x="1804571" y="2497641"/>
                      <a:pt x="1804571" y="2538681"/>
                    </a:cubicBezTo>
                    <a:cubicBezTo>
                      <a:pt x="1804571" y="2600009"/>
                      <a:pt x="1754735" y="2649847"/>
                      <a:pt x="1693428" y="2649847"/>
                    </a:cubicBezTo>
                    <a:lnTo>
                      <a:pt x="1582257" y="2649847"/>
                    </a:lnTo>
                    <a:lnTo>
                      <a:pt x="1582257" y="2612769"/>
                    </a:lnTo>
                    <a:lnTo>
                      <a:pt x="1693510" y="2612769"/>
                    </a:lnTo>
                    <a:cubicBezTo>
                      <a:pt x="1734290" y="2612769"/>
                      <a:pt x="1767468" y="2579669"/>
                      <a:pt x="1767468" y="2538681"/>
                    </a:cubicBezTo>
                    <a:cubicBezTo>
                      <a:pt x="1767468" y="2503678"/>
                      <a:pt x="1743181" y="2474214"/>
                      <a:pt x="1710332" y="2466531"/>
                    </a:cubicBezTo>
                    <a:cubicBezTo>
                      <a:pt x="1711403" y="2459928"/>
                      <a:pt x="1711952" y="2453051"/>
                      <a:pt x="1711952" y="2446071"/>
                    </a:cubicBezTo>
                    <a:cubicBezTo>
                      <a:pt x="1711952" y="2374452"/>
                      <a:pt x="1653883" y="2316503"/>
                      <a:pt x="1582257" y="2316503"/>
                    </a:cubicBezTo>
                    <a:cubicBezTo>
                      <a:pt x="1523749" y="2316503"/>
                      <a:pt x="1474270" y="2355279"/>
                      <a:pt x="1458161" y="2408547"/>
                    </a:cubicBezTo>
                    <a:cubicBezTo>
                      <a:pt x="1443891" y="2397245"/>
                      <a:pt x="1425998" y="2390556"/>
                      <a:pt x="1406349" y="2390556"/>
                    </a:cubicBezTo>
                    <a:cubicBezTo>
                      <a:pt x="1363401" y="2390556"/>
                      <a:pt x="1328138" y="2422935"/>
                      <a:pt x="1323500" y="2464627"/>
                    </a:cubicBezTo>
                    <a:lnTo>
                      <a:pt x="1322978" y="2464627"/>
                    </a:lnTo>
                    <a:cubicBezTo>
                      <a:pt x="1282089" y="2464627"/>
                      <a:pt x="1248883" y="2497830"/>
                      <a:pt x="1248883" y="2538681"/>
                    </a:cubicBezTo>
                    <a:cubicBezTo>
                      <a:pt x="1248883" y="2579584"/>
                      <a:pt x="1282006" y="2612769"/>
                      <a:pt x="1322978" y="2612769"/>
                    </a:cubicBezTo>
                    <a:lnTo>
                      <a:pt x="1434121" y="2612769"/>
                    </a:lnTo>
                    <a:lnTo>
                      <a:pt x="1434121" y="2649847"/>
                    </a:lnTo>
                    <a:lnTo>
                      <a:pt x="1322978" y="2649847"/>
                    </a:lnTo>
                    <a:cubicBezTo>
                      <a:pt x="1261644" y="2649847"/>
                      <a:pt x="1211808" y="2599923"/>
                      <a:pt x="1211808" y="2538681"/>
                    </a:cubicBezTo>
                    <a:cubicBezTo>
                      <a:pt x="1211808" y="2487505"/>
                      <a:pt x="1246441" y="2444373"/>
                      <a:pt x="1293560" y="2431510"/>
                    </a:cubicBezTo>
                    <a:cubicBezTo>
                      <a:pt x="1310766" y="2385960"/>
                      <a:pt x="1354812" y="2353461"/>
                      <a:pt x="1406349" y="2353461"/>
                    </a:cubicBezTo>
                    <a:cubicBezTo>
                      <a:pt x="1418205" y="2353461"/>
                      <a:pt x="1429676" y="2355176"/>
                      <a:pt x="1440570" y="2358451"/>
                    </a:cubicBezTo>
                    <a:cubicBezTo>
                      <a:pt x="1469934" y="2310963"/>
                      <a:pt x="1522377" y="2279407"/>
                      <a:pt x="1582257" y="2279407"/>
                    </a:cubicBezTo>
                    <a:close/>
                    <a:moveTo>
                      <a:pt x="2706475" y="2256781"/>
                    </a:moveTo>
                    <a:cubicBezTo>
                      <a:pt x="2707885" y="2256632"/>
                      <a:pt x="2709447" y="2256916"/>
                      <a:pt x="2710642" y="2257873"/>
                    </a:cubicBezTo>
                    <a:lnTo>
                      <a:pt x="2717167" y="2263135"/>
                    </a:lnTo>
                    <a:cubicBezTo>
                      <a:pt x="2719557" y="2265034"/>
                      <a:pt x="2720001" y="2268532"/>
                      <a:pt x="2718071" y="2270924"/>
                    </a:cubicBezTo>
                    <a:lnTo>
                      <a:pt x="2700670" y="2292871"/>
                    </a:lnTo>
                    <a:cubicBezTo>
                      <a:pt x="2698755" y="2295248"/>
                      <a:pt x="2695247" y="2295666"/>
                      <a:pt x="2692873" y="2293768"/>
                    </a:cubicBezTo>
                    <a:cubicBezTo>
                      <a:pt x="2692873" y="2293768"/>
                      <a:pt x="2686164" y="2288505"/>
                      <a:pt x="2686164" y="2288505"/>
                    </a:cubicBezTo>
                    <a:cubicBezTo>
                      <a:pt x="2683789" y="2286607"/>
                      <a:pt x="2683360" y="2283094"/>
                      <a:pt x="2685260" y="2280716"/>
                    </a:cubicBezTo>
                    <a:lnTo>
                      <a:pt x="2702845" y="2258770"/>
                    </a:lnTo>
                    <a:cubicBezTo>
                      <a:pt x="2703795" y="2257589"/>
                      <a:pt x="2705066" y="2256931"/>
                      <a:pt x="2706475" y="2256781"/>
                    </a:cubicBezTo>
                    <a:close/>
                    <a:moveTo>
                      <a:pt x="2557063" y="2246077"/>
                    </a:moveTo>
                    <a:cubicBezTo>
                      <a:pt x="2558411" y="2246511"/>
                      <a:pt x="2559636" y="2247453"/>
                      <a:pt x="2560341" y="2248798"/>
                    </a:cubicBezTo>
                    <a:lnTo>
                      <a:pt x="2573208" y="2273645"/>
                    </a:lnTo>
                    <a:cubicBezTo>
                      <a:pt x="2574633" y="2276336"/>
                      <a:pt x="2573560" y="2279685"/>
                      <a:pt x="2570849" y="2281075"/>
                    </a:cubicBezTo>
                    <a:lnTo>
                      <a:pt x="2563236" y="2285067"/>
                    </a:lnTo>
                    <a:cubicBezTo>
                      <a:pt x="2560525" y="2286472"/>
                      <a:pt x="2557201" y="2285426"/>
                      <a:pt x="2555807" y="2282705"/>
                    </a:cubicBezTo>
                    <a:cubicBezTo>
                      <a:pt x="2555807" y="2282705"/>
                      <a:pt x="2542924" y="2257693"/>
                      <a:pt x="2542924" y="2257693"/>
                    </a:cubicBezTo>
                    <a:cubicBezTo>
                      <a:pt x="2541530" y="2254987"/>
                      <a:pt x="2542572" y="2251654"/>
                      <a:pt x="2545283" y="2250248"/>
                    </a:cubicBezTo>
                    <a:lnTo>
                      <a:pt x="2552896" y="2246451"/>
                    </a:lnTo>
                    <a:cubicBezTo>
                      <a:pt x="2554260" y="2245748"/>
                      <a:pt x="2555730" y="2245659"/>
                      <a:pt x="2557063" y="2246077"/>
                    </a:cubicBezTo>
                    <a:close/>
                    <a:moveTo>
                      <a:pt x="969367" y="2241845"/>
                    </a:moveTo>
                    <a:cubicBezTo>
                      <a:pt x="976086" y="2240620"/>
                      <a:pt x="982817" y="2241102"/>
                      <a:pt x="987302" y="2244481"/>
                    </a:cubicBezTo>
                    <a:cubicBezTo>
                      <a:pt x="993368" y="2249045"/>
                      <a:pt x="996149" y="2255401"/>
                      <a:pt x="997157" y="2261836"/>
                    </a:cubicBezTo>
                    <a:cubicBezTo>
                      <a:pt x="998899" y="2272931"/>
                      <a:pt x="988005" y="2286853"/>
                      <a:pt x="979998" y="2294689"/>
                    </a:cubicBezTo>
                    <a:cubicBezTo>
                      <a:pt x="960470" y="2313809"/>
                      <a:pt x="948720" y="2340845"/>
                      <a:pt x="948720" y="2371624"/>
                    </a:cubicBezTo>
                    <a:cubicBezTo>
                      <a:pt x="948720" y="2432025"/>
                      <a:pt x="997677" y="2477776"/>
                      <a:pt x="1058094" y="2477776"/>
                    </a:cubicBezTo>
                    <a:cubicBezTo>
                      <a:pt x="1118496" y="2477776"/>
                      <a:pt x="1167407" y="2432025"/>
                      <a:pt x="1167407" y="2371624"/>
                    </a:cubicBezTo>
                    <a:cubicBezTo>
                      <a:pt x="1167407" y="2342770"/>
                      <a:pt x="1155351" y="2317228"/>
                      <a:pt x="1136236" y="2298378"/>
                    </a:cubicBezTo>
                    <a:cubicBezTo>
                      <a:pt x="1128244" y="2290488"/>
                      <a:pt x="1116571" y="2276849"/>
                      <a:pt x="1116937" y="2265580"/>
                    </a:cubicBezTo>
                    <a:cubicBezTo>
                      <a:pt x="1117105" y="2259507"/>
                      <a:pt x="1118725" y="2253125"/>
                      <a:pt x="1123187" y="2247820"/>
                    </a:cubicBezTo>
                    <a:cubicBezTo>
                      <a:pt x="1130445" y="2239203"/>
                      <a:pt x="1148506" y="2242192"/>
                      <a:pt x="1157521" y="2248924"/>
                    </a:cubicBezTo>
                    <a:cubicBezTo>
                      <a:pt x="1195645" y="2277428"/>
                      <a:pt x="1221086" y="2321200"/>
                      <a:pt x="1221086" y="2371449"/>
                    </a:cubicBezTo>
                    <a:cubicBezTo>
                      <a:pt x="1221086" y="2459977"/>
                      <a:pt x="1146550" y="2528550"/>
                      <a:pt x="1058063" y="2528550"/>
                    </a:cubicBezTo>
                    <a:cubicBezTo>
                      <a:pt x="969516" y="2528550"/>
                      <a:pt x="891038" y="2459977"/>
                      <a:pt x="891038" y="2371449"/>
                    </a:cubicBezTo>
                    <a:cubicBezTo>
                      <a:pt x="891038" y="2321537"/>
                      <a:pt x="914890" y="2277967"/>
                      <a:pt x="951501" y="2249449"/>
                    </a:cubicBezTo>
                    <a:cubicBezTo>
                      <a:pt x="955940" y="2246002"/>
                      <a:pt x="962647" y="2243071"/>
                      <a:pt x="969367" y="2241845"/>
                    </a:cubicBezTo>
                    <a:close/>
                    <a:moveTo>
                      <a:pt x="4795808" y="2241299"/>
                    </a:moveTo>
                    <a:lnTo>
                      <a:pt x="4844410" y="2241299"/>
                    </a:lnTo>
                    <a:cubicBezTo>
                      <a:pt x="4861061" y="2241299"/>
                      <a:pt x="4874684" y="2254743"/>
                      <a:pt x="4874684" y="2271394"/>
                    </a:cubicBezTo>
                    <a:cubicBezTo>
                      <a:pt x="4874684" y="2288045"/>
                      <a:pt x="4861061" y="2301668"/>
                      <a:pt x="4844410" y="2301668"/>
                    </a:cubicBezTo>
                    <a:lnTo>
                      <a:pt x="4795808" y="2301668"/>
                    </a:lnTo>
                    <a:close/>
                    <a:moveTo>
                      <a:pt x="1955107" y="2235782"/>
                    </a:moveTo>
                    <a:cubicBezTo>
                      <a:pt x="1962235" y="2235782"/>
                      <a:pt x="1968002" y="2241561"/>
                      <a:pt x="1968002" y="2248719"/>
                    </a:cubicBezTo>
                    <a:lnTo>
                      <a:pt x="1968002" y="2281004"/>
                    </a:lnTo>
                    <a:lnTo>
                      <a:pt x="1990203" y="2258829"/>
                    </a:lnTo>
                    <a:cubicBezTo>
                      <a:pt x="1995258" y="2253753"/>
                      <a:pt x="2003410" y="2253753"/>
                      <a:pt x="2008439" y="2258829"/>
                    </a:cubicBezTo>
                    <a:cubicBezTo>
                      <a:pt x="2013506" y="2263863"/>
                      <a:pt x="2013506" y="2272019"/>
                      <a:pt x="2008439" y="2277053"/>
                    </a:cubicBezTo>
                    <a:lnTo>
                      <a:pt x="1968002" y="2317493"/>
                    </a:lnTo>
                    <a:lnTo>
                      <a:pt x="1968002" y="2342115"/>
                    </a:lnTo>
                    <a:lnTo>
                      <a:pt x="1987922" y="2353589"/>
                    </a:lnTo>
                    <a:lnTo>
                      <a:pt x="2009100" y="2341454"/>
                    </a:lnTo>
                    <a:lnTo>
                      <a:pt x="2023913" y="2286235"/>
                    </a:lnTo>
                    <a:cubicBezTo>
                      <a:pt x="2025741" y="2279345"/>
                      <a:pt x="2032843" y="2275295"/>
                      <a:pt x="2039699" y="2277095"/>
                    </a:cubicBezTo>
                    <a:cubicBezTo>
                      <a:pt x="2046581" y="2278951"/>
                      <a:pt x="2050702" y="2286038"/>
                      <a:pt x="2048849" y="2292914"/>
                    </a:cubicBezTo>
                    <a:lnTo>
                      <a:pt x="2040710" y="2323329"/>
                    </a:lnTo>
                    <a:lnTo>
                      <a:pt x="2068795" y="2307186"/>
                    </a:lnTo>
                    <a:cubicBezTo>
                      <a:pt x="2075003" y="2303629"/>
                      <a:pt x="2082896" y="2305752"/>
                      <a:pt x="2086408" y="2311953"/>
                    </a:cubicBezTo>
                    <a:cubicBezTo>
                      <a:pt x="2089972" y="2318154"/>
                      <a:pt x="2087833" y="2326043"/>
                      <a:pt x="2081651" y="2329586"/>
                    </a:cubicBezTo>
                    <a:lnTo>
                      <a:pt x="2053605" y="2345701"/>
                    </a:lnTo>
                    <a:lnTo>
                      <a:pt x="2084010" y="2353814"/>
                    </a:lnTo>
                    <a:cubicBezTo>
                      <a:pt x="2090905" y="2355670"/>
                      <a:pt x="2094987" y="2362771"/>
                      <a:pt x="2093147" y="2369633"/>
                    </a:cubicBezTo>
                    <a:cubicBezTo>
                      <a:pt x="2091605" y="2375427"/>
                      <a:pt x="2086395" y="2379223"/>
                      <a:pt x="2080705" y="2379223"/>
                    </a:cubicBezTo>
                    <a:cubicBezTo>
                      <a:pt x="2079604" y="2379223"/>
                      <a:pt x="2078463" y="2379083"/>
                      <a:pt x="2077361" y="2378773"/>
                    </a:cubicBezTo>
                    <a:lnTo>
                      <a:pt x="2021865" y="2363924"/>
                    </a:lnTo>
                    <a:lnTo>
                      <a:pt x="2000844" y="2376003"/>
                    </a:lnTo>
                    <a:lnTo>
                      <a:pt x="2000805" y="2399036"/>
                    </a:lnTo>
                    <a:lnTo>
                      <a:pt x="2022112" y="2411368"/>
                    </a:lnTo>
                    <a:lnTo>
                      <a:pt x="2042002" y="2406032"/>
                    </a:lnTo>
                    <a:lnTo>
                      <a:pt x="2042122" y="2405856"/>
                    </a:lnTo>
                    <a:cubicBezTo>
                      <a:pt x="2053790" y="2394280"/>
                      <a:pt x="2068060" y="2388469"/>
                      <a:pt x="2084899" y="2388469"/>
                    </a:cubicBezTo>
                    <a:cubicBezTo>
                      <a:pt x="2101225" y="2388469"/>
                      <a:pt x="2115329" y="2394391"/>
                      <a:pt x="2126965" y="2406190"/>
                    </a:cubicBezTo>
                    <a:cubicBezTo>
                      <a:pt x="2138649" y="2417967"/>
                      <a:pt x="2144550" y="2432081"/>
                      <a:pt x="2144550" y="2448622"/>
                    </a:cubicBezTo>
                    <a:lnTo>
                      <a:pt x="2144550" y="2535845"/>
                    </a:lnTo>
                    <a:lnTo>
                      <a:pt x="2313440" y="2535845"/>
                    </a:lnTo>
                    <a:cubicBezTo>
                      <a:pt x="2328755" y="2535845"/>
                      <a:pt x="2341931" y="2541343"/>
                      <a:pt x="2352887" y="2552230"/>
                    </a:cubicBezTo>
                    <a:cubicBezTo>
                      <a:pt x="2363809" y="2563160"/>
                      <a:pt x="2369295" y="2576251"/>
                      <a:pt x="2369295" y="2591567"/>
                    </a:cubicBezTo>
                    <a:cubicBezTo>
                      <a:pt x="2369295" y="2606861"/>
                      <a:pt x="2363809" y="2619951"/>
                      <a:pt x="2352920" y="2630949"/>
                    </a:cubicBezTo>
                    <a:cubicBezTo>
                      <a:pt x="2342014" y="2641835"/>
                      <a:pt x="2328871" y="2647289"/>
                      <a:pt x="2313606" y="2647289"/>
                    </a:cubicBezTo>
                    <a:lnTo>
                      <a:pt x="2144550" y="2647289"/>
                    </a:lnTo>
                    <a:lnTo>
                      <a:pt x="2144550" y="2689543"/>
                    </a:lnTo>
                    <a:cubicBezTo>
                      <a:pt x="2144550" y="2706106"/>
                      <a:pt x="2150251" y="2720131"/>
                      <a:pt x="2161836" y="2731730"/>
                    </a:cubicBezTo>
                    <a:cubicBezTo>
                      <a:pt x="2173372" y="2743328"/>
                      <a:pt x="2187410" y="2749094"/>
                      <a:pt x="2203885" y="2749094"/>
                    </a:cubicBezTo>
                    <a:lnTo>
                      <a:pt x="2322539" y="2749094"/>
                    </a:lnTo>
                    <a:cubicBezTo>
                      <a:pt x="2339014" y="2749094"/>
                      <a:pt x="2353201" y="2755038"/>
                      <a:pt x="2364953" y="2766793"/>
                    </a:cubicBezTo>
                    <a:cubicBezTo>
                      <a:pt x="2376737" y="2778614"/>
                      <a:pt x="2382604" y="2792728"/>
                      <a:pt x="2382604" y="2809247"/>
                    </a:cubicBezTo>
                    <a:cubicBezTo>
                      <a:pt x="2382604" y="2825721"/>
                      <a:pt x="2376737" y="2839879"/>
                      <a:pt x="2364953" y="2851611"/>
                    </a:cubicBezTo>
                    <a:cubicBezTo>
                      <a:pt x="2353201" y="2863410"/>
                      <a:pt x="2339047" y="2869332"/>
                      <a:pt x="2322573" y="2869332"/>
                    </a:cubicBezTo>
                    <a:lnTo>
                      <a:pt x="2203968" y="2869332"/>
                    </a:lnTo>
                    <a:cubicBezTo>
                      <a:pt x="2154544" y="2869332"/>
                      <a:pt x="2112247" y="2851767"/>
                      <a:pt x="2077159" y="2816593"/>
                    </a:cubicBezTo>
                    <a:cubicBezTo>
                      <a:pt x="2042122" y="2781441"/>
                      <a:pt x="2024603" y="2739121"/>
                      <a:pt x="2024603" y="2689565"/>
                    </a:cubicBezTo>
                    <a:lnTo>
                      <a:pt x="2024603" y="2489616"/>
                    </a:lnTo>
                    <a:lnTo>
                      <a:pt x="2023913" y="2489086"/>
                    </a:lnTo>
                    <a:cubicBezTo>
                      <a:pt x="2023913" y="2489086"/>
                      <a:pt x="2009035" y="2433599"/>
                      <a:pt x="2009035" y="2433599"/>
                    </a:cubicBezTo>
                    <a:lnTo>
                      <a:pt x="1987897" y="2421408"/>
                    </a:lnTo>
                    <a:lnTo>
                      <a:pt x="1968002" y="2432868"/>
                    </a:lnTo>
                    <a:lnTo>
                      <a:pt x="1968002" y="2457827"/>
                    </a:lnTo>
                    <a:lnTo>
                      <a:pt x="2008439" y="2498268"/>
                    </a:lnTo>
                    <a:cubicBezTo>
                      <a:pt x="2013506" y="2503316"/>
                      <a:pt x="2013506" y="2511472"/>
                      <a:pt x="2008439" y="2516506"/>
                    </a:cubicBezTo>
                    <a:cubicBezTo>
                      <a:pt x="2005937" y="2519065"/>
                      <a:pt x="2002645" y="2520288"/>
                      <a:pt x="1999328" y="2520288"/>
                    </a:cubicBezTo>
                    <a:cubicBezTo>
                      <a:pt x="1996049" y="2520288"/>
                      <a:pt x="1992705" y="2519065"/>
                      <a:pt x="1990203" y="2516506"/>
                    </a:cubicBezTo>
                    <a:lnTo>
                      <a:pt x="1968002" y="2494331"/>
                    </a:lnTo>
                    <a:lnTo>
                      <a:pt x="1968002" y="2526602"/>
                    </a:lnTo>
                    <a:cubicBezTo>
                      <a:pt x="1968002" y="2533731"/>
                      <a:pt x="1962235" y="2539510"/>
                      <a:pt x="1955107" y="2539510"/>
                    </a:cubicBezTo>
                    <a:cubicBezTo>
                      <a:pt x="1947979" y="2539510"/>
                      <a:pt x="1942186" y="2533731"/>
                      <a:pt x="1942186" y="2526602"/>
                    </a:cubicBezTo>
                    <a:lnTo>
                      <a:pt x="1942186" y="2494162"/>
                    </a:lnTo>
                    <a:lnTo>
                      <a:pt x="1919842" y="2516506"/>
                    </a:lnTo>
                    <a:cubicBezTo>
                      <a:pt x="1917315" y="2519065"/>
                      <a:pt x="1914023" y="2520288"/>
                      <a:pt x="1910718" y="2520288"/>
                    </a:cubicBezTo>
                    <a:cubicBezTo>
                      <a:pt x="1907413" y="2520288"/>
                      <a:pt x="1904121" y="2519065"/>
                      <a:pt x="1901607" y="2516506"/>
                    </a:cubicBezTo>
                    <a:cubicBezTo>
                      <a:pt x="1896539" y="2511472"/>
                      <a:pt x="1896539" y="2503316"/>
                      <a:pt x="1901607" y="2498268"/>
                    </a:cubicBezTo>
                    <a:lnTo>
                      <a:pt x="1942186" y="2457672"/>
                    </a:lnTo>
                    <a:lnTo>
                      <a:pt x="1942186" y="2432966"/>
                    </a:lnTo>
                    <a:lnTo>
                      <a:pt x="1922136" y="2421408"/>
                    </a:lnTo>
                    <a:lnTo>
                      <a:pt x="1900985" y="2433599"/>
                    </a:lnTo>
                    <a:lnTo>
                      <a:pt x="1886132" y="2489086"/>
                    </a:lnTo>
                    <a:cubicBezTo>
                      <a:pt x="1884577" y="2494865"/>
                      <a:pt x="1879380" y="2498676"/>
                      <a:pt x="1873664" y="2498676"/>
                    </a:cubicBezTo>
                    <a:cubicBezTo>
                      <a:pt x="1872563" y="2498676"/>
                      <a:pt x="1871461" y="2498535"/>
                      <a:pt x="1870334" y="2498240"/>
                    </a:cubicBezTo>
                    <a:cubicBezTo>
                      <a:pt x="1863426" y="2496384"/>
                      <a:pt x="1859356" y="2489283"/>
                      <a:pt x="1861210" y="2482406"/>
                    </a:cubicBezTo>
                    <a:lnTo>
                      <a:pt x="1869401" y="2451865"/>
                    </a:lnTo>
                    <a:lnTo>
                      <a:pt x="1841277" y="2468078"/>
                    </a:lnTo>
                    <a:cubicBezTo>
                      <a:pt x="1839268" y="2469259"/>
                      <a:pt x="1837039" y="2469835"/>
                      <a:pt x="1834835" y="2469835"/>
                    </a:cubicBezTo>
                    <a:cubicBezTo>
                      <a:pt x="1830390" y="2469835"/>
                      <a:pt x="1826035" y="2467515"/>
                      <a:pt x="1823651" y="2463367"/>
                    </a:cubicBezTo>
                    <a:cubicBezTo>
                      <a:pt x="1820087" y="2457208"/>
                      <a:pt x="1822199" y="2449306"/>
                      <a:pt x="1828381" y="2445734"/>
                    </a:cubicBezTo>
                    <a:lnTo>
                      <a:pt x="1856337" y="2429592"/>
                    </a:lnTo>
                    <a:lnTo>
                      <a:pt x="1826009" y="2421464"/>
                    </a:lnTo>
                    <a:cubicBezTo>
                      <a:pt x="1819153" y="2419650"/>
                      <a:pt x="1815045" y="2412563"/>
                      <a:pt x="1816898" y="2405659"/>
                    </a:cubicBezTo>
                    <a:cubicBezTo>
                      <a:pt x="1818739" y="2398797"/>
                      <a:pt x="1825828" y="2394733"/>
                      <a:pt x="1832697" y="2396547"/>
                    </a:cubicBezTo>
                    <a:lnTo>
                      <a:pt x="1887921" y="2411326"/>
                    </a:lnTo>
                    <a:lnTo>
                      <a:pt x="1909228" y="2399036"/>
                    </a:lnTo>
                    <a:lnTo>
                      <a:pt x="1909228" y="2376003"/>
                    </a:lnTo>
                    <a:lnTo>
                      <a:pt x="1888206" y="2363924"/>
                    </a:lnTo>
                    <a:lnTo>
                      <a:pt x="1832697" y="2378773"/>
                    </a:lnTo>
                    <a:cubicBezTo>
                      <a:pt x="1831582" y="2379083"/>
                      <a:pt x="1830455" y="2379223"/>
                      <a:pt x="1829353" y="2379223"/>
                    </a:cubicBezTo>
                    <a:cubicBezTo>
                      <a:pt x="1823651" y="2379223"/>
                      <a:pt x="1818454" y="2375427"/>
                      <a:pt x="1816898" y="2369633"/>
                    </a:cubicBezTo>
                    <a:cubicBezTo>
                      <a:pt x="1815045" y="2362771"/>
                      <a:pt x="1819153" y="2355670"/>
                      <a:pt x="1826009" y="2353814"/>
                    </a:cubicBezTo>
                    <a:lnTo>
                      <a:pt x="1856440" y="2345701"/>
                    </a:lnTo>
                    <a:lnTo>
                      <a:pt x="1828420" y="2329586"/>
                    </a:lnTo>
                    <a:cubicBezTo>
                      <a:pt x="1822212" y="2326043"/>
                      <a:pt x="1820087" y="2318154"/>
                      <a:pt x="1823638" y="2311953"/>
                    </a:cubicBezTo>
                    <a:cubicBezTo>
                      <a:pt x="1827202" y="2305794"/>
                      <a:pt x="1835056" y="2303629"/>
                      <a:pt x="1841264" y="2307186"/>
                    </a:cubicBezTo>
                    <a:lnTo>
                      <a:pt x="1869362" y="2323329"/>
                    </a:lnTo>
                    <a:lnTo>
                      <a:pt x="1861210" y="2292914"/>
                    </a:lnTo>
                    <a:cubicBezTo>
                      <a:pt x="1859356" y="2286038"/>
                      <a:pt x="1863426" y="2278951"/>
                      <a:pt x="1870334" y="2277095"/>
                    </a:cubicBezTo>
                    <a:cubicBezTo>
                      <a:pt x="1877190" y="2275295"/>
                      <a:pt x="1884279" y="2279345"/>
                      <a:pt x="1886132" y="2286235"/>
                    </a:cubicBezTo>
                    <a:lnTo>
                      <a:pt x="1900946" y="2341454"/>
                    </a:lnTo>
                    <a:lnTo>
                      <a:pt x="1922123" y="2353617"/>
                    </a:lnTo>
                    <a:lnTo>
                      <a:pt x="1942186" y="2342017"/>
                    </a:lnTo>
                    <a:lnTo>
                      <a:pt x="1942186" y="2317662"/>
                    </a:lnTo>
                    <a:lnTo>
                      <a:pt x="1901607" y="2277053"/>
                    </a:lnTo>
                    <a:cubicBezTo>
                      <a:pt x="1896539" y="2272019"/>
                      <a:pt x="1896539" y="2263863"/>
                      <a:pt x="1901607" y="2258829"/>
                    </a:cubicBezTo>
                    <a:cubicBezTo>
                      <a:pt x="1906623" y="2253753"/>
                      <a:pt x="1914787" y="2253753"/>
                      <a:pt x="1919842" y="2258829"/>
                    </a:cubicBezTo>
                    <a:lnTo>
                      <a:pt x="1942186" y="2281173"/>
                    </a:lnTo>
                    <a:lnTo>
                      <a:pt x="1942186" y="2248719"/>
                    </a:lnTo>
                    <a:cubicBezTo>
                      <a:pt x="1942186" y="2241561"/>
                      <a:pt x="1947979" y="2235782"/>
                      <a:pt x="1955107" y="2235782"/>
                    </a:cubicBezTo>
                    <a:close/>
                    <a:moveTo>
                      <a:pt x="2661149" y="2235029"/>
                    </a:moveTo>
                    <a:lnTo>
                      <a:pt x="2669298" y="2237556"/>
                    </a:lnTo>
                    <a:cubicBezTo>
                      <a:pt x="2672224" y="2238423"/>
                      <a:pt x="2673802" y="2241532"/>
                      <a:pt x="2672929" y="2244448"/>
                    </a:cubicBezTo>
                    <a:lnTo>
                      <a:pt x="2664948" y="2271283"/>
                    </a:lnTo>
                    <a:cubicBezTo>
                      <a:pt x="2664090" y="2274198"/>
                      <a:pt x="2660981" y="2275977"/>
                      <a:pt x="2658070" y="2275095"/>
                    </a:cubicBezTo>
                    <a:cubicBezTo>
                      <a:pt x="2658055" y="2275095"/>
                      <a:pt x="2649906" y="2272554"/>
                      <a:pt x="2649906" y="2272554"/>
                    </a:cubicBezTo>
                    <a:cubicBezTo>
                      <a:pt x="2646965" y="2271702"/>
                      <a:pt x="2645234" y="2268577"/>
                      <a:pt x="2646092" y="2265662"/>
                    </a:cubicBezTo>
                    <a:lnTo>
                      <a:pt x="2654256" y="2238827"/>
                    </a:lnTo>
                    <a:cubicBezTo>
                      <a:pt x="2655129" y="2235911"/>
                      <a:pt x="2658224" y="2234147"/>
                      <a:pt x="2661149" y="2235029"/>
                    </a:cubicBezTo>
                    <a:close/>
                    <a:moveTo>
                      <a:pt x="2610370" y="2229408"/>
                    </a:moveTo>
                    <a:cubicBezTo>
                      <a:pt x="2613403" y="2229124"/>
                      <a:pt x="2616083" y="2231441"/>
                      <a:pt x="2616359" y="2234476"/>
                    </a:cubicBezTo>
                    <a:lnTo>
                      <a:pt x="2619086" y="2262403"/>
                    </a:lnTo>
                    <a:cubicBezTo>
                      <a:pt x="2619346" y="2265438"/>
                      <a:pt x="2617033" y="2268114"/>
                      <a:pt x="2614000" y="2268383"/>
                    </a:cubicBezTo>
                    <a:lnTo>
                      <a:pt x="2605483" y="2269295"/>
                    </a:lnTo>
                    <a:cubicBezTo>
                      <a:pt x="2602450" y="2269579"/>
                      <a:pt x="2599785" y="2267247"/>
                      <a:pt x="2599494" y="2264212"/>
                    </a:cubicBezTo>
                    <a:lnTo>
                      <a:pt x="2596967" y="2236300"/>
                    </a:lnTo>
                    <a:cubicBezTo>
                      <a:pt x="2596675" y="2233265"/>
                      <a:pt x="2598805" y="2230604"/>
                      <a:pt x="2601853" y="2230305"/>
                    </a:cubicBezTo>
                    <a:close/>
                    <a:moveTo>
                      <a:pt x="4051262" y="2224875"/>
                    </a:moveTo>
                    <a:lnTo>
                      <a:pt x="4051262" y="2308377"/>
                    </a:lnTo>
                    <a:cubicBezTo>
                      <a:pt x="4051262" y="2324663"/>
                      <a:pt x="4037944" y="2338020"/>
                      <a:pt x="4021632" y="2338020"/>
                    </a:cubicBezTo>
                    <a:lnTo>
                      <a:pt x="3723546" y="2338020"/>
                    </a:lnTo>
                    <a:cubicBezTo>
                      <a:pt x="3707234" y="2338020"/>
                      <a:pt x="3693916" y="2324663"/>
                      <a:pt x="3693916" y="2308377"/>
                    </a:cubicBezTo>
                    <a:lnTo>
                      <a:pt x="3693916" y="2224912"/>
                    </a:lnTo>
                    <a:cubicBezTo>
                      <a:pt x="3700649" y="2228086"/>
                      <a:pt x="3708144" y="2229946"/>
                      <a:pt x="3716068" y="2229946"/>
                    </a:cubicBezTo>
                    <a:lnTo>
                      <a:pt x="3841801" y="2229946"/>
                    </a:lnTo>
                    <a:cubicBezTo>
                      <a:pt x="3845854" y="2243183"/>
                      <a:pt x="3858030" y="2252905"/>
                      <a:pt x="3872589" y="2252905"/>
                    </a:cubicBezTo>
                    <a:cubicBezTo>
                      <a:pt x="3887148" y="2252905"/>
                      <a:pt x="3899324" y="2243183"/>
                      <a:pt x="3903377" y="2229946"/>
                    </a:cubicBezTo>
                    <a:lnTo>
                      <a:pt x="4029110" y="2229946"/>
                    </a:lnTo>
                    <a:cubicBezTo>
                      <a:pt x="4037034" y="2229946"/>
                      <a:pt x="4044529" y="2228086"/>
                      <a:pt x="4051262" y="2224875"/>
                    </a:cubicBezTo>
                    <a:close/>
                    <a:moveTo>
                      <a:pt x="1655706" y="2208516"/>
                    </a:moveTo>
                    <a:lnTo>
                      <a:pt x="1739133" y="2208516"/>
                    </a:lnTo>
                    <a:cubicBezTo>
                      <a:pt x="1739133" y="2231471"/>
                      <a:pt x="1720354" y="2250241"/>
                      <a:pt x="1697404" y="2250241"/>
                    </a:cubicBezTo>
                    <a:cubicBezTo>
                      <a:pt x="1694476" y="2250241"/>
                      <a:pt x="1691796" y="2250063"/>
                      <a:pt x="1689053" y="2249397"/>
                    </a:cubicBezTo>
                    <a:cubicBezTo>
                      <a:pt x="1675527" y="2246714"/>
                      <a:pt x="1664242" y="2237314"/>
                      <a:pt x="1659070" y="2224758"/>
                    </a:cubicBezTo>
                    <a:cubicBezTo>
                      <a:pt x="1656969" y="2219824"/>
                      <a:pt x="1655706" y="2214385"/>
                      <a:pt x="1655706" y="2208516"/>
                    </a:cubicBezTo>
                    <a:close/>
                    <a:moveTo>
                      <a:pt x="2329333" y="2203069"/>
                    </a:moveTo>
                    <a:lnTo>
                      <a:pt x="2392906" y="2204449"/>
                    </a:lnTo>
                    <a:cubicBezTo>
                      <a:pt x="2396732" y="2204534"/>
                      <a:pt x="2400282" y="2206466"/>
                      <a:pt x="2402404" y="2209644"/>
                    </a:cubicBezTo>
                    <a:cubicBezTo>
                      <a:pt x="2404541" y="2212822"/>
                      <a:pt x="2405000" y="2216833"/>
                      <a:pt x="2403655" y="2220412"/>
                    </a:cubicBezTo>
                    <a:cubicBezTo>
                      <a:pt x="2403655" y="2220412"/>
                      <a:pt x="2363166" y="2326614"/>
                      <a:pt x="2363166" y="2326614"/>
                    </a:cubicBezTo>
                    <a:cubicBezTo>
                      <a:pt x="2361768" y="2330260"/>
                      <a:pt x="2358667" y="2332977"/>
                      <a:pt x="2354861" y="2333876"/>
                    </a:cubicBezTo>
                    <a:cubicBezTo>
                      <a:pt x="2353970" y="2334089"/>
                      <a:pt x="2353063" y="2334198"/>
                      <a:pt x="2352150" y="2334198"/>
                    </a:cubicBezTo>
                    <a:cubicBezTo>
                      <a:pt x="2349252" y="2334198"/>
                      <a:pt x="2346411" y="2333110"/>
                      <a:pt x="2344201" y="2331105"/>
                    </a:cubicBezTo>
                    <a:lnTo>
                      <a:pt x="2297148" y="2288064"/>
                    </a:lnTo>
                    <a:cubicBezTo>
                      <a:pt x="2293614" y="2284831"/>
                      <a:pt x="2292399" y="2279763"/>
                      <a:pt x="2294052" y="2275266"/>
                    </a:cubicBezTo>
                    <a:lnTo>
                      <a:pt x="2318063" y="2210732"/>
                    </a:lnTo>
                    <a:cubicBezTo>
                      <a:pt x="2319814" y="2206041"/>
                      <a:pt x="2324360" y="2202942"/>
                      <a:pt x="2329333" y="2203069"/>
                    </a:cubicBezTo>
                    <a:close/>
                    <a:moveTo>
                      <a:pt x="4758275" y="2197059"/>
                    </a:moveTo>
                    <a:cubicBezTo>
                      <a:pt x="4753115" y="2197059"/>
                      <a:pt x="4748850" y="2201144"/>
                      <a:pt x="4748850" y="2206304"/>
                    </a:cubicBezTo>
                    <a:cubicBezTo>
                      <a:pt x="4748850" y="2206304"/>
                      <a:pt x="4748850" y="2431310"/>
                      <a:pt x="4748850" y="2431310"/>
                    </a:cubicBezTo>
                    <a:cubicBezTo>
                      <a:pt x="4748850" y="2436470"/>
                      <a:pt x="4753099" y="2440734"/>
                      <a:pt x="4758275" y="2440734"/>
                    </a:cubicBezTo>
                    <a:lnTo>
                      <a:pt x="4786563" y="2440734"/>
                    </a:lnTo>
                    <a:cubicBezTo>
                      <a:pt x="4791723" y="2440751"/>
                      <a:pt x="4795808" y="2436470"/>
                      <a:pt x="4795808" y="2431310"/>
                    </a:cubicBezTo>
                    <a:lnTo>
                      <a:pt x="4795808" y="2351360"/>
                    </a:lnTo>
                    <a:lnTo>
                      <a:pt x="4844410" y="2351360"/>
                    </a:lnTo>
                    <a:cubicBezTo>
                      <a:pt x="4886973" y="2351360"/>
                      <a:pt x="4921642" y="2316854"/>
                      <a:pt x="4921642" y="2274291"/>
                    </a:cubicBezTo>
                    <a:cubicBezTo>
                      <a:pt x="4921642" y="2231744"/>
                      <a:pt x="4886973" y="2197059"/>
                      <a:pt x="4844410" y="2197059"/>
                    </a:cubicBezTo>
                    <a:close/>
                    <a:moveTo>
                      <a:pt x="3874881" y="2192157"/>
                    </a:moveTo>
                    <a:cubicBezTo>
                      <a:pt x="3884968" y="2192157"/>
                      <a:pt x="3893121" y="2200292"/>
                      <a:pt x="3893121" y="2210395"/>
                    </a:cubicBezTo>
                    <a:lnTo>
                      <a:pt x="3893121" y="2218683"/>
                    </a:lnTo>
                    <a:cubicBezTo>
                      <a:pt x="3893121" y="2228739"/>
                      <a:pt x="3884968" y="2236923"/>
                      <a:pt x="3874881" y="2236923"/>
                    </a:cubicBezTo>
                    <a:cubicBezTo>
                      <a:pt x="3864795" y="2236923"/>
                      <a:pt x="3856591" y="2228739"/>
                      <a:pt x="3856591" y="2218683"/>
                    </a:cubicBezTo>
                    <a:lnTo>
                      <a:pt x="3856591" y="2210395"/>
                    </a:lnTo>
                    <a:cubicBezTo>
                      <a:pt x="3856591" y="2200292"/>
                      <a:pt x="3864795" y="2192157"/>
                      <a:pt x="3874881" y="2192157"/>
                    </a:cubicBezTo>
                    <a:close/>
                    <a:moveTo>
                      <a:pt x="1059189" y="2186704"/>
                    </a:moveTo>
                    <a:cubicBezTo>
                      <a:pt x="1084517" y="2186704"/>
                      <a:pt x="1084757" y="2209964"/>
                      <a:pt x="1084757" y="2211521"/>
                    </a:cubicBezTo>
                    <a:lnTo>
                      <a:pt x="1084757" y="2365388"/>
                    </a:lnTo>
                    <a:cubicBezTo>
                      <a:pt x="1084757" y="2376450"/>
                      <a:pt x="1069414" y="2389370"/>
                      <a:pt x="1058381" y="2389370"/>
                    </a:cubicBezTo>
                    <a:cubicBezTo>
                      <a:pt x="1047283" y="2389370"/>
                      <a:pt x="1033575" y="2376450"/>
                      <a:pt x="1033575" y="2365388"/>
                    </a:cubicBezTo>
                    <a:lnTo>
                      <a:pt x="1033575" y="2211521"/>
                    </a:lnTo>
                    <a:cubicBezTo>
                      <a:pt x="1033575" y="2192503"/>
                      <a:pt x="1048107" y="2186704"/>
                      <a:pt x="1059189" y="2186704"/>
                    </a:cubicBezTo>
                    <a:close/>
                    <a:moveTo>
                      <a:pt x="162810" y="2181251"/>
                    </a:moveTo>
                    <a:lnTo>
                      <a:pt x="354038" y="2181251"/>
                    </a:lnTo>
                    <a:cubicBezTo>
                      <a:pt x="339076" y="2219418"/>
                      <a:pt x="301999" y="2246716"/>
                      <a:pt x="258415" y="2246716"/>
                    </a:cubicBezTo>
                    <a:cubicBezTo>
                      <a:pt x="214831" y="2246716"/>
                      <a:pt x="177745" y="2219418"/>
                      <a:pt x="162810" y="2181251"/>
                    </a:cubicBezTo>
                    <a:close/>
                    <a:moveTo>
                      <a:pt x="4706776" y="2143021"/>
                    </a:moveTo>
                    <a:lnTo>
                      <a:pt x="4963716" y="2143021"/>
                    </a:lnTo>
                    <a:cubicBezTo>
                      <a:pt x="4989824" y="2143021"/>
                      <a:pt x="5011032" y="2164408"/>
                      <a:pt x="5011032" y="2190532"/>
                    </a:cubicBezTo>
                    <a:lnTo>
                      <a:pt x="5011032" y="2447277"/>
                    </a:lnTo>
                    <a:cubicBezTo>
                      <a:pt x="5011032" y="2473385"/>
                      <a:pt x="4989824" y="2494593"/>
                      <a:pt x="4963716" y="2494593"/>
                    </a:cubicBezTo>
                    <a:lnTo>
                      <a:pt x="4706776" y="2494593"/>
                    </a:lnTo>
                    <a:cubicBezTo>
                      <a:pt x="4680668" y="2494593"/>
                      <a:pt x="4659460" y="2473385"/>
                      <a:pt x="4659460" y="2447277"/>
                    </a:cubicBezTo>
                    <a:lnTo>
                      <a:pt x="4659460" y="2190532"/>
                    </a:lnTo>
                    <a:cubicBezTo>
                      <a:pt x="4659460" y="2164408"/>
                      <a:pt x="4680668" y="2143021"/>
                      <a:pt x="4706776" y="2143021"/>
                    </a:cubicBezTo>
                    <a:close/>
                    <a:moveTo>
                      <a:pt x="2747149" y="2113557"/>
                    </a:moveTo>
                    <a:cubicBezTo>
                      <a:pt x="2736368" y="2113557"/>
                      <a:pt x="2727677" y="2122260"/>
                      <a:pt x="2727677" y="2133040"/>
                    </a:cubicBezTo>
                    <a:cubicBezTo>
                      <a:pt x="2727677" y="2143748"/>
                      <a:pt x="2736368" y="2152524"/>
                      <a:pt x="2747149" y="2152524"/>
                    </a:cubicBezTo>
                    <a:cubicBezTo>
                      <a:pt x="2757926" y="2152524"/>
                      <a:pt x="2766649" y="2143748"/>
                      <a:pt x="2766649" y="2133040"/>
                    </a:cubicBezTo>
                    <a:cubicBezTo>
                      <a:pt x="2766649" y="2122260"/>
                      <a:pt x="2757926" y="2113557"/>
                      <a:pt x="2747149" y="2113557"/>
                    </a:cubicBezTo>
                    <a:close/>
                    <a:moveTo>
                      <a:pt x="2545318" y="2113557"/>
                    </a:moveTo>
                    <a:cubicBezTo>
                      <a:pt x="2534608" y="2113557"/>
                      <a:pt x="2525849" y="2122260"/>
                      <a:pt x="2525849" y="2133040"/>
                    </a:cubicBezTo>
                    <a:cubicBezTo>
                      <a:pt x="2525849" y="2143748"/>
                      <a:pt x="2534608" y="2152524"/>
                      <a:pt x="2545318" y="2152524"/>
                    </a:cubicBezTo>
                    <a:cubicBezTo>
                      <a:pt x="2556097" y="2152524"/>
                      <a:pt x="2564802" y="2143748"/>
                      <a:pt x="2564802" y="2133040"/>
                    </a:cubicBezTo>
                    <a:cubicBezTo>
                      <a:pt x="2564802" y="2122260"/>
                      <a:pt x="2556097" y="2113557"/>
                      <a:pt x="2545318" y="2113557"/>
                    </a:cubicBezTo>
                    <a:close/>
                    <a:moveTo>
                      <a:pt x="2747149" y="2094001"/>
                    </a:moveTo>
                    <a:cubicBezTo>
                      <a:pt x="2768721" y="2094001"/>
                      <a:pt x="2786135" y="2111487"/>
                      <a:pt x="2786135" y="2133040"/>
                    </a:cubicBezTo>
                    <a:cubicBezTo>
                      <a:pt x="2786135" y="2154528"/>
                      <a:pt x="2768721" y="2172007"/>
                      <a:pt x="2747149" y="2172007"/>
                    </a:cubicBezTo>
                    <a:cubicBezTo>
                      <a:pt x="2725613" y="2172007"/>
                      <a:pt x="2708177" y="2154528"/>
                      <a:pt x="2708177" y="2133040"/>
                    </a:cubicBezTo>
                    <a:cubicBezTo>
                      <a:pt x="2708177" y="2111487"/>
                      <a:pt x="2725613" y="2094001"/>
                      <a:pt x="2747149" y="2094001"/>
                    </a:cubicBezTo>
                    <a:close/>
                    <a:moveTo>
                      <a:pt x="2545318" y="2094001"/>
                    </a:moveTo>
                    <a:cubicBezTo>
                      <a:pt x="2566890" y="2094001"/>
                      <a:pt x="2584369" y="2111487"/>
                      <a:pt x="2584369" y="2133040"/>
                    </a:cubicBezTo>
                    <a:cubicBezTo>
                      <a:pt x="2584369" y="2154528"/>
                      <a:pt x="2566875" y="2172007"/>
                      <a:pt x="2545318" y="2172007"/>
                    </a:cubicBezTo>
                    <a:cubicBezTo>
                      <a:pt x="2523830" y="2172007"/>
                      <a:pt x="2506347" y="2154528"/>
                      <a:pt x="2506347" y="2133040"/>
                    </a:cubicBezTo>
                    <a:cubicBezTo>
                      <a:pt x="2506347" y="2111487"/>
                      <a:pt x="2523830" y="2094001"/>
                      <a:pt x="2545318" y="2094001"/>
                    </a:cubicBezTo>
                    <a:close/>
                    <a:moveTo>
                      <a:pt x="320493" y="2072189"/>
                    </a:moveTo>
                    <a:cubicBezTo>
                      <a:pt x="336054" y="2072189"/>
                      <a:pt x="348585" y="2084742"/>
                      <a:pt x="348585" y="2100278"/>
                    </a:cubicBezTo>
                    <a:cubicBezTo>
                      <a:pt x="348585" y="2115795"/>
                      <a:pt x="336054" y="2128351"/>
                      <a:pt x="320493" y="2128351"/>
                    </a:cubicBezTo>
                    <a:cubicBezTo>
                      <a:pt x="304996" y="2128351"/>
                      <a:pt x="292418" y="2115795"/>
                      <a:pt x="292418" y="2100278"/>
                    </a:cubicBezTo>
                    <a:cubicBezTo>
                      <a:pt x="292418" y="2084750"/>
                      <a:pt x="304996" y="2072189"/>
                      <a:pt x="320493" y="2072189"/>
                    </a:cubicBezTo>
                    <a:close/>
                    <a:moveTo>
                      <a:pt x="189635" y="2072189"/>
                    </a:moveTo>
                    <a:cubicBezTo>
                      <a:pt x="205147" y="2072189"/>
                      <a:pt x="217710" y="2084742"/>
                      <a:pt x="217710" y="2100278"/>
                    </a:cubicBezTo>
                    <a:cubicBezTo>
                      <a:pt x="217710" y="2115795"/>
                      <a:pt x="205147" y="2128351"/>
                      <a:pt x="189635" y="2128351"/>
                    </a:cubicBezTo>
                    <a:cubicBezTo>
                      <a:pt x="174075" y="2128351"/>
                      <a:pt x="161565" y="2115795"/>
                      <a:pt x="161565" y="2100278"/>
                    </a:cubicBezTo>
                    <a:cubicBezTo>
                      <a:pt x="161565" y="2084742"/>
                      <a:pt x="174075" y="2072189"/>
                      <a:pt x="189635" y="2072189"/>
                    </a:cubicBezTo>
                    <a:close/>
                    <a:moveTo>
                      <a:pt x="2451763" y="2066736"/>
                    </a:moveTo>
                    <a:lnTo>
                      <a:pt x="2840666" y="2066736"/>
                    </a:lnTo>
                    <a:lnTo>
                      <a:pt x="2840666" y="2108350"/>
                    </a:lnTo>
                    <a:cubicBezTo>
                      <a:pt x="2840666" y="2118734"/>
                      <a:pt x="2832240" y="2127147"/>
                      <a:pt x="2821869" y="2127147"/>
                    </a:cubicBezTo>
                    <a:lnTo>
                      <a:pt x="2796680" y="2127147"/>
                    </a:lnTo>
                    <a:cubicBezTo>
                      <a:pt x="2793043" y="2102211"/>
                      <a:pt x="2771546" y="2083036"/>
                      <a:pt x="2745691" y="2083036"/>
                    </a:cubicBezTo>
                    <a:cubicBezTo>
                      <a:pt x="2719800" y="2083036"/>
                      <a:pt x="2698302" y="2102211"/>
                      <a:pt x="2694665" y="2127147"/>
                    </a:cubicBezTo>
                    <a:lnTo>
                      <a:pt x="2592740" y="2127147"/>
                    </a:lnTo>
                    <a:cubicBezTo>
                      <a:pt x="2589103" y="2102211"/>
                      <a:pt x="2567606" y="2083036"/>
                      <a:pt x="2541715" y="2083036"/>
                    </a:cubicBezTo>
                    <a:cubicBezTo>
                      <a:pt x="2515788" y="2083036"/>
                      <a:pt x="2494308" y="2102211"/>
                      <a:pt x="2490671" y="2127147"/>
                    </a:cubicBezTo>
                    <a:lnTo>
                      <a:pt x="2470560" y="2127147"/>
                    </a:lnTo>
                    <a:cubicBezTo>
                      <a:pt x="2460171" y="2127147"/>
                      <a:pt x="2451763" y="2118734"/>
                      <a:pt x="2451763" y="2108350"/>
                    </a:cubicBezTo>
                    <a:close/>
                    <a:moveTo>
                      <a:pt x="3847484" y="2061763"/>
                    </a:moveTo>
                    <a:cubicBezTo>
                      <a:pt x="3834832" y="2061763"/>
                      <a:pt x="3824180" y="2070101"/>
                      <a:pt x="3820388" y="2081481"/>
                    </a:cubicBezTo>
                    <a:cubicBezTo>
                      <a:pt x="3820388" y="2081481"/>
                      <a:pt x="3931634" y="2081481"/>
                      <a:pt x="3931634" y="2081481"/>
                    </a:cubicBezTo>
                    <a:cubicBezTo>
                      <a:pt x="3927825" y="2070101"/>
                      <a:pt x="3917190" y="2061763"/>
                      <a:pt x="3904521" y="2061763"/>
                    </a:cubicBezTo>
                    <a:close/>
                    <a:moveTo>
                      <a:pt x="3847484" y="2034016"/>
                    </a:moveTo>
                    <a:lnTo>
                      <a:pt x="3904521" y="2034016"/>
                    </a:lnTo>
                    <a:cubicBezTo>
                      <a:pt x="3932582" y="2034016"/>
                      <a:pt x="3955869" y="2054642"/>
                      <a:pt x="3960161" y="2081481"/>
                    </a:cubicBezTo>
                    <a:lnTo>
                      <a:pt x="4031315" y="2081481"/>
                    </a:lnTo>
                    <a:cubicBezTo>
                      <a:pt x="4048276" y="2081481"/>
                      <a:pt x="4062169" y="2094848"/>
                      <a:pt x="4062169" y="2111159"/>
                    </a:cubicBezTo>
                    <a:lnTo>
                      <a:pt x="4062169" y="2179533"/>
                    </a:lnTo>
                    <a:cubicBezTo>
                      <a:pt x="4062169" y="2195942"/>
                      <a:pt x="4048879" y="2209211"/>
                      <a:pt x="4032539" y="2209211"/>
                    </a:cubicBezTo>
                    <a:lnTo>
                      <a:pt x="3908175" y="2209211"/>
                    </a:lnTo>
                    <a:cubicBezTo>
                      <a:pt x="3907779" y="2200670"/>
                      <a:pt x="3904090" y="2193006"/>
                      <a:pt x="3898315" y="2187474"/>
                    </a:cubicBezTo>
                    <a:cubicBezTo>
                      <a:pt x="3898160" y="2187279"/>
                      <a:pt x="3897936" y="2187174"/>
                      <a:pt x="3897764" y="2186995"/>
                    </a:cubicBezTo>
                    <a:cubicBezTo>
                      <a:pt x="3896454" y="2185852"/>
                      <a:pt x="3895127" y="2184732"/>
                      <a:pt x="3893662" y="2183743"/>
                    </a:cubicBezTo>
                    <a:cubicBezTo>
                      <a:pt x="3893162" y="2183410"/>
                      <a:pt x="3892541" y="2183159"/>
                      <a:pt x="3892007" y="2182843"/>
                    </a:cubicBezTo>
                    <a:cubicBezTo>
                      <a:pt x="3890800" y="2182153"/>
                      <a:pt x="3889611" y="2181423"/>
                      <a:pt x="3888353" y="2180928"/>
                    </a:cubicBezTo>
                    <a:cubicBezTo>
                      <a:pt x="3887336" y="2180491"/>
                      <a:pt x="3886215" y="2180223"/>
                      <a:pt x="3885181" y="2179947"/>
                    </a:cubicBezTo>
                    <a:cubicBezTo>
                      <a:pt x="3884233" y="2179655"/>
                      <a:pt x="3883354" y="2179290"/>
                      <a:pt x="3882423" y="2179104"/>
                    </a:cubicBezTo>
                    <a:cubicBezTo>
                      <a:pt x="3880355" y="2178674"/>
                      <a:pt x="3878183" y="2178463"/>
                      <a:pt x="3876011" y="2178463"/>
                    </a:cubicBezTo>
                    <a:cubicBezTo>
                      <a:pt x="3873787" y="2178463"/>
                      <a:pt x="3871667" y="2178674"/>
                      <a:pt x="3869599" y="2179104"/>
                    </a:cubicBezTo>
                    <a:cubicBezTo>
                      <a:pt x="3868651" y="2179290"/>
                      <a:pt x="3867789" y="2179655"/>
                      <a:pt x="3866841" y="2179947"/>
                    </a:cubicBezTo>
                    <a:cubicBezTo>
                      <a:pt x="3865807" y="2180223"/>
                      <a:pt x="3864704" y="2180491"/>
                      <a:pt x="3863704" y="2180928"/>
                    </a:cubicBezTo>
                    <a:cubicBezTo>
                      <a:pt x="3862394" y="2181456"/>
                      <a:pt x="3861222" y="2182153"/>
                      <a:pt x="3860015" y="2182843"/>
                    </a:cubicBezTo>
                    <a:cubicBezTo>
                      <a:pt x="3859481" y="2183159"/>
                      <a:pt x="3858895" y="2183410"/>
                      <a:pt x="3858360" y="2183743"/>
                    </a:cubicBezTo>
                    <a:cubicBezTo>
                      <a:pt x="3856913" y="2184732"/>
                      <a:pt x="3855551" y="2185852"/>
                      <a:pt x="3854293" y="2186995"/>
                    </a:cubicBezTo>
                    <a:cubicBezTo>
                      <a:pt x="3854120" y="2187174"/>
                      <a:pt x="3853896" y="2187279"/>
                      <a:pt x="3853707" y="2187474"/>
                    </a:cubicBezTo>
                    <a:cubicBezTo>
                      <a:pt x="3847932" y="2193038"/>
                      <a:pt x="3844278" y="2200670"/>
                      <a:pt x="3843847" y="2209211"/>
                    </a:cubicBezTo>
                    <a:lnTo>
                      <a:pt x="3719483" y="2209211"/>
                    </a:lnTo>
                    <a:cubicBezTo>
                      <a:pt x="3703125" y="2209211"/>
                      <a:pt x="3689853" y="2195942"/>
                      <a:pt x="3689853" y="2179582"/>
                    </a:cubicBezTo>
                    <a:cubicBezTo>
                      <a:pt x="3689853" y="2179582"/>
                      <a:pt x="3689853" y="2111159"/>
                      <a:pt x="3689853" y="2111159"/>
                    </a:cubicBezTo>
                    <a:cubicBezTo>
                      <a:pt x="3689853" y="2094848"/>
                      <a:pt x="3703729" y="2081481"/>
                      <a:pt x="3720707" y="2081481"/>
                    </a:cubicBezTo>
                    <a:lnTo>
                      <a:pt x="3791861" y="2081481"/>
                    </a:lnTo>
                    <a:cubicBezTo>
                      <a:pt x="3796153" y="2054642"/>
                      <a:pt x="3819457" y="2034016"/>
                      <a:pt x="3847484" y="2034016"/>
                    </a:cubicBezTo>
                    <a:close/>
                    <a:moveTo>
                      <a:pt x="741231" y="2017657"/>
                    </a:moveTo>
                    <a:lnTo>
                      <a:pt x="932070" y="2152382"/>
                    </a:lnTo>
                    <a:lnTo>
                      <a:pt x="741231" y="2287081"/>
                    </a:lnTo>
                    <a:cubicBezTo>
                      <a:pt x="741231" y="2287081"/>
                      <a:pt x="741231" y="2017657"/>
                      <a:pt x="741231" y="2017657"/>
                    </a:cubicBezTo>
                    <a:close/>
                    <a:moveTo>
                      <a:pt x="539465" y="2017657"/>
                    </a:moveTo>
                    <a:lnTo>
                      <a:pt x="730304" y="2152382"/>
                    </a:lnTo>
                    <a:lnTo>
                      <a:pt x="539465" y="2287081"/>
                    </a:lnTo>
                    <a:cubicBezTo>
                      <a:pt x="539465" y="2287081"/>
                      <a:pt x="539465" y="2017657"/>
                      <a:pt x="539465" y="2017657"/>
                    </a:cubicBezTo>
                    <a:close/>
                    <a:moveTo>
                      <a:pt x="259647" y="1995089"/>
                    </a:moveTo>
                    <a:cubicBezTo>
                      <a:pt x="176961" y="1995089"/>
                      <a:pt x="109936" y="2062042"/>
                      <a:pt x="109936" y="2144758"/>
                    </a:cubicBezTo>
                    <a:cubicBezTo>
                      <a:pt x="109936" y="2227474"/>
                      <a:pt x="176961" y="2294426"/>
                      <a:pt x="259647" y="2294426"/>
                    </a:cubicBezTo>
                    <a:cubicBezTo>
                      <a:pt x="342332" y="2294426"/>
                      <a:pt x="409340" y="2227474"/>
                      <a:pt x="409340" y="2144758"/>
                    </a:cubicBezTo>
                    <a:cubicBezTo>
                      <a:pt x="409340" y="2062042"/>
                      <a:pt x="342332" y="1995089"/>
                      <a:pt x="259647" y="1995089"/>
                    </a:cubicBezTo>
                    <a:close/>
                    <a:moveTo>
                      <a:pt x="3382073" y="1968774"/>
                    </a:moveTo>
                    <a:cubicBezTo>
                      <a:pt x="3392253" y="1969477"/>
                      <a:pt x="3402290" y="1972189"/>
                      <a:pt x="3411695" y="1976872"/>
                    </a:cubicBezTo>
                    <a:cubicBezTo>
                      <a:pt x="3444748" y="1993309"/>
                      <a:pt x="3461861" y="2029978"/>
                      <a:pt x="3453068" y="2065944"/>
                    </a:cubicBezTo>
                    <a:lnTo>
                      <a:pt x="3434812" y="2061502"/>
                    </a:lnTo>
                    <a:cubicBezTo>
                      <a:pt x="3441534" y="2034106"/>
                      <a:pt x="3428629" y="2006322"/>
                      <a:pt x="3403326" y="1993661"/>
                    </a:cubicBezTo>
                    <a:cubicBezTo>
                      <a:pt x="3389002" y="1986571"/>
                      <a:pt x="3372737" y="1985424"/>
                      <a:pt x="3357581" y="1990551"/>
                    </a:cubicBezTo>
                    <a:cubicBezTo>
                      <a:pt x="3342441" y="1995623"/>
                      <a:pt x="3330107" y="2006303"/>
                      <a:pt x="3323027" y="2020631"/>
                    </a:cubicBezTo>
                    <a:cubicBezTo>
                      <a:pt x="3315898" y="2034958"/>
                      <a:pt x="3314756" y="2051191"/>
                      <a:pt x="3319862" y="2066370"/>
                    </a:cubicBezTo>
                    <a:cubicBezTo>
                      <a:pt x="3322407" y="2073941"/>
                      <a:pt x="3326322" y="2080771"/>
                      <a:pt x="3331396" y="2086620"/>
                    </a:cubicBezTo>
                    <a:cubicBezTo>
                      <a:pt x="3331690" y="2081549"/>
                      <a:pt x="3336796" y="2078254"/>
                      <a:pt x="3346144" y="2078254"/>
                    </a:cubicBezTo>
                    <a:lnTo>
                      <a:pt x="3536222" y="2078254"/>
                    </a:lnTo>
                    <a:lnTo>
                      <a:pt x="3574528" y="2041436"/>
                    </a:lnTo>
                    <a:cubicBezTo>
                      <a:pt x="3580026" y="2036142"/>
                      <a:pt x="3589586" y="2032292"/>
                      <a:pt x="3597221" y="2032292"/>
                    </a:cubicBezTo>
                    <a:lnTo>
                      <a:pt x="3638317" y="2032292"/>
                    </a:lnTo>
                    <a:cubicBezTo>
                      <a:pt x="3643521" y="2032292"/>
                      <a:pt x="3647730" y="2036476"/>
                      <a:pt x="3647730" y="2041696"/>
                    </a:cubicBezTo>
                    <a:cubicBezTo>
                      <a:pt x="3647730" y="2046897"/>
                      <a:pt x="3643521" y="2051080"/>
                      <a:pt x="3638317" y="2051080"/>
                    </a:cubicBezTo>
                    <a:lnTo>
                      <a:pt x="3597221" y="2051080"/>
                    </a:lnTo>
                    <a:cubicBezTo>
                      <a:pt x="3594431" y="2051080"/>
                      <a:pt x="3589570" y="2053061"/>
                      <a:pt x="3587547" y="2054968"/>
                    </a:cubicBezTo>
                    <a:lnTo>
                      <a:pt x="3563304" y="2078254"/>
                    </a:lnTo>
                    <a:lnTo>
                      <a:pt x="3590597" y="2078254"/>
                    </a:lnTo>
                    <a:cubicBezTo>
                      <a:pt x="3606161" y="2078254"/>
                      <a:pt x="3609538" y="2086843"/>
                      <a:pt x="3598102" y="2097394"/>
                    </a:cubicBezTo>
                    <a:lnTo>
                      <a:pt x="3479595" y="2207087"/>
                    </a:lnTo>
                    <a:cubicBezTo>
                      <a:pt x="3476805" y="2209678"/>
                      <a:pt x="3473591" y="2211585"/>
                      <a:pt x="3470198" y="2212843"/>
                    </a:cubicBezTo>
                    <a:lnTo>
                      <a:pt x="3470198" y="2338215"/>
                    </a:lnTo>
                    <a:lnTo>
                      <a:pt x="3525193" y="2362131"/>
                    </a:lnTo>
                    <a:cubicBezTo>
                      <a:pt x="3529908" y="2364185"/>
                      <a:pt x="3529566" y="2365851"/>
                      <a:pt x="3524378" y="2365851"/>
                    </a:cubicBezTo>
                    <a:lnTo>
                      <a:pt x="3394010" y="2365851"/>
                    </a:lnTo>
                    <a:cubicBezTo>
                      <a:pt x="3388790" y="2365851"/>
                      <a:pt x="3388480" y="2364222"/>
                      <a:pt x="3393276" y="2362260"/>
                    </a:cubicBezTo>
                    <a:lnTo>
                      <a:pt x="3451420" y="2338067"/>
                    </a:lnTo>
                    <a:lnTo>
                      <a:pt x="3451420" y="2213158"/>
                    </a:lnTo>
                    <a:cubicBezTo>
                      <a:pt x="3446999" y="2211770"/>
                      <a:pt x="3442855" y="2209364"/>
                      <a:pt x="3439462" y="2205809"/>
                    </a:cubicBezTo>
                    <a:lnTo>
                      <a:pt x="3362149" y="2124604"/>
                    </a:lnTo>
                    <a:cubicBezTo>
                      <a:pt x="3355036" y="2123290"/>
                      <a:pt x="3348135" y="2121031"/>
                      <a:pt x="3341593" y="2117755"/>
                    </a:cubicBezTo>
                    <a:cubicBezTo>
                      <a:pt x="3340141" y="2117033"/>
                      <a:pt x="3338705" y="2116256"/>
                      <a:pt x="3337286" y="2115460"/>
                    </a:cubicBezTo>
                    <a:cubicBezTo>
                      <a:pt x="3320629" y="2105853"/>
                      <a:pt x="3308230" y="2090711"/>
                      <a:pt x="3302047" y="2072367"/>
                    </a:cubicBezTo>
                    <a:cubicBezTo>
                      <a:pt x="3295342" y="2052432"/>
                      <a:pt x="3296826" y="2031089"/>
                      <a:pt x="3306191" y="2012264"/>
                    </a:cubicBezTo>
                    <a:cubicBezTo>
                      <a:pt x="3315555" y="1993457"/>
                      <a:pt x="3331657" y="1979408"/>
                      <a:pt x="3351593" y="1972725"/>
                    </a:cubicBezTo>
                    <a:cubicBezTo>
                      <a:pt x="3361570" y="1969375"/>
                      <a:pt x="3371893" y="1968070"/>
                      <a:pt x="3382073" y="1968774"/>
                    </a:cubicBezTo>
                    <a:close/>
                    <a:moveTo>
                      <a:pt x="4347569" y="1968579"/>
                    </a:moveTo>
                    <a:cubicBezTo>
                      <a:pt x="4406697" y="1968579"/>
                      <a:pt x="4454793" y="2016724"/>
                      <a:pt x="4454793" y="2075852"/>
                    </a:cubicBezTo>
                    <a:cubicBezTo>
                      <a:pt x="4454793" y="2134991"/>
                      <a:pt x="4406697" y="2183086"/>
                      <a:pt x="4347569" y="2183086"/>
                    </a:cubicBezTo>
                    <a:cubicBezTo>
                      <a:pt x="4288422" y="2183086"/>
                      <a:pt x="4240326" y="2134991"/>
                      <a:pt x="4240326" y="2075852"/>
                    </a:cubicBezTo>
                    <a:cubicBezTo>
                      <a:pt x="4240326" y="2016724"/>
                      <a:pt x="4288422" y="1968579"/>
                      <a:pt x="4347569" y="1968579"/>
                    </a:cubicBezTo>
                    <a:close/>
                    <a:moveTo>
                      <a:pt x="2553026" y="1963044"/>
                    </a:moveTo>
                    <a:cubicBezTo>
                      <a:pt x="2552270" y="1963044"/>
                      <a:pt x="2551513" y="1963352"/>
                      <a:pt x="2550951" y="1963854"/>
                    </a:cubicBezTo>
                    <a:lnTo>
                      <a:pt x="2493125" y="2019060"/>
                    </a:lnTo>
                    <a:cubicBezTo>
                      <a:pt x="2491180" y="2020881"/>
                      <a:pt x="2492498" y="2024134"/>
                      <a:pt x="2495136" y="2024134"/>
                    </a:cubicBezTo>
                    <a:lnTo>
                      <a:pt x="2566623" y="2024134"/>
                    </a:lnTo>
                    <a:cubicBezTo>
                      <a:pt x="2568245" y="2024134"/>
                      <a:pt x="2569563" y="2022822"/>
                      <a:pt x="2569563" y="2021189"/>
                    </a:cubicBezTo>
                    <a:cubicBezTo>
                      <a:pt x="2569563" y="2021189"/>
                      <a:pt x="2569563" y="1965990"/>
                      <a:pt x="2569563" y="1965990"/>
                    </a:cubicBezTo>
                    <a:cubicBezTo>
                      <a:pt x="2569563" y="1964363"/>
                      <a:pt x="2568245" y="1963044"/>
                      <a:pt x="2566623" y="1963044"/>
                    </a:cubicBezTo>
                    <a:close/>
                    <a:moveTo>
                      <a:pt x="4346040" y="1962121"/>
                    </a:moveTo>
                    <a:cubicBezTo>
                      <a:pt x="4282507" y="1962121"/>
                      <a:pt x="4230865" y="2013813"/>
                      <a:pt x="4230865" y="2077345"/>
                    </a:cubicBezTo>
                    <a:cubicBezTo>
                      <a:pt x="4230865" y="2140864"/>
                      <a:pt x="4282507" y="2192531"/>
                      <a:pt x="4346040" y="2192531"/>
                    </a:cubicBezTo>
                    <a:cubicBezTo>
                      <a:pt x="4409547" y="2192531"/>
                      <a:pt x="4461214" y="2140864"/>
                      <a:pt x="4461214" y="2077345"/>
                    </a:cubicBezTo>
                    <a:cubicBezTo>
                      <a:pt x="4461214" y="2013813"/>
                      <a:pt x="4409547" y="1962121"/>
                      <a:pt x="4346040" y="1962121"/>
                    </a:cubicBezTo>
                    <a:close/>
                    <a:moveTo>
                      <a:pt x="3078723" y="1957672"/>
                    </a:moveTo>
                    <a:lnTo>
                      <a:pt x="3136598" y="1957672"/>
                    </a:lnTo>
                    <a:lnTo>
                      <a:pt x="3136598" y="2011093"/>
                    </a:lnTo>
                    <a:cubicBezTo>
                      <a:pt x="3201314" y="2018846"/>
                      <a:pt x="3243218" y="2055431"/>
                      <a:pt x="3262248" y="2120906"/>
                    </a:cubicBezTo>
                    <a:lnTo>
                      <a:pt x="3182503" y="2153615"/>
                    </a:lnTo>
                    <a:cubicBezTo>
                      <a:pt x="3166924" y="2108739"/>
                      <a:pt x="3142952" y="2086301"/>
                      <a:pt x="3110336" y="2086301"/>
                    </a:cubicBezTo>
                    <a:cubicBezTo>
                      <a:pt x="3093988" y="2086301"/>
                      <a:pt x="3080873" y="2091309"/>
                      <a:pt x="3071005" y="2101354"/>
                    </a:cubicBezTo>
                    <a:cubicBezTo>
                      <a:pt x="3061121" y="2111371"/>
                      <a:pt x="3056148" y="2123537"/>
                      <a:pt x="3056148" y="2137798"/>
                    </a:cubicBezTo>
                    <a:cubicBezTo>
                      <a:pt x="3056148" y="2152370"/>
                      <a:pt x="3060933" y="2163547"/>
                      <a:pt x="3070487" y="2171356"/>
                    </a:cubicBezTo>
                    <a:cubicBezTo>
                      <a:pt x="3079978" y="2179109"/>
                      <a:pt x="3100436" y="2188701"/>
                      <a:pt x="3131704" y="2200245"/>
                    </a:cubicBezTo>
                    <a:cubicBezTo>
                      <a:pt x="3166109" y="2212752"/>
                      <a:pt x="3193077" y="2224635"/>
                      <a:pt x="3212578" y="2235812"/>
                    </a:cubicBezTo>
                    <a:cubicBezTo>
                      <a:pt x="3232173" y="2246960"/>
                      <a:pt x="3247736" y="2262409"/>
                      <a:pt x="3259456" y="2282046"/>
                    </a:cubicBezTo>
                    <a:cubicBezTo>
                      <a:pt x="3271065" y="2301739"/>
                      <a:pt x="3276917" y="2324715"/>
                      <a:pt x="3276917" y="2351058"/>
                    </a:cubicBezTo>
                    <a:cubicBezTo>
                      <a:pt x="3276917" y="2391463"/>
                      <a:pt x="3264853" y="2425134"/>
                      <a:pt x="3240833" y="2452042"/>
                    </a:cubicBezTo>
                    <a:cubicBezTo>
                      <a:pt x="3216767" y="2479008"/>
                      <a:pt x="3182033" y="2494881"/>
                      <a:pt x="3136598" y="2499663"/>
                    </a:cubicBezTo>
                    <a:lnTo>
                      <a:pt x="3136598" y="2568844"/>
                    </a:lnTo>
                    <a:cubicBezTo>
                      <a:pt x="3136598" y="2568844"/>
                      <a:pt x="3078723" y="2568844"/>
                      <a:pt x="3078723" y="2568844"/>
                    </a:cubicBezTo>
                    <a:lnTo>
                      <a:pt x="3078723" y="2500031"/>
                    </a:lnTo>
                    <a:cubicBezTo>
                      <a:pt x="3002963" y="2492278"/>
                      <a:pt x="2956117" y="2448223"/>
                      <a:pt x="2938044" y="2368006"/>
                    </a:cubicBezTo>
                    <a:lnTo>
                      <a:pt x="3027563" y="2344663"/>
                    </a:lnTo>
                    <a:cubicBezTo>
                      <a:pt x="3035878" y="2395085"/>
                      <a:pt x="3063317" y="2420295"/>
                      <a:pt x="3109897" y="2420295"/>
                    </a:cubicBezTo>
                    <a:cubicBezTo>
                      <a:pt x="3131704" y="2420295"/>
                      <a:pt x="3147831" y="2414919"/>
                      <a:pt x="3158107" y="2404111"/>
                    </a:cubicBezTo>
                    <a:cubicBezTo>
                      <a:pt x="3168352" y="2393302"/>
                      <a:pt x="3173498" y="2380315"/>
                      <a:pt x="3173498" y="2365035"/>
                    </a:cubicBezTo>
                    <a:cubicBezTo>
                      <a:pt x="3173498" y="2349190"/>
                      <a:pt x="3168352" y="2337193"/>
                      <a:pt x="3158107" y="2329101"/>
                    </a:cubicBezTo>
                    <a:cubicBezTo>
                      <a:pt x="3147831" y="2320923"/>
                      <a:pt x="3124973" y="2310596"/>
                      <a:pt x="3089580" y="2298061"/>
                    </a:cubicBezTo>
                    <a:cubicBezTo>
                      <a:pt x="3057763" y="2286998"/>
                      <a:pt x="3032866" y="2276161"/>
                      <a:pt x="3014965" y="2265267"/>
                    </a:cubicBezTo>
                    <a:cubicBezTo>
                      <a:pt x="2997064" y="2254515"/>
                      <a:pt x="2982505" y="2239462"/>
                      <a:pt x="2971335" y="2220023"/>
                    </a:cubicBezTo>
                    <a:cubicBezTo>
                      <a:pt x="2960165" y="2200585"/>
                      <a:pt x="2954564" y="2177892"/>
                      <a:pt x="2954564" y="2152115"/>
                    </a:cubicBezTo>
                    <a:cubicBezTo>
                      <a:pt x="2954564" y="2118275"/>
                      <a:pt x="2964589" y="2087773"/>
                      <a:pt x="2984529" y="2060666"/>
                    </a:cubicBezTo>
                    <a:cubicBezTo>
                      <a:pt x="3004485" y="2033644"/>
                      <a:pt x="3035878" y="2017120"/>
                      <a:pt x="3078723" y="2011093"/>
                    </a:cubicBezTo>
                    <a:close/>
                    <a:moveTo>
                      <a:pt x="259803" y="1957672"/>
                    </a:moveTo>
                    <a:cubicBezTo>
                      <a:pt x="363069" y="1957672"/>
                      <a:pt x="446742" y="2041480"/>
                      <a:pt x="446742" y="2144758"/>
                    </a:cubicBezTo>
                    <a:cubicBezTo>
                      <a:pt x="446742" y="2248001"/>
                      <a:pt x="363069" y="2331843"/>
                      <a:pt x="259803" y="2331843"/>
                    </a:cubicBezTo>
                    <a:cubicBezTo>
                      <a:pt x="156363" y="2331843"/>
                      <a:pt x="72552" y="2248001"/>
                      <a:pt x="72552" y="2144758"/>
                    </a:cubicBezTo>
                    <a:cubicBezTo>
                      <a:pt x="72552" y="2041480"/>
                      <a:pt x="156363" y="1957672"/>
                      <a:pt x="259803" y="1957672"/>
                    </a:cubicBezTo>
                    <a:close/>
                    <a:moveTo>
                      <a:pt x="4346040" y="1941313"/>
                    </a:moveTo>
                    <a:cubicBezTo>
                      <a:pt x="4421185" y="1941313"/>
                      <a:pt x="4482060" y="2002187"/>
                      <a:pt x="4482060" y="2077345"/>
                    </a:cubicBezTo>
                    <a:cubicBezTo>
                      <a:pt x="4482060" y="2152464"/>
                      <a:pt x="4421185" y="2213376"/>
                      <a:pt x="4346040" y="2213376"/>
                    </a:cubicBezTo>
                    <a:cubicBezTo>
                      <a:pt x="4270881" y="2213376"/>
                      <a:pt x="4209994" y="2152464"/>
                      <a:pt x="4209994" y="2077345"/>
                    </a:cubicBezTo>
                    <a:cubicBezTo>
                      <a:pt x="4209994" y="2002187"/>
                      <a:pt x="4270881" y="1941313"/>
                      <a:pt x="4346040" y="1941313"/>
                    </a:cubicBezTo>
                    <a:close/>
                    <a:moveTo>
                      <a:pt x="4716611" y="1925379"/>
                    </a:moveTo>
                    <a:cubicBezTo>
                      <a:pt x="4717911" y="1924706"/>
                      <a:pt x="4719492" y="1924834"/>
                      <a:pt x="4720651" y="1925726"/>
                    </a:cubicBezTo>
                    <a:cubicBezTo>
                      <a:pt x="4737343" y="1938355"/>
                      <a:pt x="4756980" y="1945027"/>
                      <a:pt x="4777430" y="1945027"/>
                    </a:cubicBezTo>
                    <a:cubicBezTo>
                      <a:pt x="4797881" y="1945027"/>
                      <a:pt x="4817517" y="1938355"/>
                      <a:pt x="4834194" y="1925726"/>
                    </a:cubicBezTo>
                    <a:cubicBezTo>
                      <a:pt x="4835384" y="1924834"/>
                      <a:pt x="4836950" y="1924706"/>
                      <a:pt x="4838250" y="1925379"/>
                    </a:cubicBezTo>
                    <a:lnTo>
                      <a:pt x="4897284" y="1956111"/>
                    </a:lnTo>
                    <a:cubicBezTo>
                      <a:pt x="4901089" y="1958094"/>
                      <a:pt x="4904142" y="1961345"/>
                      <a:pt x="4905881" y="1965269"/>
                    </a:cubicBezTo>
                    <a:lnTo>
                      <a:pt x="4943916" y="2050956"/>
                    </a:lnTo>
                    <a:cubicBezTo>
                      <a:pt x="4946547" y="2056863"/>
                      <a:pt x="4946014" y="2063627"/>
                      <a:pt x="4942491" y="2069045"/>
                    </a:cubicBezTo>
                    <a:cubicBezTo>
                      <a:pt x="4938968" y="2074456"/>
                      <a:pt x="4933002" y="2077693"/>
                      <a:pt x="4926535" y="2077693"/>
                    </a:cubicBezTo>
                    <a:lnTo>
                      <a:pt x="4628326" y="2077693"/>
                    </a:lnTo>
                    <a:cubicBezTo>
                      <a:pt x="4621843" y="2077693"/>
                      <a:pt x="4615892" y="2074456"/>
                      <a:pt x="4612385" y="2069045"/>
                    </a:cubicBezTo>
                    <a:cubicBezTo>
                      <a:pt x="4608846" y="2063627"/>
                      <a:pt x="4608313" y="2056863"/>
                      <a:pt x="4610944" y="2050956"/>
                    </a:cubicBezTo>
                    <a:lnTo>
                      <a:pt x="4648980" y="1965269"/>
                    </a:lnTo>
                    <a:cubicBezTo>
                      <a:pt x="4650718" y="1961345"/>
                      <a:pt x="4653771" y="1958094"/>
                      <a:pt x="4657577" y="1956111"/>
                    </a:cubicBezTo>
                    <a:close/>
                    <a:moveTo>
                      <a:pt x="4493416" y="1914048"/>
                    </a:moveTo>
                    <a:cubicBezTo>
                      <a:pt x="4499966" y="1914048"/>
                      <a:pt x="4505301" y="1919400"/>
                      <a:pt x="4505301" y="1925953"/>
                    </a:cubicBezTo>
                    <a:lnTo>
                      <a:pt x="4505301" y="1998033"/>
                    </a:lnTo>
                    <a:lnTo>
                      <a:pt x="4511894" y="1998033"/>
                    </a:lnTo>
                    <a:lnTo>
                      <a:pt x="4511894" y="1925953"/>
                    </a:lnTo>
                    <a:cubicBezTo>
                      <a:pt x="4511894" y="1919400"/>
                      <a:pt x="4517245" y="1914048"/>
                      <a:pt x="4523832" y="1914048"/>
                    </a:cubicBezTo>
                    <a:cubicBezTo>
                      <a:pt x="4530382" y="1914048"/>
                      <a:pt x="4535728" y="1919400"/>
                      <a:pt x="4535728" y="1925953"/>
                    </a:cubicBezTo>
                    <a:lnTo>
                      <a:pt x="4535728" y="1998033"/>
                    </a:lnTo>
                    <a:lnTo>
                      <a:pt x="4542358" y="1998033"/>
                    </a:lnTo>
                    <a:lnTo>
                      <a:pt x="4542358" y="1925953"/>
                    </a:lnTo>
                    <a:cubicBezTo>
                      <a:pt x="4542358" y="1919400"/>
                      <a:pt x="4547703" y="1914048"/>
                      <a:pt x="4554242" y="1914048"/>
                    </a:cubicBezTo>
                    <a:cubicBezTo>
                      <a:pt x="4560835" y="1914048"/>
                      <a:pt x="4566149" y="1919400"/>
                      <a:pt x="4566149" y="1925953"/>
                    </a:cubicBezTo>
                    <a:lnTo>
                      <a:pt x="4566149" y="1998033"/>
                    </a:lnTo>
                    <a:lnTo>
                      <a:pt x="4572789" y="1998033"/>
                    </a:lnTo>
                    <a:lnTo>
                      <a:pt x="4572789" y="1928537"/>
                    </a:lnTo>
                    <a:cubicBezTo>
                      <a:pt x="4572789" y="1921954"/>
                      <a:pt x="4578092" y="1916618"/>
                      <a:pt x="4584674" y="1916618"/>
                    </a:cubicBezTo>
                    <a:cubicBezTo>
                      <a:pt x="4591229" y="1916618"/>
                      <a:pt x="4596575" y="1921954"/>
                      <a:pt x="4596575" y="1928537"/>
                    </a:cubicBezTo>
                    <a:lnTo>
                      <a:pt x="4596575" y="2007292"/>
                    </a:lnTo>
                    <a:cubicBezTo>
                      <a:pt x="4596575" y="2020535"/>
                      <a:pt x="4587632" y="2034994"/>
                      <a:pt x="4575800" y="2040938"/>
                    </a:cubicBezTo>
                    <a:lnTo>
                      <a:pt x="4555266" y="2051201"/>
                    </a:lnTo>
                    <a:cubicBezTo>
                      <a:pt x="4552894" y="2052356"/>
                      <a:pt x="4550336" y="2053208"/>
                      <a:pt x="4547629" y="2053877"/>
                    </a:cubicBezTo>
                    <a:lnTo>
                      <a:pt x="4555575" y="2232459"/>
                    </a:lnTo>
                    <a:cubicBezTo>
                      <a:pt x="4555575" y="2237948"/>
                      <a:pt x="4542272" y="2242448"/>
                      <a:pt x="4535728" y="2242448"/>
                    </a:cubicBezTo>
                    <a:cubicBezTo>
                      <a:pt x="4529135" y="2242448"/>
                      <a:pt x="4515880" y="2238009"/>
                      <a:pt x="4515880" y="2232459"/>
                    </a:cubicBezTo>
                    <a:lnTo>
                      <a:pt x="4523832" y="2052949"/>
                    </a:lnTo>
                    <a:cubicBezTo>
                      <a:pt x="4521050" y="2052052"/>
                      <a:pt x="4518327" y="2051018"/>
                      <a:pt x="4515966" y="2049544"/>
                    </a:cubicBezTo>
                    <a:cubicBezTo>
                      <a:pt x="4515966" y="2049544"/>
                      <a:pt x="4500734" y="2040284"/>
                      <a:pt x="4500734" y="2040284"/>
                    </a:cubicBezTo>
                    <a:cubicBezTo>
                      <a:pt x="4489760" y="2033564"/>
                      <a:pt x="4481457" y="2018832"/>
                      <a:pt x="4481457" y="2005970"/>
                    </a:cubicBezTo>
                    <a:lnTo>
                      <a:pt x="4481457" y="1925953"/>
                    </a:lnTo>
                    <a:cubicBezTo>
                      <a:pt x="4481457" y="1919400"/>
                      <a:pt x="4486824" y="1914048"/>
                      <a:pt x="4493416" y="1914048"/>
                    </a:cubicBezTo>
                    <a:close/>
                    <a:moveTo>
                      <a:pt x="4156097" y="1908595"/>
                    </a:moveTo>
                    <a:cubicBezTo>
                      <a:pt x="4157883" y="1908595"/>
                      <a:pt x="4159508" y="1908991"/>
                      <a:pt x="4161025" y="1909692"/>
                    </a:cubicBezTo>
                    <a:lnTo>
                      <a:pt x="4161025" y="1909570"/>
                    </a:lnTo>
                    <a:cubicBezTo>
                      <a:pt x="4161025" y="1909570"/>
                      <a:pt x="4161337" y="1909799"/>
                      <a:pt x="4161764" y="1910073"/>
                    </a:cubicBezTo>
                    <a:cubicBezTo>
                      <a:pt x="4162926" y="1910683"/>
                      <a:pt x="4163927" y="1911506"/>
                      <a:pt x="4164820" y="1912435"/>
                    </a:cubicBezTo>
                    <a:cubicBezTo>
                      <a:pt x="4173534" y="1919567"/>
                      <a:pt x="4201330" y="1948703"/>
                      <a:pt x="4203655" y="1988125"/>
                    </a:cubicBezTo>
                    <a:cubicBezTo>
                      <a:pt x="4207184" y="2048242"/>
                      <a:pt x="4177963" y="2072578"/>
                      <a:pt x="4168038" y="2094857"/>
                    </a:cubicBezTo>
                    <a:lnTo>
                      <a:pt x="4175977" y="2225802"/>
                    </a:lnTo>
                    <a:cubicBezTo>
                      <a:pt x="4175977" y="2232400"/>
                      <a:pt x="4162690" y="2237703"/>
                      <a:pt x="4156139" y="2237703"/>
                    </a:cubicBezTo>
                    <a:cubicBezTo>
                      <a:pt x="4149557" y="2237749"/>
                      <a:pt x="4136266" y="2232400"/>
                      <a:pt x="4136266" y="2225802"/>
                    </a:cubicBezTo>
                    <a:lnTo>
                      <a:pt x="4144202" y="1920512"/>
                    </a:lnTo>
                    <a:cubicBezTo>
                      <a:pt x="4144202" y="1913944"/>
                      <a:pt x="4149557" y="1908595"/>
                      <a:pt x="4156097" y="1908595"/>
                    </a:cubicBezTo>
                    <a:close/>
                    <a:moveTo>
                      <a:pt x="2610463" y="1908595"/>
                    </a:moveTo>
                    <a:lnTo>
                      <a:pt x="2825640" y="1908595"/>
                    </a:lnTo>
                    <a:cubicBezTo>
                      <a:pt x="2835973" y="1908595"/>
                      <a:pt x="2844447" y="1916990"/>
                      <a:pt x="2844447" y="1927387"/>
                    </a:cubicBezTo>
                    <a:lnTo>
                      <a:pt x="2844447" y="1930340"/>
                    </a:lnTo>
                    <a:lnTo>
                      <a:pt x="2920712" y="1939123"/>
                    </a:lnTo>
                    <a:lnTo>
                      <a:pt x="2785540" y="1956724"/>
                    </a:lnTo>
                    <a:lnTo>
                      <a:pt x="2922463" y="1970321"/>
                    </a:lnTo>
                    <a:lnTo>
                      <a:pt x="2786037" y="1989730"/>
                    </a:lnTo>
                    <a:lnTo>
                      <a:pt x="2922463" y="2001559"/>
                    </a:lnTo>
                    <a:lnTo>
                      <a:pt x="2844425" y="2016275"/>
                    </a:lnTo>
                    <a:lnTo>
                      <a:pt x="2844447" y="2053203"/>
                    </a:lnTo>
                    <a:cubicBezTo>
                      <a:pt x="2844447" y="2053203"/>
                      <a:pt x="2455533" y="2053203"/>
                      <a:pt x="2455533" y="2053203"/>
                    </a:cubicBezTo>
                    <a:lnTo>
                      <a:pt x="2455533" y="2039479"/>
                    </a:lnTo>
                    <a:cubicBezTo>
                      <a:pt x="2455533" y="2032777"/>
                      <a:pt x="2458235" y="2026390"/>
                      <a:pt x="2462904" y="2021691"/>
                    </a:cubicBezTo>
                    <a:lnTo>
                      <a:pt x="2536792" y="1948637"/>
                    </a:lnTo>
                    <a:cubicBezTo>
                      <a:pt x="2541504" y="1943997"/>
                      <a:pt x="2547817" y="1941366"/>
                      <a:pt x="2554388" y="1941366"/>
                    </a:cubicBezTo>
                    <a:lnTo>
                      <a:pt x="2591678" y="1941366"/>
                    </a:lnTo>
                    <a:lnTo>
                      <a:pt x="2591678" y="1927387"/>
                    </a:lnTo>
                    <a:cubicBezTo>
                      <a:pt x="2591678" y="1916990"/>
                      <a:pt x="2600087" y="1908595"/>
                      <a:pt x="2610463" y="1908595"/>
                    </a:cubicBezTo>
                    <a:close/>
                    <a:moveTo>
                      <a:pt x="1029615" y="1905566"/>
                    </a:moveTo>
                    <a:cubicBezTo>
                      <a:pt x="1029615" y="1905566"/>
                      <a:pt x="1029615" y="2069994"/>
                      <a:pt x="1029615" y="2069994"/>
                    </a:cubicBezTo>
                    <a:lnTo>
                      <a:pt x="1166581" y="2069994"/>
                    </a:lnTo>
                    <a:lnTo>
                      <a:pt x="1166581" y="1905566"/>
                    </a:lnTo>
                    <a:close/>
                    <a:moveTo>
                      <a:pt x="1258006" y="1886782"/>
                    </a:moveTo>
                    <a:cubicBezTo>
                      <a:pt x="1258006" y="1886782"/>
                      <a:pt x="1406493" y="1886782"/>
                      <a:pt x="1406493" y="1886782"/>
                    </a:cubicBezTo>
                    <a:cubicBezTo>
                      <a:pt x="1406493" y="1886782"/>
                      <a:pt x="1397267" y="1973705"/>
                      <a:pt x="1329493" y="1973705"/>
                    </a:cubicBezTo>
                    <a:cubicBezTo>
                      <a:pt x="1261711" y="1973705"/>
                      <a:pt x="1258006" y="1886782"/>
                      <a:pt x="1258006" y="1886782"/>
                    </a:cubicBezTo>
                    <a:close/>
                    <a:moveTo>
                      <a:pt x="5083093" y="1858509"/>
                    </a:moveTo>
                    <a:cubicBezTo>
                      <a:pt x="5055370" y="1858509"/>
                      <a:pt x="5033907" y="1880706"/>
                      <a:pt x="5033907" y="1908467"/>
                    </a:cubicBezTo>
                    <a:cubicBezTo>
                      <a:pt x="5033907" y="1936210"/>
                      <a:pt x="5056851" y="1958390"/>
                      <a:pt x="5084586" y="1958390"/>
                    </a:cubicBezTo>
                    <a:cubicBezTo>
                      <a:pt x="5101931" y="1958390"/>
                      <a:pt x="5120893" y="1949738"/>
                      <a:pt x="5130238" y="1925806"/>
                    </a:cubicBezTo>
                    <a:cubicBezTo>
                      <a:pt x="5131644" y="1921995"/>
                      <a:pt x="5131532" y="1914337"/>
                      <a:pt x="5131532" y="1913651"/>
                    </a:cubicBezTo>
                    <a:lnTo>
                      <a:pt x="5131532" y="1902904"/>
                    </a:lnTo>
                    <a:cubicBezTo>
                      <a:pt x="5131532" y="1872398"/>
                      <a:pt x="5105639" y="1858509"/>
                      <a:pt x="5083093" y="1858509"/>
                    </a:cubicBezTo>
                    <a:close/>
                    <a:moveTo>
                      <a:pt x="1992707" y="1854063"/>
                    </a:moveTo>
                    <a:lnTo>
                      <a:pt x="2039856" y="1854063"/>
                    </a:lnTo>
                    <a:cubicBezTo>
                      <a:pt x="2046347" y="1854063"/>
                      <a:pt x="2051617" y="1859324"/>
                      <a:pt x="2051617" y="1865832"/>
                    </a:cubicBezTo>
                    <a:lnTo>
                      <a:pt x="2051617" y="2045310"/>
                    </a:lnTo>
                    <a:lnTo>
                      <a:pt x="2073813" y="2053783"/>
                    </a:lnTo>
                    <a:lnTo>
                      <a:pt x="2073813" y="1865832"/>
                    </a:lnTo>
                    <a:cubicBezTo>
                      <a:pt x="2073813" y="1859324"/>
                      <a:pt x="2079083" y="1854063"/>
                      <a:pt x="2085592" y="1854063"/>
                    </a:cubicBezTo>
                    <a:lnTo>
                      <a:pt x="2132740" y="1854063"/>
                    </a:lnTo>
                    <a:cubicBezTo>
                      <a:pt x="2139231" y="1854063"/>
                      <a:pt x="2144519" y="1859324"/>
                      <a:pt x="2144519" y="1865832"/>
                    </a:cubicBezTo>
                    <a:cubicBezTo>
                      <a:pt x="2144519" y="1872340"/>
                      <a:pt x="2139231" y="1877602"/>
                      <a:pt x="2132740" y="1877602"/>
                    </a:cubicBezTo>
                    <a:lnTo>
                      <a:pt x="2097353" y="1877602"/>
                    </a:lnTo>
                    <a:lnTo>
                      <a:pt x="2097353" y="2062763"/>
                    </a:lnTo>
                    <a:lnTo>
                      <a:pt x="2309592" y="2143669"/>
                    </a:lnTo>
                    <a:cubicBezTo>
                      <a:pt x="2315647" y="2145972"/>
                      <a:pt x="2318701" y="2152776"/>
                      <a:pt x="2316397" y="2158840"/>
                    </a:cubicBezTo>
                    <a:lnTo>
                      <a:pt x="2261483" y="2302883"/>
                    </a:lnTo>
                    <a:cubicBezTo>
                      <a:pt x="2260367" y="2305798"/>
                      <a:pt x="2258133" y="2308144"/>
                      <a:pt x="2255289" y="2309433"/>
                    </a:cubicBezTo>
                    <a:cubicBezTo>
                      <a:pt x="2253788" y="2310109"/>
                      <a:pt x="2252130" y="2310468"/>
                      <a:pt x="2250473" y="2310468"/>
                    </a:cubicBezTo>
                    <a:cubicBezTo>
                      <a:pt x="2249059" y="2310468"/>
                      <a:pt x="2247646" y="2310215"/>
                      <a:pt x="2246285" y="2309686"/>
                    </a:cubicBezTo>
                    <a:lnTo>
                      <a:pt x="1980528" y="2208369"/>
                    </a:lnTo>
                    <a:cubicBezTo>
                      <a:pt x="1954755" y="2198543"/>
                      <a:pt x="1941790" y="2169574"/>
                      <a:pt x="1951596" y="2143796"/>
                    </a:cubicBezTo>
                    <a:lnTo>
                      <a:pt x="1979236" y="2071278"/>
                    </a:lnTo>
                    <a:cubicBezTo>
                      <a:pt x="1986583" y="2052008"/>
                      <a:pt x="2005376" y="2039055"/>
                      <a:pt x="2026001" y="2039055"/>
                    </a:cubicBezTo>
                    <a:cubicBezTo>
                      <a:pt x="2026717" y="2039055"/>
                      <a:pt x="2027380" y="2039118"/>
                      <a:pt x="2028078" y="2039140"/>
                    </a:cubicBezTo>
                    <a:lnTo>
                      <a:pt x="2028078" y="1877602"/>
                    </a:lnTo>
                    <a:lnTo>
                      <a:pt x="1992707" y="1877602"/>
                    </a:lnTo>
                    <a:cubicBezTo>
                      <a:pt x="1986199" y="1877602"/>
                      <a:pt x="1980946" y="1872340"/>
                      <a:pt x="1980946" y="1865832"/>
                    </a:cubicBezTo>
                    <a:cubicBezTo>
                      <a:pt x="1980946" y="1859324"/>
                      <a:pt x="1986199" y="1854063"/>
                      <a:pt x="1992707" y="1854063"/>
                    </a:cubicBezTo>
                    <a:close/>
                    <a:moveTo>
                      <a:pt x="1827677" y="1837704"/>
                    </a:moveTo>
                    <a:cubicBezTo>
                      <a:pt x="1877559" y="1875657"/>
                      <a:pt x="1910532" y="1934674"/>
                      <a:pt x="1913633" y="2001367"/>
                    </a:cubicBezTo>
                    <a:lnTo>
                      <a:pt x="1871919" y="2001367"/>
                    </a:lnTo>
                    <a:cubicBezTo>
                      <a:pt x="1868818" y="1946154"/>
                      <a:pt x="1840441" y="1897744"/>
                      <a:pt x="1797940" y="1867527"/>
                    </a:cubicBezTo>
                    <a:close/>
                    <a:moveTo>
                      <a:pt x="1562090" y="1837704"/>
                    </a:moveTo>
                    <a:cubicBezTo>
                      <a:pt x="1562090" y="1837704"/>
                      <a:pt x="1591900" y="1867527"/>
                      <a:pt x="1591900" y="1867527"/>
                    </a:cubicBezTo>
                    <a:cubicBezTo>
                      <a:pt x="1549192" y="1897744"/>
                      <a:pt x="1520794" y="1946154"/>
                      <a:pt x="1517681" y="2001367"/>
                    </a:cubicBezTo>
                    <a:lnTo>
                      <a:pt x="1475966" y="2001367"/>
                    </a:lnTo>
                    <a:cubicBezTo>
                      <a:pt x="1479079" y="1934674"/>
                      <a:pt x="1512072" y="1875657"/>
                      <a:pt x="1562090" y="1837704"/>
                    </a:cubicBezTo>
                    <a:close/>
                    <a:moveTo>
                      <a:pt x="1262880" y="1833265"/>
                    </a:moveTo>
                    <a:cubicBezTo>
                      <a:pt x="1255334" y="1848081"/>
                      <a:pt x="1251377" y="1865176"/>
                      <a:pt x="1251377" y="1882779"/>
                    </a:cubicBezTo>
                    <a:cubicBezTo>
                      <a:pt x="1251377" y="1935759"/>
                      <a:pt x="1287144" y="1978652"/>
                      <a:pt x="1331148" y="1978652"/>
                    </a:cubicBezTo>
                    <a:cubicBezTo>
                      <a:pt x="1375207" y="1978652"/>
                      <a:pt x="1410947" y="1935621"/>
                      <a:pt x="1410947" y="1882779"/>
                    </a:cubicBezTo>
                    <a:cubicBezTo>
                      <a:pt x="1410947" y="1865176"/>
                      <a:pt x="1407016" y="1848081"/>
                      <a:pt x="1399453" y="1833265"/>
                    </a:cubicBezTo>
                    <a:close/>
                    <a:moveTo>
                      <a:pt x="1698229" y="1832251"/>
                    </a:moveTo>
                    <a:cubicBezTo>
                      <a:pt x="1715559" y="1832251"/>
                      <a:pt x="1729491" y="1846248"/>
                      <a:pt x="1729491" y="1863526"/>
                    </a:cubicBezTo>
                    <a:lnTo>
                      <a:pt x="1729491" y="1877720"/>
                    </a:lnTo>
                    <a:cubicBezTo>
                      <a:pt x="1789389" y="1891881"/>
                      <a:pt x="1833763" y="1945505"/>
                      <a:pt x="1833763" y="2009499"/>
                    </a:cubicBezTo>
                    <a:lnTo>
                      <a:pt x="1833763" y="2124164"/>
                    </a:lnTo>
                    <a:lnTo>
                      <a:pt x="1875462" y="2165842"/>
                    </a:lnTo>
                    <a:lnTo>
                      <a:pt x="1875462" y="2186681"/>
                    </a:lnTo>
                    <a:lnTo>
                      <a:pt x="1520997" y="2186681"/>
                    </a:lnTo>
                    <a:cubicBezTo>
                      <a:pt x="1520997" y="2186681"/>
                      <a:pt x="1520997" y="2165842"/>
                      <a:pt x="1520997" y="2165842"/>
                    </a:cubicBezTo>
                    <a:lnTo>
                      <a:pt x="1562712" y="2124164"/>
                    </a:lnTo>
                    <a:lnTo>
                      <a:pt x="1562712" y="2009499"/>
                    </a:lnTo>
                    <a:cubicBezTo>
                      <a:pt x="1562712" y="1945488"/>
                      <a:pt x="1607086" y="1891881"/>
                      <a:pt x="1666967" y="1877720"/>
                    </a:cubicBezTo>
                    <a:lnTo>
                      <a:pt x="1666967" y="1863526"/>
                    </a:lnTo>
                    <a:cubicBezTo>
                      <a:pt x="1666967" y="1846248"/>
                      <a:pt x="1680916" y="1832251"/>
                      <a:pt x="1698229" y="1832251"/>
                    </a:cubicBezTo>
                    <a:close/>
                    <a:moveTo>
                      <a:pt x="801945" y="1819102"/>
                    </a:moveTo>
                    <a:cubicBezTo>
                      <a:pt x="801945" y="1819102"/>
                      <a:pt x="801945" y="1923827"/>
                      <a:pt x="801945" y="1923827"/>
                    </a:cubicBezTo>
                    <a:cubicBezTo>
                      <a:pt x="829443" y="1920168"/>
                      <a:pt x="854623" y="1909034"/>
                      <a:pt x="875377" y="1892532"/>
                    </a:cubicBezTo>
                    <a:close/>
                    <a:moveTo>
                      <a:pt x="762162" y="1819102"/>
                    </a:moveTo>
                    <a:lnTo>
                      <a:pt x="688730" y="1892532"/>
                    </a:lnTo>
                    <a:cubicBezTo>
                      <a:pt x="709467" y="1909034"/>
                      <a:pt x="734647" y="1920168"/>
                      <a:pt x="762162" y="1923827"/>
                    </a:cubicBezTo>
                    <a:close/>
                    <a:moveTo>
                      <a:pt x="1252654" y="1815892"/>
                    </a:moveTo>
                    <a:lnTo>
                      <a:pt x="1409813" y="1815892"/>
                    </a:lnTo>
                    <a:lnTo>
                      <a:pt x="1412224" y="1820235"/>
                    </a:lnTo>
                    <a:cubicBezTo>
                      <a:pt x="1422827" y="1838886"/>
                      <a:pt x="1428304" y="1860463"/>
                      <a:pt x="1428304" y="1882779"/>
                    </a:cubicBezTo>
                    <a:cubicBezTo>
                      <a:pt x="1428304" y="1939841"/>
                      <a:pt x="1392078" y="1987076"/>
                      <a:pt x="1344944" y="1994869"/>
                    </a:cubicBezTo>
                    <a:lnTo>
                      <a:pt x="1344944" y="2127997"/>
                    </a:lnTo>
                    <a:cubicBezTo>
                      <a:pt x="1372140" y="2129167"/>
                      <a:pt x="1392303" y="2133233"/>
                      <a:pt x="1392303" y="2138223"/>
                    </a:cubicBezTo>
                    <a:cubicBezTo>
                      <a:pt x="1392303" y="2143968"/>
                      <a:pt x="1364766" y="2148557"/>
                      <a:pt x="1330663" y="2148557"/>
                    </a:cubicBezTo>
                    <a:cubicBezTo>
                      <a:pt x="1296713" y="2148557"/>
                      <a:pt x="1268995" y="2143968"/>
                      <a:pt x="1268995" y="2138223"/>
                    </a:cubicBezTo>
                    <a:cubicBezTo>
                      <a:pt x="1268995" y="2133233"/>
                      <a:pt x="1289293" y="2129167"/>
                      <a:pt x="1316363" y="2127997"/>
                    </a:cubicBezTo>
                    <a:lnTo>
                      <a:pt x="1316363" y="1994746"/>
                    </a:lnTo>
                    <a:cubicBezTo>
                      <a:pt x="1269750" y="1986429"/>
                      <a:pt x="1234047" y="1939456"/>
                      <a:pt x="1234047" y="1882779"/>
                    </a:cubicBezTo>
                    <a:cubicBezTo>
                      <a:pt x="1234047" y="1860463"/>
                      <a:pt x="1239515" y="1838886"/>
                      <a:pt x="1250109" y="1820235"/>
                    </a:cubicBezTo>
                    <a:close/>
                    <a:moveTo>
                      <a:pt x="5085668" y="1777719"/>
                    </a:moveTo>
                    <a:cubicBezTo>
                      <a:pt x="5144621" y="1777719"/>
                      <a:pt x="5209547" y="1817256"/>
                      <a:pt x="5218232" y="1898750"/>
                    </a:cubicBezTo>
                    <a:lnTo>
                      <a:pt x="5218232" y="1915385"/>
                    </a:lnTo>
                    <a:cubicBezTo>
                      <a:pt x="5218232" y="1916089"/>
                      <a:pt x="5217996" y="1922320"/>
                      <a:pt x="5217672" y="1925463"/>
                    </a:cubicBezTo>
                    <a:cubicBezTo>
                      <a:pt x="5212795" y="1964278"/>
                      <a:pt x="5182148" y="2005548"/>
                      <a:pt x="5159254" y="2044381"/>
                    </a:cubicBezTo>
                    <a:cubicBezTo>
                      <a:pt x="5134655" y="2085995"/>
                      <a:pt x="5109098" y="2126923"/>
                      <a:pt x="5083789" y="2167850"/>
                    </a:cubicBezTo>
                    <a:cubicBezTo>
                      <a:pt x="5068174" y="2141137"/>
                      <a:pt x="5052620" y="2114081"/>
                      <a:pt x="5037378" y="2088072"/>
                    </a:cubicBezTo>
                    <a:cubicBezTo>
                      <a:pt x="5033210" y="2080450"/>
                      <a:pt x="5028382" y="2072828"/>
                      <a:pt x="5024239" y="2065567"/>
                    </a:cubicBezTo>
                    <a:cubicBezTo>
                      <a:pt x="5021452" y="2060691"/>
                      <a:pt x="5016139" y="2055832"/>
                      <a:pt x="5013737" y="2051335"/>
                    </a:cubicBezTo>
                    <a:cubicBezTo>
                      <a:pt x="4989113" y="2006253"/>
                      <a:pt x="4949471" y="1960828"/>
                      <a:pt x="4949471" y="1916089"/>
                    </a:cubicBezTo>
                    <a:lnTo>
                      <a:pt x="4949471" y="1897702"/>
                    </a:lnTo>
                    <a:cubicBezTo>
                      <a:pt x="4949471" y="1892862"/>
                      <a:pt x="4955481" y="1875866"/>
                      <a:pt x="4955817" y="1874836"/>
                    </a:cubicBezTo>
                    <a:cubicBezTo>
                      <a:pt x="4957235" y="1869635"/>
                      <a:pt x="4960022" y="1864072"/>
                      <a:pt x="4962138" y="1859213"/>
                    </a:cubicBezTo>
                    <a:cubicBezTo>
                      <a:pt x="4987085" y="1799231"/>
                      <a:pt x="5041621" y="1777719"/>
                      <a:pt x="5085668" y="1777719"/>
                    </a:cubicBezTo>
                    <a:close/>
                    <a:moveTo>
                      <a:pt x="4777477" y="1745001"/>
                    </a:moveTo>
                    <a:cubicBezTo>
                      <a:pt x="4819126" y="1745001"/>
                      <a:pt x="4852873" y="1765666"/>
                      <a:pt x="4852873" y="1833249"/>
                    </a:cubicBezTo>
                    <a:cubicBezTo>
                      <a:pt x="4852873" y="1881989"/>
                      <a:pt x="4819126" y="1921496"/>
                      <a:pt x="4777477" y="1921496"/>
                    </a:cubicBezTo>
                    <a:cubicBezTo>
                      <a:pt x="4735848" y="1921496"/>
                      <a:pt x="4702080" y="1881989"/>
                      <a:pt x="4702080" y="1833249"/>
                    </a:cubicBezTo>
                    <a:cubicBezTo>
                      <a:pt x="4702080" y="1765666"/>
                      <a:pt x="4735848" y="1745001"/>
                      <a:pt x="4777477" y="1745001"/>
                    </a:cubicBezTo>
                    <a:close/>
                    <a:moveTo>
                      <a:pt x="342501" y="1739548"/>
                    </a:moveTo>
                    <a:lnTo>
                      <a:pt x="344101" y="1739548"/>
                    </a:lnTo>
                    <a:cubicBezTo>
                      <a:pt x="348408" y="1739548"/>
                      <a:pt x="352022" y="1741016"/>
                      <a:pt x="354959" y="1743957"/>
                    </a:cubicBezTo>
                    <a:cubicBezTo>
                      <a:pt x="357913" y="1746914"/>
                      <a:pt x="359398" y="1750538"/>
                      <a:pt x="359398" y="1754827"/>
                    </a:cubicBezTo>
                    <a:lnTo>
                      <a:pt x="359398" y="1801519"/>
                    </a:lnTo>
                    <a:lnTo>
                      <a:pt x="420537" y="1801519"/>
                    </a:lnTo>
                    <a:cubicBezTo>
                      <a:pt x="430735" y="1801519"/>
                      <a:pt x="435834" y="1805667"/>
                      <a:pt x="435834" y="1813978"/>
                    </a:cubicBezTo>
                    <a:cubicBezTo>
                      <a:pt x="435834" y="1822293"/>
                      <a:pt x="430735" y="1826440"/>
                      <a:pt x="420537" y="1826440"/>
                    </a:cubicBezTo>
                    <a:lnTo>
                      <a:pt x="79399" y="1826440"/>
                    </a:lnTo>
                    <a:cubicBezTo>
                      <a:pt x="79399" y="1826440"/>
                      <a:pt x="79399" y="1786208"/>
                      <a:pt x="79399" y="1786208"/>
                    </a:cubicBezTo>
                    <a:cubicBezTo>
                      <a:pt x="79399" y="1779780"/>
                      <a:pt x="81676" y="1774550"/>
                      <a:pt x="86230" y="1770524"/>
                    </a:cubicBezTo>
                    <a:cubicBezTo>
                      <a:pt x="90785" y="1766501"/>
                      <a:pt x="96560" y="1763942"/>
                      <a:pt x="103541" y="1762880"/>
                    </a:cubicBezTo>
                    <a:close/>
                    <a:moveTo>
                      <a:pt x="2289506" y="1728315"/>
                    </a:moveTo>
                    <a:lnTo>
                      <a:pt x="2269678" y="1800874"/>
                    </a:lnTo>
                    <a:cubicBezTo>
                      <a:pt x="2269678" y="1800874"/>
                      <a:pt x="2438003" y="1800874"/>
                      <a:pt x="2438003" y="1800874"/>
                    </a:cubicBezTo>
                    <a:lnTo>
                      <a:pt x="2418160" y="1728315"/>
                    </a:lnTo>
                    <a:close/>
                    <a:moveTo>
                      <a:pt x="405656" y="1723189"/>
                    </a:moveTo>
                    <a:cubicBezTo>
                      <a:pt x="413974" y="1723189"/>
                      <a:pt x="421086" y="1726146"/>
                      <a:pt x="426980" y="1732042"/>
                    </a:cubicBezTo>
                    <a:cubicBezTo>
                      <a:pt x="432874" y="1737960"/>
                      <a:pt x="435836" y="1745066"/>
                      <a:pt x="435836" y="1753377"/>
                    </a:cubicBezTo>
                    <a:cubicBezTo>
                      <a:pt x="435836" y="1761693"/>
                      <a:pt x="432874" y="1768793"/>
                      <a:pt x="426980" y="1774695"/>
                    </a:cubicBezTo>
                    <a:cubicBezTo>
                      <a:pt x="421086" y="1780591"/>
                      <a:pt x="413974" y="1783547"/>
                      <a:pt x="405656" y="1783547"/>
                    </a:cubicBezTo>
                    <a:cubicBezTo>
                      <a:pt x="397338" y="1783547"/>
                      <a:pt x="390096" y="1780591"/>
                      <a:pt x="383933" y="1774695"/>
                    </a:cubicBezTo>
                    <a:cubicBezTo>
                      <a:pt x="377767" y="1768793"/>
                      <a:pt x="374684" y="1761693"/>
                      <a:pt x="374684" y="1753377"/>
                    </a:cubicBezTo>
                    <a:cubicBezTo>
                      <a:pt x="374684" y="1745066"/>
                      <a:pt x="377767" y="1737960"/>
                      <a:pt x="383933" y="1732042"/>
                    </a:cubicBezTo>
                    <a:cubicBezTo>
                      <a:pt x="390096" y="1726146"/>
                      <a:pt x="397338" y="1723189"/>
                      <a:pt x="405656" y="1723189"/>
                    </a:cubicBezTo>
                    <a:close/>
                    <a:moveTo>
                      <a:pt x="3752523" y="1708482"/>
                    </a:moveTo>
                    <a:lnTo>
                      <a:pt x="3752523" y="1829984"/>
                    </a:lnTo>
                    <a:cubicBezTo>
                      <a:pt x="3752523" y="1836269"/>
                      <a:pt x="3757650" y="1841422"/>
                      <a:pt x="3763948" y="1841422"/>
                    </a:cubicBezTo>
                    <a:lnTo>
                      <a:pt x="3964241" y="1841422"/>
                    </a:lnTo>
                    <a:cubicBezTo>
                      <a:pt x="3970540" y="1841422"/>
                      <a:pt x="3975666" y="1836269"/>
                      <a:pt x="3975666" y="1829984"/>
                    </a:cubicBezTo>
                    <a:lnTo>
                      <a:pt x="3975666" y="1708482"/>
                    </a:lnTo>
                    <a:lnTo>
                      <a:pt x="3949261" y="1708482"/>
                    </a:lnTo>
                    <a:cubicBezTo>
                      <a:pt x="3951658" y="1716298"/>
                      <a:pt x="3952950" y="1724580"/>
                      <a:pt x="3952950" y="1733155"/>
                    </a:cubicBezTo>
                    <a:cubicBezTo>
                      <a:pt x="3952950" y="1780997"/>
                      <a:pt x="3912923" y="1819784"/>
                      <a:pt x="3863549" y="1819784"/>
                    </a:cubicBezTo>
                    <a:cubicBezTo>
                      <a:pt x="3814188" y="1819784"/>
                      <a:pt x="3774148" y="1780997"/>
                      <a:pt x="3774148" y="1733155"/>
                    </a:cubicBezTo>
                    <a:cubicBezTo>
                      <a:pt x="3774148" y="1724580"/>
                      <a:pt x="3775453" y="1716298"/>
                      <a:pt x="3777836" y="1708482"/>
                    </a:cubicBezTo>
                    <a:close/>
                    <a:moveTo>
                      <a:pt x="473888" y="1701375"/>
                    </a:moveTo>
                    <a:cubicBezTo>
                      <a:pt x="478446" y="1701375"/>
                      <a:pt x="482337" y="1703130"/>
                      <a:pt x="485541" y="1706605"/>
                    </a:cubicBezTo>
                    <a:cubicBezTo>
                      <a:pt x="488745" y="1710104"/>
                      <a:pt x="490366" y="1713974"/>
                      <a:pt x="490366" y="1718286"/>
                    </a:cubicBezTo>
                    <a:lnTo>
                      <a:pt x="490366" y="1952419"/>
                    </a:lnTo>
                    <a:lnTo>
                      <a:pt x="457391" y="1952419"/>
                    </a:lnTo>
                    <a:lnTo>
                      <a:pt x="457391" y="1886439"/>
                    </a:lnTo>
                    <a:lnTo>
                      <a:pt x="111395" y="1886439"/>
                    </a:lnTo>
                    <a:lnTo>
                      <a:pt x="111395" y="1952419"/>
                    </a:lnTo>
                    <a:cubicBezTo>
                      <a:pt x="111395" y="1952419"/>
                      <a:pt x="78420" y="1952419"/>
                      <a:pt x="78420" y="1952419"/>
                    </a:cubicBezTo>
                    <a:lnTo>
                      <a:pt x="78420" y="1853454"/>
                    </a:lnTo>
                    <a:lnTo>
                      <a:pt x="457391" y="1853454"/>
                    </a:lnTo>
                    <a:lnTo>
                      <a:pt x="457391" y="1718286"/>
                    </a:lnTo>
                    <a:cubicBezTo>
                      <a:pt x="457391" y="1713974"/>
                      <a:pt x="458993" y="1710092"/>
                      <a:pt x="462197" y="1706605"/>
                    </a:cubicBezTo>
                    <a:cubicBezTo>
                      <a:pt x="465439" y="1703130"/>
                      <a:pt x="469311" y="1701375"/>
                      <a:pt x="473888" y="1701375"/>
                    </a:cubicBezTo>
                    <a:close/>
                    <a:moveTo>
                      <a:pt x="1064338" y="1690469"/>
                    </a:moveTo>
                    <a:lnTo>
                      <a:pt x="1133385" y="1690469"/>
                    </a:lnTo>
                    <a:lnTo>
                      <a:pt x="1133385" y="1746252"/>
                    </a:lnTo>
                    <a:cubicBezTo>
                      <a:pt x="1162616" y="1759403"/>
                      <a:pt x="1182914" y="1788756"/>
                      <a:pt x="1182914" y="1822965"/>
                    </a:cubicBezTo>
                    <a:lnTo>
                      <a:pt x="1182914" y="2154614"/>
                    </a:lnTo>
                    <a:lnTo>
                      <a:pt x="1014809" y="2154614"/>
                    </a:lnTo>
                    <a:cubicBezTo>
                      <a:pt x="1014809" y="2154614"/>
                      <a:pt x="1014809" y="1822965"/>
                      <a:pt x="1014809" y="1822965"/>
                    </a:cubicBezTo>
                    <a:cubicBezTo>
                      <a:pt x="1014676" y="1788756"/>
                      <a:pt x="1035106" y="1759403"/>
                      <a:pt x="1064338" y="1746252"/>
                    </a:cubicBezTo>
                    <a:close/>
                    <a:moveTo>
                      <a:pt x="3543192" y="1684084"/>
                    </a:moveTo>
                    <a:cubicBezTo>
                      <a:pt x="3522726" y="1684354"/>
                      <a:pt x="3503582" y="1696352"/>
                      <a:pt x="3486304" y="1719741"/>
                    </a:cubicBezTo>
                    <a:cubicBezTo>
                      <a:pt x="3486304" y="1719741"/>
                      <a:pt x="3493120" y="1724785"/>
                      <a:pt x="3493120" y="1724785"/>
                    </a:cubicBezTo>
                    <a:cubicBezTo>
                      <a:pt x="3508737" y="1703655"/>
                      <a:pt x="3525608" y="1692819"/>
                      <a:pt x="3543260" y="1692565"/>
                    </a:cubicBezTo>
                    <a:cubicBezTo>
                      <a:pt x="3543463" y="1692565"/>
                      <a:pt x="3543684" y="1692565"/>
                      <a:pt x="3543904" y="1692565"/>
                    </a:cubicBezTo>
                    <a:cubicBezTo>
                      <a:pt x="3571916" y="1692565"/>
                      <a:pt x="3593230" y="1719296"/>
                      <a:pt x="3593433" y="1719582"/>
                    </a:cubicBezTo>
                    <a:lnTo>
                      <a:pt x="3600131" y="1714347"/>
                    </a:lnTo>
                    <a:cubicBezTo>
                      <a:pt x="3599147" y="1713106"/>
                      <a:pt x="3576104" y="1684084"/>
                      <a:pt x="3543904" y="1684084"/>
                    </a:cubicBezTo>
                    <a:cubicBezTo>
                      <a:pt x="3543667" y="1684084"/>
                      <a:pt x="3543429" y="1684084"/>
                      <a:pt x="3543192" y="1684084"/>
                    </a:cubicBezTo>
                    <a:close/>
                    <a:moveTo>
                      <a:pt x="3370408" y="1684084"/>
                    </a:moveTo>
                    <a:cubicBezTo>
                      <a:pt x="3349942" y="1684354"/>
                      <a:pt x="3330799" y="1696352"/>
                      <a:pt x="3313520" y="1719741"/>
                    </a:cubicBezTo>
                    <a:cubicBezTo>
                      <a:pt x="3313520" y="1719741"/>
                      <a:pt x="3320337" y="1724785"/>
                      <a:pt x="3320337" y="1724785"/>
                    </a:cubicBezTo>
                    <a:cubicBezTo>
                      <a:pt x="3335936" y="1703655"/>
                      <a:pt x="3352808" y="1692819"/>
                      <a:pt x="3370459" y="1692565"/>
                    </a:cubicBezTo>
                    <a:cubicBezTo>
                      <a:pt x="3398522" y="1692453"/>
                      <a:pt x="3420429" y="1719296"/>
                      <a:pt x="3420633" y="1719582"/>
                    </a:cubicBezTo>
                    <a:lnTo>
                      <a:pt x="3427330" y="1714347"/>
                    </a:lnTo>
                    <a:cubicBezTo>
                      <a:pt x="3426347" y="1713106"/>
                      <a:pt x="3403303" y="1684084"/>
                      <a:pt x="3371104" y="1684084"/>
                    </a:cubicBezTo>
                    <a:cubicBezTo>
                      <a:pt x="3370866" y="1684084"/>
                      <a:pt x="3370646" y="1684084"/>
                      <a:pt x="3370408" y="1684084"/>
                    </a:cubicBezTo>
                    <a:close/>
                    <a:moveTo>
                      <a:pt x="3863549" y="1674062"/>
                    </a:moveTo>
                    <a:cubicBezTo>
                      <a:pt x="3831645" y="1674062"/>
                      <a:pt x="3805786" y="1699135"/>
                      <a:pt x="3805786" y="1730039"/>
                    </a:cubicBezTo>
                    <a:cubicBezTo>
                      <a:pt x="3805786" y="1760957"/>
                      <a:pt x="3831645" y="1786017"/>
                      <a:pt x="3863549" y="1786017"/>
                    </a:cubicBezTo>
                    <a:cubicBezTo>
                      <a:pt x="3895440" y="1786017"/>
                      <a:pt x="3921312" y="1760957"/>
                      <a:pt x="3921312" y="1730039"/>
                    </a:cubicBezTo>
                    <a:cubicBezTo>
                      <a:pt x="3921312" y="1699135"/>
                      <a:pt x="3895440" y="1674062"/>
                      <a:pt x="3863549" y="1674062"/>
                    </a:cubicBezTo>
                    <a:close/>
                    <a:moveTo>
                      <a:pt x="2705618" y="1670086"/>
                    </a:moveTo>
                    <a:cubicBezTo>
                      <a:pt x="2677778" y="1670086"/>
                      <a:pt x="2655215" y="1695379"/>
                      <a:pt x="2655215" y="1726542"/>
                    </a:cubicBezTo>
                    <a:cubicBezTo>
                      <a:pt x="2655215" y="1734608"/>
                      <a:pt x="2656755" y="1742271"/>
                      <a:pt x="2659458" y="1749202"/>
                    </a:cubicBezTo>
                    <a:lnTo>
                      <a:pt x="2678450" y="1741630"/>
                    </a:lnTo>
                    <a:cubicBezTo>
                      <a:pt x="2676434" y="1737077"/>
                      <a:pt x="2675287" y="1731974"/>
                      <a:pt x="2675287" y="1726542"/>
                    </a:cubicBezTo>
                    <a:cubicBezTo>
                      <a:pt x="2675287" y="1707797"/>
                      <a:pt x="2688855" y="1692581"/>
                      <a:pt x="2705618" y="1692581"/>
                    </a:cubicBezTo>
                    <a:cubicBezTo>
                      <a:pt x="2722348" y="1692581"/>
                      <a:pt x="2735949" y="1707797"/>
                      <a:pt x="2735949" y="1726542"/>
                    </a:cubicBezTo>
                    <a:cubicBezTo>
                      <a:pt x="2735949" y="1745325"/>
                      <a:pt x="2722348" y="1760541"/>
                      <a:pt x="2705618" y="1760541"/>
                    </a:cubicBezTo>
                    <a:cubicBezTo>
                      <a:pt x="2699424" y="1760541"/>
                      <a:pt x="2693656" y="1758456"/>
                      <a:pt x="2688855" y="1754890"/>
                    </a:cubicBezTo>
                    <a:lnTo>
                      <a:pt x="2678450" y="1774074"/>
                    </a:lnTo>
                    <a:cubicBezTo>
                      <a:pt x="2686299" y="1779725"/>
                      <a:pt x="2695590" y="1783036"/>
                      <a:pt x="2705618" y="1783036"/>
                    </a:cubicBezTo>
                    <a:cubicBezTo>
                      <a:pt x="2733441" y="1783036"/>
                      <a:pt x="2755972" y="1757743"/>
                      <a:pt x="2755972" y="1726542"/>
                    </a:cubicBezTo>
                    <a:cubicBezTo>
                      <a:pt x="2755972" y="1695379"/>
                      <a:pt x="2733441" y="1670086"/>
                      <a:pt x="2705618" y="1670086"/>
                    </a:cubicBezTo>
                    <a:close/>
                    <a:moveTo>
                      <a:pt x="3038227" y="1665670"/>
                    </a:moveTo>
                    <a:cubicBezTo>
                      <a:pt x="3021640" y="1666347"/>
                      <a:pt x="3008615" y="1680835"/>
                      <a:pt x="3008615" y="1697710"/>
                    </a:cubicBezTo>
                    <a:cubicBezTo>
                      <a:pt x="3008615" y="1706620"/>
                      <a:pt x="3012053" y="1714657"/>
                      <a:pt x="3017956" y="1720484"/>
                    </a:cubicBezTo>
                    <a:lnTo>
                      <a:pt x="3017956" y="1773676"/>
                    </a:lnTo>
                    <a:cubicBezTo>
                      <a:pt x="3017956" y="1779770"/>
                      <a:pt x="3023065" y="1784920"/>
                      <a:pt x="3029160" y="1784920"/>
                    </a:cubicBezTo>
                    <a:lnTo>
                      <a:pt x="3054333" y="1784920"/>
                    </a:lnTo>
                    <a:cubicBezTo>
                      <a:pt x="3060428" y="1784920"/>
                      <a:pt x="3065537" y="1779770"/>
                      <a:pt x="3065537" y="1773676"/>
                    </a:cubicBezTo>
                    <a:lnTo>
                      <a:pt x="3065537" y="1720484"/>
                    </a:lnTo>
                    <a:cubicBezTo>
                      <a:pt x="3071440" y="1714657"/>
                      <a:pt x="3074878" y="1706620"/>
                      <a:pt x="3074878" y="1697710"/>
                    </a:cubicBezTo>
                    <a:cubicBezTo>
                      <a:pt x="3074878" y="1680835"/>
                      <a:pt x="3061839" y="1666347"/>
                      <a:pt x="3045253" y="1665670"/>
                    </a:cubicBezTo>
                    <a:cubicBezTo>
                      <a:pt x="3043500" y="1665599"/>
                      <a:pt x="3039980" y="1665599"/>
                      <a:pt x="3038227" y="1665670"/>
                    </a:cubicBezTo>
                    <a:close/>
                    <a:moveTo>
                      <a:pt x="1284169" y="1663203"/>
                    </a:moveTo>
                    <a:lnTo>
                      <a:pt x="1613612" y="1663203"/>
                    </a:lnTo>
                    <a:cubicBezTo>
                      <a:pt x="1622672" y="1663203"/>
                      <a:pt x="1630071" y="1670584"/>
                      <a:pt x="1630071" y="1679695"/>
                    </a:cubicBezTo>
                    <a:cubicBezTo>
                      <a:pt x="1630071" y="1688790"/>
                      <a:pt x="1622672" y="1696157"/>
                      <a:pt x="1613612" y="1696157"/>
                    </a:cubicBezTo>
                    <a:lnTo>
                      <a:pt x="1284169" y="1696157"/>
                    </a:lnTo>
                    <a:cubicBezTo>
                      <a:pt x="1275059" y="1696157"/>
                      <a:pt x="1267677" y="1688790"/>
                      <a:pt x="1267677" y="1679695"/>
                    </a:cubicBezTo>
                    <a:cubicBezTo>
                      <a:pt x="1267710" y="1670584"/>
                      <a:pt x="1275059" y="1663203"/>
                      <a:pt x="1284169" y="1663203"/>
                    </a:cubicBezTo>
                    <a:close/>
                    <a:moveTo>
                      <a:pt x="3543904" y="1654394"/>
                    </a:moveTo>
                    <a:cubicBezTo>
                      <a:pt x="3543667" y="1654394"/>
                      <a:pt x="3543429" y="1654409"/>
                      <a:pt x="3543192" y="1654409"/>
                    </a:cubicBezTo>
                    <a:cubicBezTo>
                      <a:pt x="3522726" y="1654664"/>
                      <a:pt x="3503582" y="1666661"/>
                      <a:pt x="3486304" y="1690051"/>
                    </a:cubicBezTo>
                    <a:cubicBezTo>
                      <a:pt x="3486304" y="1690051"/>
                      <a:pt x="3493120" y="1695110"/>
                      <a:pt x="3493120" y="1695110"/>
                    </a:cubicBezTo>
                    <a:cubicBezTo>
                      <a:pt x="3508737" y="1673980"/>
                      <a:pt x="3525608" y="1663145"/>
                      <a:pt x="3543260" y="1662874"/>
                    </a:cubicBezTo>
                    <a:cubicBezTo>
                      <a:pt x="3543463" y="1662874"/>
                      <a:pt x="3543684" y="1662874"/>
                      <a:pt x="3543904" y="1662874"/>
                    </a:cubicBezTo>
                    <a:cubicBezTo>
                      <a:pt x="3571916" y="1662874"/>
                      <a:pt x="3593230" y="1689621"/>
                      <a:pt x="3593433" y="1689892"/>
                    </a:cubicBezTo>
                    <a:lnTo>
                      <a:pt x="3600131" y="1684673"/>
                    </a:lnTo>
                    <a:cubicBezTo>
                      <a:pt x="3599147" y="1683416"/>
                      <a:pt x="3576104" y="1654394"/>
                      <a:pt x="3543904" y="1654394"/>
                    </a:cubicBezTo>
                    <a:close/>
                    <a:moveTo>
                      <a:pt x="3371104" y="1654394"/>
                    </a:moveTo>
                    <a:cubicBezTo>
                      <a:pt x="3370866" y="1654394"/>
                      <a:pt x="3370646" y="1654409"/>
                      <a:pt x="3370408" y="1654409"/>
                    </a:cubicBezTo>
                    <a:cubicBezTo>
                      <a:pt x="3349942" y="1654664"/>
                      <a:pt x="3330799" y="1666661"/>
                      <a:pt x="3313520" y="1690051"/>
                    </a:cubicBezTo>
                    <a:cubicBezTo>
                      <a:pt x="3313520" y="1690051"/>
                      <a:pt x="3320337" y="1695110"/>
                      <a:pt x="3320337" y="1695110"/>
                    </a:cubicBezTo>
                    <a:cubicBezTo>
                      <a:pt x="3335936" y="1673980"/>
                      <a:pt x="3352808" y="1663145"/>
                      <a:pt x="3370459" y="1662874"/>
                    </a:cubicBezTo>
                    <a:cubicBezTo>
                      <a:pt x="3370663" y="1662874"/>
                      <a:pt x="3370883" y="1662874"/>
                      <a:pt x="3371087" y="1662874"/>
                    </a:cubicBezTo>
                    <a:cubicBezTo>
                      <a:pt x="3399115" y="1662874"/>
                      <a:pt x="3420429" y="1689621"/>
                      <a:pt x="3420633" y="1689892"/>
                    </a:cubicBezTo>
                    <a:lnTo>
                      <a:pt x="3427330" y="1684673"/>
                    </a:lnTo>
                    <a:cubicBezTo>
                      <a:pt x="3426347" y="1683416"/>
                      <a:pt x="3403303" y="1654394"/>
                      <a:pt x="3371104" y="1654394"/>
                    </a:cubicBezTo>
                    <a:close/>
                    <a:moveTo>
                      <a:pt x="801945" y="1626276"/>
                    </a:moveTo>
                    <a:cubicBezTo>
                      <a:pt x="801945" y="1626276"/>
                      <a:pt x="801945" y="1762837"/>
                      <a:pt x="801945" y="1762837"/>
                    </a:cubicBezTo>
                    <a:lnTo>
                      <a:pt x="902979" y="1863850"/>
                    </a:lnTo>
                    <a:cubicBezTo>
                      <a:pt x="921311" y="1838967"/>
                      <a:pt x="932149" y="1808264"/>
                      <a:pt x="932149" y="1775052"/>
                    </a:cubicBezTo>
                    <a:cubicBezTo>
                      <a:pt x="932149" y="1699026"/>
                      <a:pt x="875342" y="1636034"/>
                      <a:pt x="801945" y="1626276"/>
                    </a:cubicBezTo>
                    <a:close/>
                    <a:moveTo>
                      <a:pt x="762162" y="1626276"/>
                    </a:moveTo>
                    <a:cubicBezTo>
                      <a:pt x="688765" y="1636034"/>
                      <a:pt x="631940" y="1699026"/>
                      <a:pt x="631940" y="1775052"/>
                    </a:cubicBezTo>
                    <a:cubicBezTo>
                      <a:pt x="631940" y="1808264"/>
                      <a:pt x="642796" y="1838967"/>
                      <a:pt x="661128" y="1863850"/>
                    </a:cubicBezTo>
                    <a:cubicBezTo>
                      <a:pt x="661128" y="1863850"/>
                      <a:pt x="762162" y="1762837"/>
                      <a:pt x="762162" y="1762837"/>
                    </a:cubicBezTo>
                    <a:close/>
                    <a:moveTo>
                      <a:pt x="3543192" y="1624719"/>
                    </a:moveTo>
                    <a:cubicBezTo>
                      <a:pt x="3522726" y="1624989"/>
                      <a:pt x="3503582" y="1636987"/>
                      <a:pt x="3486304" y="1660376"/>
                    </a:cubicBezTo>
                    <a:cubicBezTo>
                      <a:pt x="3486304" y="1660376"/>
                      <a:pt x="3493120" y="1665420"/>
                      <a:pt x="3493120" y="1665420"/>
                    </a:cubicBezTo>
                    <a:cubicBezTo>
                      <a:pt x="3508737" y="1644290"/>
                      <a:pt x="3525608" y="1633454"/>
                      <a:pt x="3543260" y="1633200"/>
                    </a:cubicBezTo>
                    <a:cubicBezTo>
                      <a:pt x="3543463" y="1633200"/>
                      <a:pt x="3543684" y="1633200"/>
                      <a:pt x="3543904" y="1633200"/>
                    </a:cubicBezTo>
                    <a:cubicBezTo>
                      <a:pt x="3571916" y="1633200"/>
                      <a:pt x="3593230" y="1659931"/>
                      <a:pt x="3593433" y="1660217"/>
                    </a:cubicBezTo>
                    <a:lnTo>
                      <a:pt x="3600131" y="1654982"/>
                    </a:lnTo>
                    <a:cubicBezTo>
                      <a:pt x="3599147" y="1653741"/>
                      <a:pt x="3576104" y="1624719"/>
                      <a:pt x="3543904" y="1624719"/>
                    </a:cubicBezTo>
                    <a:cubicBezTo>
                      <a:pt x="3543667" y="1624719"/>
                      <a:pt x="3543429" y="1624719"/>
                      <a:pt x="3543192" y="1624719"/>
                    </a:cubicBezTo>
                    <a:close/>
                    <a:moveTo>
                      <a:pt x="3370408" y="1624719"/>
                    </a:moveTo>
                    <a:cubicBezTo>
                      <a:pt x="3349942" y="1624989"/>
                      <a:pt x="3330799" y="1636987"/>
                      <a:pt x="3313520" y="1660376"/>
                    </a:cubicBezTo>
                    <a:cubicBezTo>
                      <a:pt x="3313520" y="1660376"/>
                      <a:pt x="3320337" y="1665420"/>
                      <a:pt x="3320337" y="1665420"/>
                    </a:cubicBezTo>
                    <a:cubicBezTo>
                      <a:pt x="3335936" y="1644290"/>
                      <a:pt x="3352808" y="1633454"/>
                      <a:pt x="3370459" y="1633200"/>
                    </a:cubicBezTo>
                    <a:cubicBezTo>
                      <a:pt x="3370663" y="1633200"/>
                      <a:pt x="3370883" y="1633200"/>
                      <a:pt x="3371087" y="1633200"/>
                    </a:cubicBezTo>
                    <a:cubicBezTo>
                      <a:pt x="3399115" y="1633200"/>
                      <a:pt x="3420429" y="1659931"/>
                      <a:pt x="3420633" y="1660217"/>
                    </a:cubicBezTo>
                    <a:lnTo>
                      <a:pt x="3427330" y="1654982"/>
                    </a:lnTo>
                    <a:cubicBezTo>
                      <a:pt x="3426347" y="1653741"/>
                      <a:pt x="3403303" y="1624719"/>
                      <a:pt x="3371104" y="1624719"/>
                    </a:cubicBezTo>
                    <a:cubicBezTo>
                      <a:pt x="3370866" y="1624719"/>
                      <a:pt x="3370646" y="1624719"/>
                      <a:pt x="3370408" y="1624719"/>
                    </a:cubicBezTo>
                    <a:close/>
                    <a:moveTo>
                      <a:pt x="3765599" y="1618817"/>
                    </a:moveTo>
                    <a:cubicBezTo>
                      <a:pt x="3758489" y="1618817"/>
                      <a:pt x="3752670" y="1624636"/>
                      <a:pt x="3752670" y="1631759"/>
                    </a:cubicBezTo>
                    <a:lnTo>
                      <a:pt x="3752670" y="1662757"/>
                    </a:lnTo>
                    <a:cubicBezTo>
                      <a:pt x="3752670" y="1669881"/>
                      <a:pt x="3758489" y="1675713"/>
                      <a:pt x="3765599" y="1675713"/>
                    </a:cubicBezTo>
                    <a:lnTo>
                      <a:pt x="3798116" y="1675713"/>
                    </a:lnTo>
                    <a:cubicBezTo>
                      <a:pt x="3805240" y="1675713"/>
                      <a:pt x="3811072" y="1669881"/>
                      <a:pt x="3811072" y="1662757"/>
                    </a:cubicBezTo>
                    <a:cubicBezTo>
                      <a:pt x="3811072" y="1662757"/>
                      <a:pt x="3811072" y="1631759"/>
                      <a:pt x="3811072" y="1631759"/>
                    </a:cubicBezTo>
                    <a:cubicBezTo>
                      <a:pt x="3811072" y="1624636"/>
                      <a:pt x="3805240" y="1618817"/>
                      <a:pt x="3798116" y="1618817"/>
                    </a:cubicBezTo>
                    <a:close/>
                    <a:moveTo>
                      <a:pt x="1064787" y="1614125"/>
                    </a:moveTo>
                    <a:lnTo>
                      <a:pt x="1133836" y="1614125"/>
                    </a:lnTo>
                    <a:lnTo>
                      <a:pt x="1133836" y="1673993"/>
                    </a:lnTo>
                    <a:lnTo>
                      <a:pt x="1064787" y="1673993"/>
                    </a:lnTo>
                    <a:cubicBezTo>
                      <a:pt x="1064787" y="1673993"/>
                      <a:pt x="1064787" y="1614125"/>
                      <a:pt x="1064787" y="1614125"/>
                    </a:cubicBezTo>
                    <a:close/>
                    <a:moveTo>
                      <a:pt x="2326454" y="1593203"/>
                    </a:moveTo>
                    <a:lnTo>
                      <a:pt x="2311458" y="1648073"/>
                    </a:lnTo>
                    <a:lnTo>
                      <a:pt x="2396208" y="1648073"/>
                    </a:lnTo>
                    <a:cubicBezTo>
                      <a:pt x="2396208" y="1648073"/>
                      <a:pt x="2381212" y="1593203"/>
                      <a:pt x="2381212" y="1593203"/>
                    </a:cubicBezTo>
                    <a:close/>
                    <a:moveTo>
                      <a:pt x="5293058" y="1587866"/>
                    </a:moveTo>
                    <a:lnTo>
                      <a:pt x="5312609" y="1599167"/>
                    </a:lnTo>
                    <a:cubicBezTo>
                      <a:pt x="5316231" y="1601243"/>
                      <a:pt x="5317453" y="1605840"/>
                      <a:pt x="5315381" y="1609421"/>
                    </a:cubicBezTo>
                    <a:cubicBezTo>
                      <a:pt x="5313999" y="1611856"/>
                      <a:pt x="5311441" y="1613196"/>
                      <a:pt x="5308878" y="1613196"/>
                    </a:cubicBezTo>
                    <a:cubicBezTo>
                      <a:pt x="5307574" y="1613196"/>
                      <a:pt x="5306270" y="1612869"/>
                      <a:pt x="5305090" y="1612181"/>
                    </a:cubicBezTo>
                    <a:lnTo>
                      <a:pt x="5285530" y="1600919"/>
                    </a:lnTo>
                    <a:cubicBezTo>
                      <a:pt x="5281967" y="1598804"/>
                      <a:pt x="5280705" y="1594212"/>
                      <a:pt x="5282769" y="1590633"/>
                    </a:cubicBezTo>
                    <a:cubicBezTo>
                      <a:pt x="5284848" y="1587023"/>
                      <a:pt x="5289427" y="1585795"/>
                      <a:pt x="5293058" y="1587866"/>
                    </a:cubicBezTo>
                    <a:close/>
                    <a:moveTo>
                      <a:pt x="5032453" y="1587866"/>
                    </a:moveTo>
                    <a:cubicBezTo>
                      <a:pt x="5036024" y="1585795"/>
                      <a:pt x="5040622" y="1587023"/>
                      <a:pt x="5042733" y="1590633"/>
                    </a:cubicBezTo>
                    <a:cubicBezTo>
                      <a:pt x="5044805" y="1594212"/>
                      <a:pt x="5043543" y="1598804"/>
                      <a:pt x="5039972" y="1600919"/>
                    </a:cubicBezTo>
                    <a:lnTo>
                      <a:pt x="5020421" y="1612181"/>
                    </a:lnTo>
                    <a:cubicBezTo>
                      <a:pt x="5019244" y="1612869"/>
                      <a:pt x="5017936" y="1613196"/>
                      <a:pt x="5016682" y="1613196"/>
                    </a:cubicBezTo>
                    <a:cubicBezTo>
                      <a:pt x="5014072" y="1613196"/>
                      <a:pt x="5011555" y="1611856"/>
                      <a:pt x="5010132" y="1609458"/>
                    </a:cubicBezTo>
                    <a:cubicBezTo>
                      <a:pt x="5008060" y="1605840"/>
                      <a:pt x="5009272" y="1601243"/>
                      <a:pt x="5012902" y="1599167"/>
                    </a:cubicBezTo>
                    <a:close/>
                    <a:moveTo>
                      <a:pt x="5161241" y="1586860"/>
                    </a:moveTo>
                    <a:cubicBezTo>
                      <a:pt x="5171553" y="1586860"/>
                      <a:pt x="5180060" y="1595312"/>
                      <a:pt x="5180060" y="1605642"/>
                    </a:cubicBezTo>
                    <a:cubicBezTo>
                      <a:pt x="5180060" y="1615965"/>
                      <a:pt x="5171553" y="1624462"/>
                      <a:pt x="5161241" y="1624462"/>
                    </a:cubicBezTo>
                    <a:cubicBezTo>
                      <a:pt x="5150906" y="1624462"/>
                      <a:pt x="5142428" y="1615965"/>
                      <a:pt x="5142428" y="1605642"/>
                    </a:cubicBezTo>
                    <a:cubicBezTo>
                      <a:pt x="5142428" y="1595312"/>
                      <a:pt x="5150906" y="1586860"/>
                      <a:pt x="5161241" y="1586860"/>
                    </a:cubicBezTo>
                    <a:close/>
                    <a:moveTo>
                      <a:pt x="3756931" y="1586860"/>
                    </a:moveTo>
                    <a:lnTo>
                      <a:pt x="3970726" y="1586860"/>
                    </a:lnTo>
                    <a:cubicBezTo>
                      <a:pt x="3991032" y="1586860"/>
                      <a:pt x="4007637" y="1601880"/>
                      <a:pt x="4007637" y="1623770"/>
                    </a:cubicBezTo>
                    <a:lnTo>
                      <a:pt x="4007637" y="1837560"/>
                    </a:lnTo>
                    <a:cubicBezTo>
                      <a:pt x="4007637" y="1859451"/>
                      <a:pt x="3991032" y="1874470"/>
                      <a:pt x="3970726" y="1874470"/>
                    </a:cubicBezTo>
                    <a:lnTo>
                      <a:pt x="3756931" y="1874470"/>
                    </a:lnTo>
                    <a:cubicBezTo>
                      <a:pt x="3736638" y="1874470"/>
                      <a:pt x="3720020" y="1859451"/>
                      <a:pt x="3720020" y="1837560"/>
                    </a:cubicBezTo>
                    <a:lnTo>
                      <a:pt x="3720020" y="1623770"/>
                    </a:lnTo>
                    <a:cubicBezTo>
                      <a:pt x="3720020" y="1601880"/>
                      <a:pt x="3736638" y="1586860"/>
                      <a:pt x="3756931" y="1586860"/>
                    </a:cubicBezTo>
                    <a:close/>
                    <a:moveTo>
                      <a:pt x="782045" y="1586860"/>
                    </a:moveTo>
                    <a:cubicBezTo>
                      <a:pt x="832335" y="1586860"/>
                      <a:pt x="879594" y="1606429"/>
                      <a:pt x="915124" y="1641993"/>
                    </a:cubicBezTo>
                    <a:cubicBezTo>
                      <a:pt x="950673" y="1677523"/>
                      <a:pt x="970242" y="1724780"/>
                      <a:pt x="970242" y="1775052"/>
                    </a:cubicBezTo>
                    <a:cubicBezTo>
                      <a:pt x="970242" y="1825323"/>
                      <a:pt x="950673" y="1872580"/>
                      <a:pt x="915124" y="1908110"/>
                    </a:cubicBezTo>
                    <a:cubicBezTo>
                      <a:pt x="879594" y="1943657"/>
                      <a:pt x="832335" y="1963243"/>
                      <a:pt x="782045" y="1963243"/>
                    </a:cubicBezTo>
                    <a:cubicBezTo>
                      <a:pt x="731772" y="1963243"/>
                      <a:pt x="684531" y="1943657"/>
                      <a:pt x="648983" y="1908110"/>
                    </a:cubicBezTo>
                    <a:cubicBezTo>
                      <a:pt x="613434" y="1872580"/>
                      <a:pt x="593848" y="1825323"/>
                      <a:pt x="593848" y="1775052"/>
                    </a:cubicBezTo>
                    <a:cubicBezTo>
                      <a:pt x="593848" y="1724780"/>
                      <a:pt x="613434" y="1677523"/>
                      <a:pt x="648983" y="1641993"/>
                    </a:cubicBezTo>
                    <a:cubicBezTo>
                      <a:pt x="684531" y="1606429"/>
                      <a:pt x="731772" y="1586860"/>
                      <a:pt x="782045" y="1586860"/>
                    </a:cubicBezTo>
                    <a:close/>
                    <a:moveTo>
                      <a:pt x="231723" y="1581477"/>
                    </a:moveTo>
                    <a:cubicBezTo>
                      <a:pt x="237229" y="1581492"/>
                      <a:pt x="240064" y="1585505"/>
                      <a:pt x="240064" y="1593816"/>
                    </a:cubicBezTo>
                    <a:lnTo>
                      <a:pt x="240064" y="1602339"/>
                    </a:lnTo>
                    <a:lnTo>
                      <a:pt x="223558" y="1602339"/>
                    </a:lnTo>
                    <a:lnTo>
                      <a:pt x="223558" y="1593816"/>
                    </a:lnTo>
                    <a:cubicBezTo>
                      <a:pt x="223558" y="1585490"/>
                      <a:pt x="226204" y="1581477"/>
                      <a:pt x="231723" y="1581477"/>
                    </a:cubicBezTo>
                    <a:close/>
                    <a:moveTo>
                      <a:pt x="166267" y="1581477"/>
                    </a:moveTo>
                    <a:cubicBezTo>
                      <a:pt x="171055" y="1581477"/>
                      <a:pt x="173524" y="1585430"/>
                      <a:pt x="173524" y="1593635"/>
                    </a:cubicBezTo>
                    <a:lnTo>
                      <a:pt x="173524" y="1632433"/>
                    </a:lnTo>
                    <a:cubicBezTo>
                      <a:pt x="173524" y="1640639"/>
                      <a:pt x="171055" y="1644757"/>
                      <a:pt x="166267" y="1644757"/>
                    </a:cubicBezTo>
                    <a:cubicBezTo>
                      <a:pt x="163457" y="1644757"/>
                      <a:pt x="160786" y="1643475"/>
                      <a:pt x="158102" y="1640775"/>
                    </a:cubicBezTo>
                    <a:lnTo>
                      <a:pt x="158102" y="1585475"/>
                    </a:lnTo>
                    <a:cubicBezTo>
                      <a:pt x="160786" y="1582775"/>
                      <a:pt x="163457" y="1581477"/>
                      <a:pt x="166267" y="1581477"/>
                    </a:cubicBezTo>
                    <a:close/>
                    <a:moveTo>
                      <a:pt x="2319881" y="1575953"/>
                    </a:moveTo>
                    <a:lnTo>
                      <a:pt x="2387816" y="1575953"/>
                    </a:lnTo>
                    <a:cubicBezTo>
                      <a:pt x="2391699" y="1575953"/>
                      <a:pt x="2395092" y="1578556"/>
                      <a:pt x="2396132" y="1582304"/>
                    </a:cubicBezTo>
                    <a:lnTo>
                      <a:pt x="2430222" y="1707004"/>
                    </a:lnTo>
                    <a:lnTo>
                      <a:pt x="2433065" y="1717417"/>
                    </a:lnTo>
                    <a:lnTo>
                      <a:pt x="2475777" y="1873558"/>
                    </a:lnTo>
                    <a:lnTo>
                      <a:pt x="2510310" y="1873558"/>
                    </a:lnTo>
                    <a:cubicBezTo>
                      <a:pt x="2515080" y="1873558"/>
                      <a:pt x="2518932" y="1877416"/>
                      <a:pt x="2518932" y="1882183"/>
                    </a:cubicBezTo>
                    <a:lnTo>
                      <a:pt x="2518932" y="1906050"/>
                    </a:lnTo>
                    <a:cubicBezTo>
                      <a:pt x="2518932" y="1910817"/>
                      <a:pt x="2515080" y="1914675"/>
                      <a:pt x="2510310" y="1914675"/>
                    </a:cubicBezTo>
                    <a:lnTo>
                      <a:pt x="2197356" y="1914675"/>
                    </a:lnTo>
                    <a:cubicBezTo>
                      <a:pt x="2192601" y="1914675"/>
                      <a:pt x="2188734" y="1910817"/>
                      <a:pt x="2188734" y="1906050"/>
                    </a:cubicBezTo>
                    <a:lnTo>
                      <a:pt x="2188734" y="1882183"/>
                    </a:lnTo>
                    <a:cubicBezTo>
                      <a:pt x="2188734" y="1877416"/>
                      <a:pt x="2192601" y="1873558"/>
                      <a:pt x="2197356" y="1873558"/>
                    </a:cubicBezTo>
                    <a:lnTo>
                      <a:pt x="2231889" y="1873558"/>
                    </a:lnTo>
                    <a:lnTo>
                      <a:pt x="2274387" y="1718138"/>
                    </a:lnTo>
                    <a:cubicBezTo>
                      <a:pt x="2274433" y="1717950"/>
                      <a:pt x="2274524" y="1717777"/>
                      <a:pt x="2274540" y="1717589"/>
                    </a:cubicBezTo>
                    <a:lnTo>
                      <a:pt x="2291309" y="1656337"/>
                    </a:lnTo>
                    <a:lnTo>
                      <a:pt x="2291814" y="1654424"/>
                    </a:lnTo>
                    <a:lnTo>
                      <a:pt x="2311549" y="1582304"/>
                    </a:lnTo>
                    <a:cubicBezTo>
                      <a:pt x="2312589" y="1578556"/>
                      <a:pt x="2315967" y="1575953"/>
                      <a:pt x="2319881" y="1575953"/>
                    </a:cubicBezTo>
                    <a:close/>
                    <a:moveTo>
                      <a:pt x="4113162" y="1570459"/>
                    </a:moveTo>
                    <a:lnTo>
                      <a:pt x="4206916" y="1570459"/>
                    </a:lnTo>
                    <a:cubicBezTo>
                      <a:pt x="4206916" y="1570459"/>
                      <a:pt x="4206916" y="1851862"/>
                      <a:pt x="4206916" y="1851862"/>
                    </a:cubicBezTo>
                    <a:lnTo>
                      <a:pt x="4113162" y="1851862"/>
                    </a:lnTo>
                    <a:close/>
                    <a:moveTo>
                      <a:pt x="1811347" y="1570426"/>
                    </a:moveTo>
                    <a:lnTo>
                      <a:pt x="1863748" y="1570426"/>
                    </a:lnTo>
                    <a:cubicBezTo>
                      <a:pt x="1863748" y="1570426"/>
                      <a:pt x="1882786" y="1570290"/>
                      <a:pt x="1882786" y="1595266"/>
                    </a:cubicBezTo>
                    <a:cubicBezTo>
                      <a:pt x="1882786" y="1616344"/>
                      <a:pt x="1868688" y="1618430"/>
                      <a:pt x="1861209" y="1618656"/>
                    </a:cubicBezTo>
                    <a:cubicBezTo>
                      <a:pt x="1859872" y="1618656"/>
                      <a:pt x="1858693" y="1618656"/>
                      <a:pt x="1857945" y="1618656"/>
                    </a:cubicBezTo>
                    <a:lnTo>
                      <a:pt x="1811347" y="1618656"/>
                    </a:lnTo>
                    <a:close/>
                    <a:moveTo>
                      <a:pt x="79958" y="1567886"/>
                    </a:moveTo>
                    <a:lnTo>
                      <a:pt x="79958" y="1639688"/>
                    </a:lnTo>
                    <a:cubicBezTo>
                      <a:pt x="79958" y="1645692"/>
                      <a:pt x="80437" y="1650157"/>
                      <a:pt x="81407" y="1653099"/>
                    </a:cubicBezTo>
                    <a:cubicBezTo>
                      <a:pt x="82881" y="1657624"/>
                      <a:pt x="86472" y="1659811"/>
                      <a:pt x="92104" y="1659811"/>
                    </a:cubicBezTo>
                    <a:cubicBezTo>
                      <a:pt x="97989" y="1659811"/>
                      <a:pt x="104162" y="1656206"/>
                      <a:pt x="110790" y="1648754"/>
                    </a:cubicBezTo>
                    <a:lnTo>
                      <a:pt x="110790" y="1658544"/>
                    </a:lnTo>
                    <a:lnTo>
                      <a:pt x="127283" y="1658544"/>
                    </a:lnTo>
                    <a:cubicBezTo>
                      <a:pt x="127283" y="1658544"/>
                      <a:pt x="127283" y="1567886"/>
                      <a:pt x="127283" y="1567886"/>
                    </a:cubicBezTo>
                    <a:lnTo>
                      <a:pt x="110790" y="1567886"/>
                    </a:lnTo>
                    <a:lnTo>
                      <a:pt x="110790" y="1637335"/>
                    </a:lnTo>
                    <a:cubicBezTo>
                      <a:pt x="107098" y="1642464"/>
                      <a:pt x="103747" y="1644953"/>
                      <a:pt x="100445" y="1644953"/>
                    </a:cubicBezTo>
                    <a:cubicBezTo>
                      <a:pt x="98241" y="1644953"/>
                      <a:pt x="96842" y="1643716"/>
                      <a:pt x="96464" y="1641137"/>
                    </a:cubicBezTo>
                    <a:cubicBezTo>
                      <a:pt x="96338" y="1640790"/>
                      <a:pt x="96275" y="1638708"/>
                      <a:pt x="96275" y="1634786"/>
                    </a:cubicBezTo>
                    <a:lnTo>
                      <a:pt x="96275" y="1567886"/>
                    </a:lnTo>
                    <a:close/>
                    <a:moveTo>
                      <a:pt x="227187" y="1566800"/>
                    </a:moveTo>
                    <a:cubicBezTo>
                      <a:pt x="218859" y="1566800"/>
                      <a:pt x="212395" y="1569983"/>
                      <a:pt x="207607" y="1576228"/>
                    </a:cubicBezTo>
                    <a:cubicBezTo>
                      <a:pt x="204192" y="1580738"/>
                      <a:pt x="202529" y="1587783"/>
                      <a:pt x="202529" y="1597437"/>
                    </a:cubicBezTo>
                    <a:lnTo>
                      <a:pt x="202529" y="1629175"/>
                    </a:lnTo>
                    <a:cubicBezTo>
                      <a:pt x="202529" y="1638859"/>
                      <a:pt x="204230" y="1646054"/>
                      <a:pt x="207783" y="1650564"/>
                    </a:cubicBezTo>
                    <a:cubicBezTo>
                      <a:pt x="212571" y="1656824"/>
                      <a:pt x="219098" y="1659811"/>
                      <a:pt x="227552" y="1659811"/>
                    </a:cubicBezTo>
                    <a:cubicBezTo>
                      <a:pt x="236372" y="1659811"/>
                      <a:pt x="243075" y="1656674"/>
                      <a:pt x="247498" y="1650202"/>
                    </a:cubicBezTo>
                    <a:cubicBezTo>
                      <a:pt x="249703" y="1646899"/>
                      <a:pt x="250938" y="1643520"/>
                      <a:pt x="251303" y="1640231"/>
                    </a:cubicBezTo>
                    <a:cubicBezTo>
                      <a:pt x="251555" y="1639115"/>
                      <a:pt x="251668" y="1635540"/>
                      <a:pt x="251668" y="1629537"/>
                    </a:cubicBezTo>
                    <a:lnTo>
                      <a:pt x="251668" y="1627183"/>
                    </a:lnTo>
                    <a:lnTo>
                      <a:pt x="234986" y="1627183"/>
                    </a:lnTo>
                    <a:cubicBezTo>
                      <a:pt x="234986" y="1633428"/>
                      <a:pt x="234873" y="1637199"/>
                      <a:pt x="234621" y="1638421"/>
                    </a:cubicBezTo>
                    <a:cubicBezTo>
                      <a:pt x="233764" y="1642826"/>
                      <a:pt x="231232" y="1644953"/>
                      <a:pt x="227187" y="1644953"/>
                    </a:cubicBezTo>
                    <a:cubicBezTo>
                      <a:pt x="221567" y="1644953"/>
                      <a:pt x="218846" y="1640714"/>
                      <a:pt x="218846" y="1632252"/>
                    </a:cubicBezTo>
                    <a:lnTo>
                      <a:pt x="218846" y="1616292"/>
                    </a:lnTo>
                    <a:lnTo>
                      <a:pt x="251668" y="1616292"/>
                    </a:lnTo>
                    <a:cubicBezTo>
                      <a:pt x="251668" y="1616292"/>
                      <a:pt x="251668" y="1597437"/>
                      <a:pt x="251668" y="1597437"/>
                    </a:cubicBezTo>
                    <a:cubicBezTo>
                      <a:pt x="251668" y="1587783"/>
                      <a:pt x="250056" y="1580738"/>
                      <a:pt x="246767" y="1576228"/>
                    </a:cubicBezTo>
                    <a:cubicBezTo>
                      <a:pt x="241992" y="1569983"/>
                      <a:pt x="235389" y="1566800"/>
                      <a:pt x="227187" y="1566800"/>
                    </a:cubicBezTo>
                    <a:close/>
                    <a:moveTo>
                      <a:pt x="3537698" y="1559626"/>
                    </a:moveTo>
                    <a:cubicBezTo>
                      <a:pt x="3570339" y="1559626"/>
                      <a:pt x="3601623" y="1577510"/>
                      <a:pt x="3631110" y="1612817"/>
                    </a:cubicBezTo>
                    <a:lnTo>
                      <a:pt x="3631330" y="1613040"/>
                    </a:lnTo>
                    <a:cubicBezTo>
                      <a:pt x="3633568" y="1614599"/>
                      <a:pt x="3635145" y="1616827"/>
                      <a:pt x="3636044" y="1619516"/>
                    </a:cubicBezTo>
                    <a:cubicBezTo>
                      <a:pt x="3636926" y="1621982"/>
                      <a:pt x="3636926" y="1623987"/>
                      <a:pt x="3636705" y="1625785"/>
                    </a:cubicBezTo>
                    <a:lnTo>
                      <a:pt x="3636705" y="1885441"/>
                    </a:lnTo>
                    <a:cubicBezTo>
                      <a:pt x="3636705" y="1890803"/>
                      <a:pt x="3633568" y="1895720"/>
                      <a:pt x="3628651" y="1897725"/>
                    </a:cubicBezTo>
                    <a:cubicBezTo>
                      <a:pt x="3623734" y="1899745"/>
                      <a:pt x="3617935" y="1898854"/>
                      <a:pt x="3614137" y="1895052"/>
                    </a:cubicBezTo>
                    <a:cubicBezTo>
                      <a:pt x="3613679" y="1894383"/>
                      <a:pt x="3561606" y="1845217"/>
                      <a:pt x="3518724" y="1845217"/>
                    </a:cubicBezTo>
                    <a:cubicBezTo>
                      <a:pt x="3480505" y="1845217"/>
                      <a:pt x="3467109" y="1887446"/>
                      <a:pt x="3466652" y="1889244"/>
                    </a:cubicBezTo>
                    <a:cubicBezTo>
                      <a:pt x="3466652" y="1889467"/>
                      <a:pt x="3466431" y="1889467"/>
                      <a:pt x="3466431" y="1889689"/>
                    </a:cubicBezTo>
                    <a:cubicBezTo>
                      <a:pt x="3466431" y="1889912"/>
                      <a:pt x="3466211" y="1890358"/>
                      <a:pt x="3465973" y="1890581"/>
                    </a:cubicBezTo>
                    <a:cubicBezTo>
                      <a:pt x="3465753" y="1891026"/>
                      <a:pt x="3465533" y="1891487"/>
                      <a:pt x="3465312" y="1891917"/>
                    </a:cubicBezTo>
                    <a:cubicBezTo>
                      <a:pt x="3465075" y="1892140"/>
                      <a:pt x="3465075" y="1892363"/>
                      <a:pt x="3464854" y="1892601"/>
                    </a:cubicBezTo>
                    <a:cubicBezTo>
                      <a:pt x="3464634" y="1893031"/>
                      <a:pt x="3464193" y="1893492"/>
                      <a:pt x="3463973" y="1893922"/>
                    </a:cubicBezTo>
                    <a:cubicBezTo>
                      <a:pt x="3463735" y="1894161"/>
                      <a:pt x="3463735" y="1894383"/>
                      <a:pt x="3463515" y="1894383"/>
                    </a:cubicBezTo>
                    <a:lnTo>
                      <a:pt x="3461955" y="1895943"/>
                    </a:lnTo>
                    <a:cubicBezTo>
                      <a:pt x="3461514" y="1896404"/>
                      <a:pt x="3460836" y="1896834"/>
                      <a:pt x="3460395" y="1897056"/>
                    </a:cubicBezTo>
                    <a:cubicBezTo>
                      <a:pt x="3460395" y="1897056"/>
                      <a:pt x="3460157" y="1897056"/>
                      <a:pt x="3460157" y="1897279"/>
                    </a:cubicBezTo>
                    <a:cubicBezTo>
                      <a:pt x="3458157" y="1898393"/>
                      <a:pt x="3455918" y="1899077"/>
                      <a:pt x="3453680" y="1899077"/>
                    </a:cubicBezTo>
                    <a:lnTo>
                      <a:pt x="3451900" y="1899077"/>
                    </a:lnTo>
                    <a:cubicBezTo>
                      <a:pt x="3451679" y="1899077"/>
                      <a:pt x="3451459" y="1899077"/>
                      <a:pt x="3451222" y="1898854"/>
                    </a:cubicBezTo>
                    <a:cubicBezTo>
                      <a:pt x="3451001" y="1898854"/>
                      <a:pt x="3450781" y="1898854"/>
                      <a:pt x="3450560" y="1898632"/>
                    </a:cubicBezTo>
                    <a:cubicBezTo>
                      <a:pt x="3450102" y="1898393"/>
                      <a:pt x="3449441" y="1898393"/>
                      <a:pt x="3449000" y="1898186"/>
                    </a:cubicBezTo>
                    <a:cubicBezTo>
                      <a:pt x="3448763" y="1898186"/>
                      <a:pt x="3448542" y="1897963"/>
                      <a:pt x="3448542" y="1897963"/>
                    </a:cubicBezTo>
                    <a:cubicBezTo>
                      <a:pt x="3448102" y="1897725"/>
                      <a:pt x="3447423" y="1897502"/>
                      <a:pt x="3446982" y="1897056"/>
                    </a:cubicBezTo>
                    <a:cubicBezTo>
                      <a:pt x="3446762" y="1897056"/>
                      <a:pt x="3446762" y="1896850"/>
                      <a:pt x="3446542" y="1896850"/>
                    </a:cubicBezTo>
                    <a:cubicBezTo>
                      <a:pt x="3446084" y="1896611"/>
                      <a:pt x="3445643" y="1896181"/>
                      <a:pt x="3445202" y="1895720"/>
                    </a:cubicBezTo>
                    <a:lnTo>
                      <a:pt x="3443625" y="1894161"/>
                    </a:lnTo>
                    <a:cubicBezTo>
                      <a:pt x="3443405" y="1893922"/>
                      <a:pt x="3443405" y="1893715"/>
                      <a:pt x="3443184" y="1893492"/>
                    </a:cubicBezTo>
                    <a:cubicBezTo>
                      <a:pt x="3442947" y="1893031"/>
                      <a:pt x="3442506" y="1892601"/>
                      <a:pt x="3442303" y="1892140"/>
                    </a:cubicBezTo>
                    <a:cubicBezTo>
                      <a:pt x="3442065" y="1891917"/>
                      <a:pt x="3442065" y="1891487"/>
                      <a:pt x="3441845" y="1891249"/>
                    </a:cubicBezTo>
                    <a:cubicBezTo>
                      <a:pt x="3441624" y="1890803"/>
                      <a:pt x="3441404" y="1890358"/>
                      <a:pt x="3441404" y="1889912"/>
                    </a:cubicBezTo>
                    <a:cubicBezTo>
                      <a:pt x="3441404" y="1889689"/>
                      <a:pt x="3441183" y="1889689"/>
                      <a:pt x="3441183" y="1889467"/>
                    </a:cubicBezTo>
                    <a:cubicBezTo>
                      <a:pt x="3440726" y="1887685"/>
                      <a:pt x="3427330" y="1845440"/>
                      <a:pt x="3389111" y="1845440"/>
                    </a:cubicBezTo>
                    <a:cubicBezTo>
                      <a:pt x="3346195" y="1845440"/>
                      <a:pt x="3293919" y="1894606"/>
                      <a:pt x="3293478" y="1895274"/>
                    </a:cubicBezTo>
                    <a:cubicBezTo>
                      <a:pt x="3291019" y="1897725"/>
                      <a:pt x="3287645" y="1899077"/>
                      <a:pt x="3284305" y="1899077"/>
                    </a:cubicBezTo>
                    <a:cubicBezTo>
                      <a:pt x="3282507" y="1899077"/>
                      <a:pt x="3280727" y="1898632"/>
                      <a:pt x="3278947" y="1897963"/>
                    </a:cubicBezTo>
                    <a:cubicBezTo>
                      <a:pt x="3274029" y="1895943"/>
                      <a:pt x="3270892" y="1891026"/>
                      <a:pt x="3270892" y="1885664"/>
                    </a:cubicBezTo>
                    <a:lnTo>
                      <a:pt x="3270892" y="1627122"/>
                    </a:lnTo>
                    <a:cubicBezTo>
                      <a:pt x="3270672" y="1626215"/>
                      <a:pt x="3270672" y="1625101"/>
                      <a:pt x="3270672" y="1624210"/>
                    </a:cubicBezTo>
                    <a:cubicBezTo>
                      <a:pt x="3270672" y="1619739"/>
                      <a:pt x="3271808" y="1617288"/>
                      <a:pt x="3280286" y="1607455"/>
                    </a:cubicBezTo>
                    <a:cubicBezTo>
                      <a:pt x="3283864" y="1602539"/>
                      <a:pt x="3290562" y="1595394"/>
                      <a:pt x="3299057" y="1588250"/>
                    </a:cubicBezTo>
                    <a:cubicBezTo>
                      <a:pt x="3325881" y="1565656"/>
                      <a:pt x="3355589" y="1556062"/>
                      <a:pt x="3383973" y="1560740"/>
                    </a:cubicBezTo>
                    <a:cubicBezTo>
                      <a:pt x="3420616" y="1566770"/>
                      <a:pt x="3442065" y="1584432"/>
                      <a:pt x="3453680" y="1598736"/>
                    </a:cubicBezTo>
                    <a:cubicBezTo>
                      <a:pt x="3465533" y="1584432"/>
                      <a:pt x="3486982" y="1566770"/>
                      <a:pt x="3523404" y="1560740"/>
                    </a:cubicBezTo>
                    <a:cubicBezTo>
                      <a:pt x="3528101" y="1559849"/>
                      <a:pt x="3533018" y="1559626"/>
                      <a:pt x="3537698" y="1559626"/>
                    </a:cubicBezTo>
                    <a:close/>
                    <a:moveTo>
                      <a:pt x="4432834" y="1559590"/>
                    </a:moveTo>
                    <a:cubicBezTo>
                      <a:pt x="4494388" y="1559590"/>
                      <a:pt x="4540534" y="1599798"/>
                      <a:pt x="4540534" y="1686328"/>
                    </a:cubicBezTo>
                    <a:cubicBezTo>
                      <a:pt x="4540534" y="1686328"/>
                      <a:pt x="4540534" y="1847511"/>
                      <a:pt x="4540534" y="1847511"/>
                    </a:cubicBezTo>
                    <a:lnTo>
                      <a:pt x="4446981" y="1847511"/>
                    </a:lnTo>
                    <a:lnTo>
                      <a:pt x="4446981" y="1697023"/>
                    </a:lnTo>
                    <a:cubicBezTo>
                      <a:pt x="4446981" y="1659212"/>
                      <a:pt x="4433516" y="1633373"/>
                      <a:pt x="4399653" y="1633373"/>
                    </a:cubicBezTo>
                    <a:cubicBezTo>
                      <a:pt x="4373785" y="1633373"/>
                      <a:pt x="4358316" y="1650896"/>
                      <a:pt x="4351604" y="1667645"/>
                    </a:cubicBezTo>
                    <a:cubicBezTo>
                      <a:pt x="4349119" y="1673679"/>
                      <a:pt x="4348518" y="1681899"/>
                      <a:pt x="4348518" y="1690312"/>
                    </a:cubicBezTo>
                    <a:lnTo>
                      <a:pt x="4348518" y="1847511"/>
                    </a:lnTo>
                    <a:lnTo>
                      <a:pt x="4254965" y="1847511"/>
                    </a:lnTo>
                    <a:cubicBezTo>
                      <a:pt x="4254965" y="1847511"/>
                      <a:pt x="4256207" y="1592623"/>
                      <a:pt x="4254965" y="1566282"/>
                    </a:cubicBezTo>
                    <a:lnTo>
                      <a:pt x="4348518" y="1566282"/>
                    </a:lnTo>
                    <a:lnTo>
                      <a:pt x="4348518" y="1606007"/>
                    </a:lnTo>
                    <a:cubicBezTo>
                      <a:pt x="4348418" y="1606278"/>
                      <a:pt x="4348158" y="1606703"/>
                      <a:pt x="4347977" y="1606896"/>
                    </a:cubicBezTo>
                    <a:lnTo>
                      <a:pt x="4348518" y="1606896"/>
                    </a:lnTo>
                    <a:lnTo>
                      <a:pt x="4348518" y="1606007"/>
                    </a:lnTo>
                    <a:cubicBezTo>
                      <a:pt x="4361041" y="1586763"/>
                      <a:pt x="4383243" y="1559590"/>
                      <a:pt x="4432834" y="1559590"/>
                    </a:cubicBezTo>
                    <a:close/>
                    <a:moveTo>
                      <a:pt x="2001185" y="1537789"/>
                    </a:moveTo>
                    <a:cubicBezTo>
                      <a:pt x="2029063" y="1537789"/>
                      <a:pt x="2028745" y="1565531"/>
                      <a:pt x="2028745" y="1565531"/>
                    </a:cubicBezTo>
                    <a:lnTo>
                      <a:pt x="1969636" y="1565531"/>
                    </a:lnTo>
                    <a:cubicBezTo>
                      <a:pt x="1969636" y="1565531"/>
                      <a:pt x="1973421" y="1537789"/>
                      <a:pt x="2001185" y="1537789"/>
                    </a:cubicBezTo>
                    <a:close/>
                    <a:moveTo>
                      <a:pt x="141433" y="1536888"/>
                    </a:moveTo>
                    <a:lnTo>
                      <a:pt x="141433" y="1658544"/>
                    </a:lnTo>
                    <a:lnTo>
                      <a:pt x="157926" y="1658544"/>
                    </a:lnTo>
                    <a:lnTo>
                      <a:pt x="157926" y="1649840"/>
                    </a:lnTo>
                    <a:cubicBezTo>
                      <a:pt x="163445" y="1656583"/>
                      <a:pt x="169089" y="1659811"/>
                      <a:pt x="174973" y="1659811"/>
                    </a:cubicBezTo>
                    <a:cubicBezTo>
                      <a:pt x="181576" y="1659811"/>
                      <a:pt x="185948" y="1656583"/>
                      <a:pt x="188027" y="1649840"/>
                    </a:cubicBezTo>
                    <a:cubicBezTo>
                      <a:pt x="189148" y="1646552"/>
                      <a:pt x="189652" y="1640277"/>
                      <a:pt x="189652" y="1631347"/>
                    </a:cubicBezTo>
                    <a:cubicBezTo>
                      <a:pt x="189652" y="1631347"/>
                      <a:pt x="189652" y="1595265"/>
                      <a:pt x="189652" y="1595265"/>
                    </a:cubicBezTo>
                    <a:cubicBezTo>
                      <a:pt x="189652" y="1586304"/>
                      <a:pt x="189148" y="1580301"/>
                      <a:pt x="188027" y="1577133"/>
                    </a:cubicBezTo>
                    <a:cubicBezTo>
                      <a:pt x="185948" y="1570270"/>
                      <a:pt x="181576" y="1566800"/>
                      <a:pt x="174973" y="1566800"/>
                    </a:cubicBezTo>
                    <a:cubicBezTo>
                      <a:pt x="168837" y="1566800"/>
                      <a:pt x="163180" y="1570179"/>
                      <a:pt x="157926" y="1576771"/>
                    </a:cubicBezTo>
                    <a:lnTo>
                      <a:pt x="157926" y="1536888"/>
                    </a:lnTo>
                    <a:close/>
                    <a:moveTo>
                      <a:pt x="20311" y="1536888"/>
                    </a:moveTo>
                    <a:lnTo>
                      <a:pt x="20311" y="1554099"/>
                    </a:lnTo>
                    <a:lnTo>
                      <a:pt x="39525" y="1554099"/>
                    </a:lnTo>
                    <a:lnTo>
                      <a:pt x="39525" y="1658544"/>
                    </a:lnTo>
                    <a:lnTo>
                      <a:pt x="58022" y="1658544"/>
                    </a:lnTo>
                    <a:lnTo>
                      <a:pt x="58022" y="1554099"/>
                    </a:lnTo>
                    <a:lnTo>
                      <a:pt x="77602" y="1554099"/>
                    </a:lnTo>
                    <a:cubicBezTo>
                      <a:pt x="77602" y="1554099"/>
                      <a:pt x="77602" y="1536888"/>
                      <a:pt x="77602" y="1536888"/>
                    </a:cubicBezTo>
                    <a:close/>
                    <a:moveTo>
                      <a:pt x="1996471" y="1513130"/>
                    </a:moveTo>
                    <a:cubicBezTo>
                      <a:pt x="1927208" y="1513130"/>
                      <a:pt x="1927208" y="1582393"/>
                      <a:pt x="1927208" y="1582393"/>
                    </a:cubicBezTo>
                    <a:cubicBezTo>
                      <a:pt x="1927208" y="1582393"/>
                      <a:pt x="1922517" y="1651293"/>
                      <a:pt x="1996471" y="1651293"/>
                    </a:cubicBezTo>
                    <a:cubicBezTo>
                      <a:pt x="1996471" y="1651293"/>
                      <a:pt x="2058119" y="1654829"/>
                      <a:pt x="2058119" y="1603426"/>
                    </a:cubicBezTo>
                    <a:lnTo>
                      <a:pt x="2026388" y="1603426"/>
                    </a:lnTo>
                    <a:cubicBezTo>
                      <a:pt x="2026388" y="1603426"/>
                      <a:pt x="2027499" y="1622826"/>
                      <a:pt x="1997559" y="1622826"/>
                    </a:cubicBezTo>
                    <a:cubicBezTo>
                      <a:pt x="1997559" y="1622826"/>
                      <a:pt x="1965829" y="1624912"/>
                      <a:pt x="1965829" y="1591459"/>
                    </a:cubicBezTo>
                    <a:lnTo>
                      <a:pt x="2059206" y="1591459"/>
                    </a:lnTo>
                    <a:cubicBezTo>
                      <a:pt x="2059206" y="1591459"/>
                      <a:pt x="2069383" y="1513130"/>
                      <a:pt x="1996471" y="1513130"/>
                    </a:cubicBezTo>
                    <a:close/>
                    <a:moveTo>
                      <a:pt x="5308116" y="1510516"/>
                    </a:moveTo>
                    <a:lnTo>
                      <a:pt x="5330673" y="1510516"/>
                    </a:lnTo>
                    <a:cubicBezTo>
                      <a:pt x="5334825" y="1510516"/>
                      <a:pt x="5338201" y="1513895"/>
                      <a:pt x="5338201" y="1518038"/>
                    </a:cubicBezTo>
                    <a:cubicBezTo>
                      <a:pt x="5338201" y="1522195"/>
                      <a:pt x="5334825" y="1525571"/>
                      <a:pt x="5330673" y="1525571"/>
                    </a:cubicBezTo>
                    <a:lnTo>
                      <a:pt x="5308116" y="1525571"/>
                    </a:lnTo>
                    <a:cubicBezTo>
                      <a:pt x="5303932" y="1525571"/>
                      <a:pt x="5300614" y="1522195"/>
                      <a:pt x="5300614" y="1518038"/>
                    </a:cubicBezTo>
                    <a:cubicBezTo>
                      <a:pt x="5300614" y="1513895"/>
                      <a:pt x="5303932" y="1510516"/>
                      <a:pt x="5308116" y="1510516"/>
                    </a:cubicBezTo>
                    <a:close/>
                    <a:moveTo>
                      <a:pt x="4991825" y="1510516"/>
                    </a:moveTo>
                    <a:lnTo>
                      <a:pt x="5014392" y="1510516"/>
                    </a:lnTo>
                    <a:cubicBezTo>
                      <a:pt x="5018544" y="1510516"/>
                      <a:pt x="5021920" y="1513895"/>
                      <a:pt x="5021920" y="1518038"/>
                    </a:cubicBezTo>
                    <a:cubicBezTo>
                      <a:pt x="5021920" y="1522195"/>
                      <a:pt x="5018544" y="1525571"/>
                      <a:pt x="5014392" y="1525571"/>
                    </a:cubicBezTo>
                    <a:lnTo>
                      <a:pt x="4991825" y="1525571"/>
                    </a:lnTo>
                    <a:cubicBezTo>
                      <a:pt x="4987683" y="1525571"/>
                      <a:pt x="4984314" y="1522195"/>
                      <a:pt x="4984314" y="1518038"/>
                    </a:cubicBezTo>
                    <a:cubicBezTo>
                      <a:pt x="4984314" y="1513895"/>
                      <a:pt x="4987683" y="1510516"/>
                      <a:pt x="4991825" y="1510516"/>
                    </a:cubicBezTo>
                    <a:close/>
                    <a:moveTo>
                      <a:pt x="135990" y="1505150"/>
                    </a:moveTo>
                    <a:cubicBezTo>
                      <a:pt x="181387" y="1505150"/>
                      <a:pt x="215343" y="1506326"/>
                      <a:pt x="237884" y="1508770"/>
                    </a:cubicBezTo>
                    <a:cubicBezTo>
                      <a:pt x="244978" y="1509615"/>
                      <a:pt x="251303" y="1512390"/>
                      <a:pt x="256746" y="1517293"/>
                    </a:cubicBezTo>
                    <a:cubicBezTo>
                      <a:pt x="262202" y="1522195"/>
                      <a:pt x="265667" y="1528410"/>
                      <a:pt x="267254" y="1535605"/>
                    </a:cubicBezTo>
                    <a:cubicBezTo>
                      <a:pt x="270455" y="1549332"/>
                      <a:pt x="272156" y="1570647"/>
                      <a:pt x="272156" y="1599805"/>
                    </a:cubicBezTo>
                    <a:cubicBezTo>
                      <a:pt x="272156" y="1628450"/>
                      <a:pt x="270455" y="1649976"/>
                      <a:pt x="267254" y="1664171"/>
                    </a:cubicBezTo>
                    <a:cubicBezTo>
                      <a:pt x="265553" y="1671411"/>
                      <a:pt x="262139" y="1677400"/>
                      <a:pt x="256746" y="1682302"/>
                    </a:cubicBezTo>
                    <a:cubicBezTo>
                      <a:pt x="251353" y="1687189"/>
                      <a:pt x="244978" y="1690086"/>
                      <a:pt x="237884" y="1690825"/>
                    </a:cubicBezTo>
                    <a:cubicBezTo>
                      <a:pt x="215343" y="1693389"/>
                      <a:pt x="181387" y="1694626"/>
                      <a:pt x="135990" y="1694626"/>
                    </a:cubicBezTo>
                    <a:cubicBezTo>
                      <a:pt x="90555" y="1694626"/>
                      <a:pt x="56623" y="1693389"/>
                      <a:pt x="34082" y="1690825"/>
                    </a:cubicBezTo>
                    <a:cubicBezTo>
                      <a:pt x="26989" y="1690086"/>
                      <a:pt x="20663" y="1687189"/>
                      <a:pt x="15233" y="1682302"/>
                    </a:cubicBezTo>
                    <a:cubicBezTo>
                      <a:pt x="9777" y="1677400"/>
                      <a:pt x="6300" y="1671411"/>
                      <a:pt x="4712" y="1664171"/>
                    </a:cubicBezTo>
                    <a:cubicBezTo>
                      <a:pt x="1537" y="1650459"/>
                      <a:pt x="0" y="1628933"/>
                      <a:pt x="0" y="1599805"/>
                    </a:cubicBezTo>
                    <a:cubicBezTo>
                      <a:pt x="0" y="1571160"/>
                      <a:pt x="1537" y="1549845"/>
                      <a:pt x="4712" y="1535605"/>
                    </a:cubicBezTo>
                    <a:cubicBezTo>
                      <a:pt x="6438" y="1528410"/>
                      <a:pt x="10017" y="1522195"/>
                      <a:pt x="15409" y="1517293"/>
                    </a:cubicBezTo>
                    <a:cubicBezTo>
                      <a:pt x="20789" y="1512390"/>
                      <a:pt x="27052" y="1509615"/>
                      <a:pt x="34271" y="1508770"/>
                    </a:cubicBezTo>
                    <a:cubicBezTo>
                      <a:pt x="56661" y="1506326"/>
                      <a:pt x="90567" y="1505150"/>
                      <a:pt x="135990" y="1505150"/>
                    </a:cubicBezTo>
                    <a:close/>
                    <a:moveTo>
                      <a:pt x="3041747" y="1500231"/>
                    </a:moveTo>
                    <a:cubicBezTo>
                      <a:pt x="3003178" y="1500231"/>
                      <a:pt x="2971745" y="1532200"/>
                      <a:pt x="2971745" y="1570869"/>
                    </a:cubicBezTo>
                    <a:cubicBezTo>
                      <a:pt x="2971745" y="1570869"/>
                      <a:pt x="2971745" y="1605974"/>
                      <a:pt x="2971745" y="1605974"/>
                    </a:cubicBezTo>
                    <a:lnTo>
                      <a:pt x="3111749" y="1605974"/>
                    </a:lnTo>
                    <a:lnTo>
                      <a:pt x="3111749" y="1570869"/>
                    </a:lnTo>
                    <a:cubicBezTo>
                      <a:pt x="3111749" y="1532200"/>
                      <a:pt x="3080315" y="1500231"/>
                      <a:pt x="3041747" y="1500231"/>
                    </a:cubicBezTo>
                    <a:close/>
                    <a:moveTo>
                      <a:pt x="1811347" y="1499531"/>
                    </a:moveTo>
                    <a:lnTo>
                      <a:pt x="1863748" y="1499531"/>
                    </a:lnTo>
                    <a:cubicBezTo>
                      <a:pt x="1863748" y="1499531"/>
                      <a:pt x="1876621" y="1499667"/>
                      <a:pt x="1876621" y="1518388"/>
                    </a:cubicBezTo>
                    <a:cubicBezTo>
                      <a:pt x="1876621" y="1537155"/>
                      <a:pt x="1869142" y="1539784"/>
                      <a:pt x="1860665" y="1539784"/>
                    </a:cubicBezTo>
                    <a:lnTo>
                      <a:pt x="1811347" y="1539784"/>
                    </a:lnTo>
                    <a:close/>
                    <a:moveTo>
                      <a:pt x="1178994" y="1483250"/>
                    </a:moveTo>
                    <a:cubicBezTo>
                      <a:pt x="1193175" y="1483250"/>
                      <a:pt x="1204726" y="1494804"/>
                      <a:pt x="1204726" y="1508994"/>
                    </a:cubicBezTo>
                    <a:cubicBezTo>
                      <a:pt x="1204726" y="1523188"/>
                      <a:pt x="1193175" y="1534728"/>
                      <a:pt x="1178994" y="1534728"/>
                    </a:cubicBezTo>
                    <a:cubicBezTo>
                      <a:pt x="1164796" y="1534728"/>
                      <a:pt x="1153262" y="1523188"/>
                      <a:pt x="1153262" y="1508994"/>
                    </a:cubicBezTo>
                    <a:cubicBezTo>
                      <a:pt x="1153262" y="1494804"/>
                      <a:pt x="1164796" y="1483250"/>
                      <a:pt x="1178994" y="1483250"/>
                    </a:cubicBezTo>
                    <a:close/>
                    <a:moveTo>
                      <a:pt x="1015385" y="1483250"/>
                    </a:moveTo>
                    <a:cubicBezTo>
                      <a:pt x="1029583" y="1483250"/>
                      <a:pt x="1041133" y="1494804"/>
                      <a:pt x="1041133" y="1508994"/>
                    </a:cubicBezTo>
                    <a:cubicBezTo>
                      <a:pt x="1041133" y="1523188"/>
                      <a:pt x="1029583" y="1534728"/>
                      <a:pt x="1015385" y="1534728"/>
                    </a:cubicBezTo>
                    <a:cubicBezTo>
                      <a:pt x="1001202" y="1534728"/>
                      <a:pt x="989652" y="1523188"/>
                      <a:pt x="989652" y="1508994"/>
                    </a:cubicBezTo>
                    <a:cubicBezTo>
                      <a:pt x="989652" y="1494804"/>
                      <a:pt x="1001202" y="1483250"/>
                      <a:pt x="1015385" y="1483250"/>
                    </a:cubicBezTo>
                    <a:close/>
                    <a:moveTo>
                      <a:pt x="1957669" y="1477955"/>
                    </a:moveTo>
                    <a:cubicBezTo>
                      <a:pt x="1957669" y="1477955"/>
                      <a:pt x="1957669" y="1500257"/>
                      <a:pt x="1957669" y="1500257"/>
                    </a:cubicBezTo>
                    <a:lnTo>
                      <a:pt x="2032009" y="1500257"/>
                    </a:lnTo>
                    <a:lnTo>
                      <a:pt x="2032009" y="1477955"/>
                    </a:lnTo>
                    <a:close/>
                    <a:moveTo>
                      <a:pt x="1505328" y="1472447"/>
                    </a:moveTo>
                    <a:lnTo>
                      <a:pt x="1505328" y="1620691"/>
                    </a:lnTo>
                    <a:lnTo>
                      <a:pt x="1554741" y="1620691"/>
                    </a:lnTo>
                    <a:cubicBezTo>
                      <a:pt x="1554741" y="1620691"/>
                      <a:pt x="1554741" y="1472447"/>
                      <a:pt x="1554741" y="1472447"/>
                    </a:cubicBezTo>
                    <a:close/>
                    <a:moveTo>
                      <a:pt x="1422963" y="1472447"/>
                    </a:moveTo>
                    <a:lnTo>
                      <a:pt x="1422963" y="1620691"/>
                    </a:lnTo>
                    <a:lnTo>
                      <a:pt x="1472361" y="1620691"/>
                    </a:lnTo>
                    <a:cubicBezTo>
                      <a:pt x="1472361" y="1620691"/>
                      <a:pt x="1472361" y="1472447"/>
                      <a:pt x="1472361" y="1472447"/>
                    </a:cubicBezTo>
                    <a:close/>
                    <a:moveTo>
                      <a:pt x="1340628" y="1472447"/>
                    </a:moveTo>
                    <a:lnTo>
                      <a:pt x="1340628" y="1620691"/>
                    </a:lnTo>
                    <a:lnTo>
                      <a:pt x="1390026" y="1620691"/>
                    </a:lnTo>
                    <a:cubicBezTo>
                      <a:pt x="1390026" y="1620691"/>
                      <a:pt x="1390026" y="1472447"/>
                      <a:pt x="1390026" y="1472447"/>
                    </a:cubicBezTo>
                    <a:close/>
                    <a:moveTo>
                      <a:pt x="1769100" y="1467438"/>
                    </a:moveTo>
                    <a:lnTo>
                      <a:pt x="1769100" y="1647485"/>
                    </a:lnTo>
                    <a:lnTo>
                      <a:pt x="1862841" y="1647485"/>
                    </a:lnTo>
                    <a:cubicBezTo>
                      <a:pt x="1862841" y="1647485"/>
                      <a:pt x="1920137" y="1649344"/>
                      <a:pt x="1920137" y="1594360"/>
                    </a:cubicBezTo>
                    <a:cubicBezTo>
                      <a:pt x="1920137" y="1594360"/>
                      <a:pt x="1922607" y="1549575"/>
                      <a:pt x="1886412" y="1549575"/>
                    </a:cubicBezTo>
                    <a:cubicBezTo>
                      <a:pt x="1886412" y="1549575"/>
                      <a:pt x="1913972" y="1547512"/>
                      <a:pt x="1913972" y="1515306"/>
                    </a:cubicBezTo>
                    <a:cubicBezTo>
                      <a:pt x="1913972" y="1483054"/>
                      <a:pt x="1891353" y="1467438"/>
                      <a:pt x="1862841" y="1467438"/>
                    </a:cubicBezTo>
                    <a:close/>
                    <a:moveTo>
                      <a:pt x="5161933" y="1455985"/>
                    </a:moveTo>
                    <a:cubicBezTo>
                      <a:pt x="5173393" y="1455985"/>
                      <a:pt x="5180060" y="1461910"/>
                      <a:pt x="5180060" y="1473624"/>
                    </a:cubicBezTo>
                    <a:lnTo>
                      <a:pt x="5180060" y="1500253"/>
                    </a:lnTo>
                    <a:cubicBezTo>
                      <a:pt x="5180060" y="1503671"/>
                      <a:pt x="5179605" y="1507361"/>
                      <a:pt x="5179117" y="1511023"/>
                    </a:cubicBezTo>
                    <a:cubicBezTo>
                      <a:pt x="5179117" y="1511023"/>
                      <a:pt x="5172011" y="1564683"/>
                      <a:pt x="5172011" y="1564683"/>
                    </a:cubicBezTo>
                    <a:cubicBezTo>
                      <a:pt x="5171118" y="1571345"/>
                      <a:pt x="5167902" y="1573179"/>
                      <a:pt x="5161933" y="1573179"/>
                    </a:cubicBezTo>
                    <a:cubicBezTo>
                      <a:pt x="5155994" y="1573179"/>
                      <a:pt x="5152744" y="1571345"/>
                      <a:pt x="5151851" y="1564683"/>
                    </a:cubicBezTo>
                    <a:lnTo>
                      <a:pt x="5144737" y="1511023"/>
                    </a:lnTo>
                    <a:cubicBezTo>
                      <a:pt x="5144292" y="1507361"/>
                      <a:pt x="5143802" y="1503671"/>
                      <a:pt x="5143802" y="1500253"/>
                    </a:cubicBezTo>
                    <a:lnTo>
                      <a:pt x="5143802" y="1473624"/>
                    </a:lnTo>
                    <a:cubicBezTo>
                      <a:pt x="5143802" y="1461910"/>
                      <a:pt x="5150473" y="1455985"/>
                      <a:pt x="5161933" y="1455985"/>
                    </a:cubicBezTo>
                    <a:close/>
                    <a:moveTo>
                      <a:pt x="1303557" y="1455985"/>
                    </a:moveTo>
                    <a:lnTo>
                      <a:pt x="1591797" y="1455985"/>
                    </a:lnTo>
                    <a:cubicBezTo>
                      <a:pt x="1596347" y="1455985"/>
                      <a:pt x="1600005" y="1459682"/>
                      <a:pt x="1600005" y="1464193"/>
                    </a:cubicBezTo>
                    <a:cubicBezTo>
                      <a:pt x="1600005" y="1468760"/>
                      <a:pt x="1596347" y="1472447"/>
                      <a:pt x="1591797" y="1472447"/>
                    </a:cubicBezTo>
                    <a:lnTo>
                      <a:pt x="1587693" y="1472447"/>
                    </a:lnTo>
                    <a:lnTo>
                      <a:pt x="1587693" y="1620691"/>
                    </a:lnTo>
                    <a:cubicBezTo>
                      <a:pt x="1587693" y="1620691"/>
                      <a:pt x="1591797" y="1620691"/>
                      <a:pt x="1591797" y="1620691"/>
                    </a:cubicBezTo>
                    <a:cubicBezTo>
                      <a:pt x="1600927" y="1620691"/>
                      <a:pt x="1608258" y="1628067"/>
                      <a:pt x="1608258" y="1637144"/>
                    </a:cubicBezTo>
                    <a:cubicBezTo>
                      <a:pt x="1608258" y="1646258"/>
                      <a:pt x="1600927" y="1653643"/>
                      <a:pt x="1591797" y="1653643"/>
                    </a:cubicBezTo>
                    <a:lnTo>
                      <a:pt x="1303557" y="1653643"/>
                    </a:lnTo>
                    <a:cubicBezTo>
                      <a:pt x="1294441" y="1653643"/>
                      <a:pt x="1287066" y="1646258"/>
                      <a:pt x="1287066" y="1637144"/>
                    </a:cubicBezTo>
                    <a:cubicBezTo>
                      <a:pt x="1287066" y="1628067"/>
                      <a:pt x="1294441" y="1620691"/>
                      <a:pt x="1303557" y="1620691"/>
                    </a:cubicBezTo>
                    <a:lnTo>
                      <a:pt x="1307661" y="1620691"/>
                    </a:lnTo>
                    <a:lnTo>
                      <a:pt x="1307661" y="1472447"/>
                    </a:lnTo>
                    <a:lnTo>
                      <a:pt x="1303557" y="1472447"/>
                    </a:lnTo>
                    <a:cubicBezTo>
                      <a:pt x="1299006" y="1472447"/>
                      <a:pt x="1295319" y="1468760"/>
                      <a:pt x="1295319" y="1464193"/>
                    </a:cubicBezTo>
                    <a:cubicBezTo>
                      <a:pt x="1295319" y="1459682"/>
                      <a:pt x="1299006" y="1455985"/>
                      <a:pt x="1303557" y="1455985"/>
                    </a:cubicBezTo>
                    <a:close/>
                    <a:moveTo>
                      <a:pt x="806913" y="1453254"/>
                    </a:moveTo>
                    <a:cubicBezTo>
                      <a:pt x="796159" y="1453254"/>
                      <a:pt x="787391" y="1462021"/>
                      <a:pt x="787391" y="1472769"/>
                    </a:cubicBezTo>
                    <a:cubicBezTo>
                      <a:pt x="787391" y="1483553"/>
                      <a:pt x="796159" y="1492307"/>
                      <a:pt x="806913" y="1492307"/>
                    </a:cubicBezTo>
                    <a:cubicBezTo>
                      <a:pt x="817668" y="1492307"/>
                      <a:pt x="826435" y="1483553"/>
                      <a:pt x="826435" y="1472769"/>
                    </a:cubicBezTo>
                    <a:cubicBezTo>
                      <a:pt x="826435" y="1462021"/>
                      <a:pt x="817668" y="1453254"/>
                      <a:pt x="806913" y="1453254"/>
                    </a:cubicBezTo>
                    <a:close/>
                    <a:moveTo>
                      <a:pt x="532870" y="1453254"/>
                    </a:moveTo>
                    <a:cubicBezTo>
                      <a:pt x="522094" y="1453254"/>
                      <a:pt x="513326" y="1462021"/>
                      <a:pt x="513326" y="1472769"/>
                    </a:cubicBezTo>
                    <a:cubicBezTo>
                      <a:pt x="513326" y="1483553"/>
                      <a:pt x="522094" y="1492307"/>
                      <a:pt x="532870" y="1492307"/>
                    </a:cubicBezTo>
                    <a:cubicBezTo>
                      <a:pt x="543646" y="1492307"/>
                      <a:pt x="552392" y="1483553"/>
                      <a:pt x="552392" y="1472769"/>
                    </a:cubicBezTo>
                    <a:cubicBezTo>
                      <a:pt x="552392" y="1462021"/>
                      <a:pt x="543646" y="1453254"/>
                      <a:pt x="532870" y="1453254"/>
                    </a:cubicBezTo>
                    <a:close/>
                    <a:moveTo>
                      <a:pt x="2794942" y="1450774"/>
                    </a:moveTo>
                    <a:cubicBezTo>
                      <a:pt x="2837058" y="1448177"/>
                      <a:pt x="2846397" y="1466827"/>
                      <a:pt x="2854026" y="1493986"/>
                    </a:cubicBezTo>
                    <a:lnTo>
                      <a:pt x="2856107" y="1501411"/>
                    </a:lnTo>
                    <a:cubicBezTo>
                      <a:pt x="2859401" y="1513170"/>
                      <a:pt x="2853584" y="1525698"/>
                      <a:pt x="2843080" y="1529410"/>
                    </a:cubicBezTo>
                    <a:lnTo>
                      <a:pt x="2795545" y="1546181"/>
                    </a:lnTo>
                    <a:cubicBezTo>
                      <a:pt x="2785041" y="1549894"/>
                      <a:pt x="2773866" y="1543365"/>
                      <a:pt x="2770556" y="1531605"/>
                    </a:cubicBezTo>
                    <a:lnTo>
                      <a:pt x="2768475" y="1524180"/>
                    </a:lnTo>
                    <a:cubicBezTo>
                      <a:pt x="2759020" y="1490511"/>
                      <a:pt x="2712746" y="1505709"/>
                      <a:pt x="2686512" y="1514963"/>
                    </a:cubicBezTo>
                    <a:cubicBezTo>
                      <a:pt x="2660311" y="1524217"/>
                      <a:pt x="2614593" y="1541463"/>
                      <a:pt x="2624048" y="1575132"/>
                    </a:cubicBezTo>
                    <a:lnTo>
                      <a:pt x="2626146" y="1582557"/>
                    </a:lnTo>
                    <a:cubicBezTo>
                      <a:pt x="2629423" y="1594316"/>
                      <a:pt x="2623622" y="1606862"/>
                      <a:pt x="2613119" y="1610557"/>
                    </a:cubicBezTo>
                    <a:lnTo>
                      <a:pt x="2565566" y="1627327"/>
                    </a:lnTo>
                    <a:cubicBezTo>
                      <a:pt x="2555079" y="1631040"/>
                      <a:pt x="2543871" y="1624492"/>
                      <a:pt x="2540578" y="1612733"/>
                    </a:cubicBezTo>
                    <a:lnTo>
                      <a:pt x="2539234" y="1607612"/>
                    </a:lnTo>
                    <a:cubicBezTo>
                      <a:pt x="2536416" y="1608911"/>
                      <a:pt x="2533401" y="1610904"/>
                      <a:pt x="2530615" y="1614141"/>
                    </a:cubicBezTo>
                    <a:cubicBezTo>
                      <a:pt x="2520603" y="1625754"/>
                      <a:pt x="2517277" y="1648194"/>
                      <a:pt x="2521013" y="1679047"/>
                    </a:cubicBezTo>
                    <a:cubicBezTo>
                      <a:pt x="2527453" y="1732504"/>
                      <a:pt x="2546198" y="1751598"/>
                      <a:pt x="2566173" y="1757944"/>
                    </a:cubicBezTo>
                    <a:lnTo>
                      <a:pt x="2566173" y="1748653"/>
                    </a:lnTo>
                    <a:cubicBezTo>
                      <a:pt x="2566173" y="1739216"/>
                      <a:pt x="2568287" y="1729853"/>
                      <a:pt x="2572547" y="1721696"/>
                    </a:cubicBezTo>
                    <a:cubicBezTo>
                      <a:pt x="2592456" y="1683491"/>
                      <a:pt x="2620755" y="1649584"/>
                      <a:pt x="2656689" y="1619701"/>
                    </a:cubicBezTo>
                    <a:lnTo>
                      <a:pt x="2656689" y="1597115"/>
                    </a:lnTo>
                    <a:cubicBezTo>
                      <a:pt x="2656689" y="1595377"/>
                      <a:pt x="2657967" y="1593932"/>
                      <a:pt x="2659540" y="1593932"/>
                    </a:cubicBezTo>
                    <a:lnTo>
                      <a:pt x="2689117" y="1593932"/>
                    </a:lnTo>
                    <a:cubicBezTo>
                      <a:pt x="2690690" y="1593932"/>
                      <a:pt x="2691952" y="1595377"/>
                      <a:pt x="2691952" y="1597115"/>
                    </a:cubicBezTo>
                    <a:lnTo>
                      <a:pt x="2691952" y="1619573"/>
                    </a:lnTo>
                    <a:lnTo>
                      <a:pt x="2725707" y="1619573"/>
                    </a:lnTo>
                    <a:lnTo>
                      <a:pt x="2725707" y="1597115"/>
                    </a:lnTo>
                    <a:cubicBezTo>
                      <a:pt x="2725707" y="1595377"/>
                      <a:pt x="2726985" y="1593932"/>
                      <a:pt x="2728526" y="1593932"/>
                    </a:cubicBezTo>
                    <a:lnTo>
                      <a:pt x="2758135" y="1593932"/>
                    </a:lnTo>
                    <a:cubicBezTo>
                      <a:pt x="2759708" y="1593932"/>
                      <a:pt x="2760986" y="1595377"/>
                      <a:pt x="2760986" y="1597115"/>
                    </a:cubicBezTo>
                    <a:lnTo>
                      <a:pt x="2760986" y="1619573"/>
                    </a:lnTo>
                    <a:cubicBezTo>
                      <a:pt x="2796987" y="1649511"/>
                      <a:pt x="2825302" y="1683436"/>
                      <a:pt x="2845260" y="1721696"/>
                    </a:cubicBezTo>
                    <a:cubicBezTo>
                      <a:pt x="2849520" y="1729853"/>
                      <a:pt x="2851618" y="1739198"/>
                      <a:pt x="2851618" y="1748653"/>
                    </a:cubicBezTo>
                    <a:lnTo>
                      <a:pt x="2851618" y="1769667"/>
                    </a:lnTo>
                    <a:cubicBezTo>
                      <a:pt x="2851618" y="1799623"/>
                      <a:pt x="2829972" y="1823892"/>
                      <a:pt x="2803262" y="1823892"/>
                    </a:cubicBezTo>
                    <a:lnTo>
                      <a:pt x="2614561" y="1823892"/>
                    </a:lnTo>
                    <a:cubicBezTo>
                      <a:pt x="2588261" y="1823892"/>
                      <a:pt x="2566894" y="1800355"/>
                      <a:pt x="2566238" y="1771057"/>
                    </a:cubicBezTo>
                    <a:cubicBezTo>
                      <a:pt x="2534253" y="1762662"/>
                      <a:pt x="2516113" y="1733401"/>
                      <a:pt x="2509723" y="1680766"/>
                    </a:cubicBezTo>
                    <a:cubicBezTo>
                      <a:pt x="2505462" y="1645396"/>
                      <a:pt x="2509723" y="1620012"/>
                      <a:pt x="2522422" y="1605271"/>
                    </a:cubicBezTo>
                    <a:cubicBezTo>
                      <a:pt x="2526977" y="1600004"/>
                      <a:pt x="2531926" y="1596913"/>
                      <a:pt x="2536399" y="1595103"/>
                    </a:cubicBezTo>
                    <a:cubicBezTo>
                      <a:pt x="2530255" y="1554978"/>
                      <a:pt x="2531385" y="1532538"/>
                      <a:pt x="2677024" y="1481147"/>
                    </a:cubicBezTo>
                    <a:cubicBezTo>
                      <a:pt x="2732604" y="1461540"/>
                      <a:pt x="2769673" y="1452332"/>
                      <a:pt x="2794942" y="1450774"/>
                    </a:cubicBezTo>
                    <a:close/>
                    <a:moveTo>
                      <a:pt x="3038227" y="1450568"/>
                    </a:moveTo>
                    <a:cubicBezTo>
                      <a:pt x="3039980" y="1450532"/>
                      <a:pt x="3043500" y="1450532"/>
                      <a:pt x="3045253" y="1450568"/>
                    </a:cubicBezTo>
                    <a:cubicBezTo>
                      <a:pt x="3109653" y="1451726"/>
                      <a:pt x="3161165" y="1505952"/>
                      <a:pt x="3161165" y="1570869"/>
                    </a:cubicBezTo>
                    <a:lnTo>
                      <a:pt x="3161165" y="1605974"/>
                    </a:lnTo>
                    <a:lnTo>
                      <a:pt x="3168684" y="1605974"/>
                    </a:lnTo>
                    <a:cubicBezTo>
                      <a:pt x="3180230" y="1605974"/>
                      <a:pt x="3189667" y="1617895"/>
                      <a:pt x="3189667" y="1632632"/>
                    </a:cubicBezTo>
                    <a:lnTo>
                      <a:pt x="3189667" y="1808692"/>
                    </a:lnTo>
                    <a:cubicBezTo>
                      <a:pt x="3189667" y="1823393"/>
                      <a:pt x="3180230" y="1835439"/>
                      <a:pt x="3168684" y="1835439"/>
                    </a:cubicBezTo>
                    <a:lnTo>
                      <a:pt x="2914809" y="1835439"/>
                    </a:lnTo>
                    <a:cubicBezTo>
                      <a:pt x="2903249" y="1835439"/>
                      <a:pt x="2893826" y="1823393"/>
                      <a:pt x="2893826" y="1808692"/>
                    </a:cubicBezTo>
                    <a:lnTo>
                      <a:pt x="2893826" y="1632632"/>
                    </a:lnTo>
                    <a:cubicBezTo>
                      <a:pt x="2893826" y="1617895"/>
                      <a:pt x="2903249" y="1605974"/>
                      <a:pt x="2914809" y="1605974"/>
                    </a:cubicBezTo>
                    <a:lnTo>
                      <a:pt x="2922314" y="1605974"/>
                    </a:lnTo>
                    <a:lnTo>
                      <a:pt x="2922314" y="1570869"/>
                    </a:lnTo>
                    <a:cubicBezTo>
                      <a:pt x="2922314" y="1505952"/>
                      <a:pt x="2973840" y="1451726"/>
                      <a:pt x="3038227" y="1450568"/>
                    </a:cubicBezTo>
                    <a:close/>
                    <a:moveTo>
                      <a:pt x="4160670" y="1434109"/>
                    </a:moveTo>
                    <a:cubicBezTo>
                      <a:pt x="4192649" y="1434109"/>
                      <a:pt x="4212306" y="1455306"/>
                      <a:pt x="4212887" y="1482886"/>
                    </a:cubicBezTo>
                    <a:cubicBezTo>
                      <a:pt x="4212887" y="1509885"/>
                      <a:pt x="4192589" y="1531469"/>
                      <a:pt x="4159949" y="1531469"/>
                    </a:cubicBezTo>
                    <a:lnTo>
                      <a:pt x="4159408" y="1531469"/>
                    </a:lnTo>
                    <a:cubicBezTo>
                      <a:pt x="4128010" y="1531469"/>
                      <a:pt x="4107732" y="1509885"/>
                      <a:pt x="4107732" y="1482886"/>
                    </a:cubicBezTo>
                    <a:cubicBezTo>
                      <a:pt x="4107732" y="1455306"/>
                      <a:pt x="4128691" y="1434109"/>
                      <a:pt x="4160670" y="1434109"/>
                    </a:cubicBezTo>
                    <a:close/>
                    <a:moveTo>
                      <a:pt x="5159181" y="1431545"/>
                    </a:moveTo>
                    <a:cubicBezTo>
                      <a:pt x="5110113" y="1431545"/>
                      <a:pt x="5070236" y="1469669"/>
                      <a:pt x="5070236" y="1516546"/>
                    </a:cubicBezTo>
                    <a:cubicBezTo>
                      <a:pt x="5070236" y="1548461"/>
                      <a:pt x="5082834" y="1566902"/>
                      <a:pt x="5094065" y="1583335"/>
                    </a:cubicBezTo>
                    <a:cubicBezTo>
                      <a:pt x="5102850" y="1596227"/>
                      <a:pt x="5111138" y="1608368"/>
                      <a:pt x="5111138" y="1624632"/>
                    </a:cubicBezTo>
                    <a:cubicBezTo>
                      <a:pt x="5111138" y="1631791"/>
                      <a:pt x="5117597" y="1637524"/>
                      <a:pt x="5122402" y="1640866"/>
                    </a:cubicBezTo>
                    <a:lnTo>
                      <a:pt x="5195972" y="1640866"/>
                    </a:lnTo>
                    <a:cubicBezTo>
                      <a:pt x="5200777" y="1637524"/>
                      <a:pt x="5207236" y="1631791"/>
                      <a:pt x="5207236" y="1624632"/>
                    </a:cubicBezTo>
                    <a:cubicBezTo>
                      <a:pt x="5207236" y="1608368"/>
                      <a:pt x="5215524" y="1596227"/>
                      <a:pt x="5224430" y="1583182"/>
                    </a:cubicBezTo>
                    <a:cubicBezTo>
                      <a:pt x="5235529" y="1566872"/>
                      <a:pt x="5248083" y="1548415"/>
                      <a:pt x="5248083" y="1516546"/>
                    </a:cubicBezTo>
                    <a:cubicBezTo>
                      <a:pt x="5248083" y="1469715"/>
                      <a:pt x="5208217" y="1431591"/>
                      <a:pt x="5159181" y="1431545"/>
                    </a:cubicBezTo>
                    <a:close/>
                    <a:moveTo>
                      <a:pt x="5305097" y="1429728"/>
                    </a:moveTo>
                    <a:cubicBezTo>
                      <a:pt x="5308677" y="1427654"/>
                      <a:pt x="5313299" y="1428879"/>
                      <a:pt x="5315389" y="1432489"/>
                    </a:cubicBezTo>
                    <a:cubicBezTo>
                      <a:pt x="5317461" y="1436072"/>
                      <a:pt x="5316204" y="1440665"/>
                      <a:pt x="5312617" y="1442780"/>
                    </a:cubicBezTo>
                    <a:lnTo>
                      <a:pt x="5293065" y="1454042"/>
                    </a:lnTo>
                    <a:cubicBezTo>
                      <a:pt x="5291893" y="1454732"/>
                      <a:pt x="5290580" y="1455052"/>
                      <a:pt x="5289334" y="1455052"/>
                    </a:cubicBezTo>
                    <a:cubicBezTo>
                      <a:pt x="5286725" y="1455052"/>
                      <a:pt x="5284205" y="1453720"/>
                      <a:pt x="5282776" y="1451276"/>
                    </a:cubicBezTo>
                    <a:cubicBezTo>
                      <a:pt x="5280712" y="1447700"/>
                      <a:pt x="5281923" y="1443107"/>
                      <a:pt x="5285537" y="1440994"/>
                    </a:cubicBezTo>
                    <a:close/>
                    <a:moveTo>
                      <a:pt x="5020421" y="1429728"/>
                    </a:moveTo>
                    <a:lnTo>
                      <a:pt x="5039972" y="1440994"/>
                    </a:lnTo>
                    <a:cubicBezTo>
                      <a:pt x="5043543" y="1443107"/>
                      <a:pt x="5044805" y="1447700"/>
                      <a:pt x="5042733" y="1451276"/>
                    </a:cubicBezTo>
                    <a:cubicBezTo>
                      <a:pt x="5041304" y="1453671"/>
                      <a:pt x="5038788" y="1455052"/>
                      <a:pt x="5036184" y="1455052"/>
                    </a:cubicBezTo>
                    <a:cubicBezTo>
                      <a:pt x="5034930" y="1455052"/>
                      <a:pt x="5033625" y="1454732"/>
                      <a:pt x="5032453" y="1454042"/>
                    </a:cubicBezTo>
                    <a:lnTo>
                      <a:pt x="5012902" y="1442780"/>
                    </a:lnTo>
                    <a:cubicBezTo>
                      <a:pt x="5009272" y="1440703"/>
                      <a:pt x="5008060" y="1436072"/>
                      <a:pt x="5010132" y="1432489"/>
                    </a:cubicBezTo>
                    <a:cubicBezTo>
                      <a:pt x="5012203" y="1428879"/>
                      <a:pt x="5016799" y="1427654"/>
                      <a:pt x="5020421" y="1429728"/>
                    </a:cubicBezTo>
                    <a:close/>
                    <a:moveTo>
                      <a:pt x="133444" y="1410872"/>
                    </a:moveTo>
                    <a:cubicBezTo>
                      <a:pt x="128178" y="1410872"/>
                      <a:pt x="125469" y="1415141"/>
                      <a:pt x="125469" y="1423558"/>
                    </a:cubicBezTo>
                    <a:lnTo>
                      <a:pt x="125469" y="1462174"/>
                    </a:lnTo>
                    <a:cubicBezTo>
                      <a:pt x="125469" y="1470772"/>
                      <a:pt x="128178" y="1474875"/>
                      <a:pt x="133444" y="1474875"/>
                    </a:cubicBezTo>
                    <a:cubicBezTo>
                      <a:pt x="138686" y="1474875"/>
                      <a:pt x="141244" y="1470772"/>
                      <a:pt x="141244" y="1462174"/>
                    </a:cubicBezTo>
                    <a:cubicBezTo>
                      <a:pt x="141244" y="1462174"/>
                      <a:pt x="141244" y="1423558"/>
                      <a:pt x="141244" y="1423558"/>
                    </a:cubicBezTo>
                    <a:cubicBezTo>
                      <a:pt x="141244" y="1415141"/>
                      <a:pt x="138686" y="1410872"/>
                      <a:pt x="133444" y="1410872"/>
                    </a:cubicBezTo>
                    <a:close/>
                    <a:moveTo>
                      <a:pt x="5159181" y="1401453"/>
                    </a:moveTo>
                    <a:cubicBezTo>
                      <a:pt x="5224805" y="1401453"/>
                      <a:pt x="5278216" y="1453082"/>
                      <a:pt x="5278216" y="1516546"/>
                    </a:cubicBezTo>
                    <a:cubicBezTo>
                      <a:pt x="5278216" y="1557720"/>
                      <a:pt x="5261507" y="1582232"/>
                      <a:pt x="5249196" y="1600290"/>
                    </a:cubicBezTo>
                    <a:cubicBezTo>
                      <a:pt x="5241624" y="1611373"/>
                      <a:pt x="5237314" y="1617964"/>
                      <a:pt x="5237314" y="1624632"/>
                    </a:cubicBezTo>
                    <a:cubicBezTo>
                      <a:pt x="5237314" y="1639548"/>
                      <a:pt x="5229335" y="1653620"/>
                      <a:pt x="5215117" y="1664197"/>
                    </a:cubicBezTo>
                    <a:cubicBezTo>
                      <a:pt x="5214753" y="1673058"/>
                      <a:pt x="5213452" y="1694641"/>
                      <a:pt x="5213452" y="1694641"/>
                    </a:cubicBezTo>
                    <a:lnTo>
                      <a:pt x="5213452" y="1694687"/>
                    </a:lnTo>
                    <a:cubicBezTo>
                      <a:pt x="5213221" y="1700819"/>
                      <a:pt x="5210003" y="1713374"/>
                      <a:pt x="5188830" y="1720425"/>
                    </a:cubicBezTo>
                    <a:cubicBezTo>
                      <a:pt x="5186339" y="1724074"/>
                      <a:pt x="5183088" y="1727324"/>
                      <a:pt x="5179098" y="1730006"/>
                    </a:cubicBezTo>
                    <a:cubicBezTo>
                      <a:pt x="5176629" y="1731662"/>
                      <a:pt x="5173708" y="1732566"/>
                      <a:pt x="5170699" y="1732566"/>
                    </a:cubicBezTo>
                    <a:lnTo>
                      <a:pt x="5147697" y="1732566"/>
                    </a:lnTo>
                    <a:cubicBezTo>
                      <a:pt x="5144677" y="1732566"/>
                      <a:pt x="5141745" y="1731662"/>
                      <a:pt x="5139265" y="1730006"/>
                    </a:cubicBezTo>
                    <a:cubicBezTo>
                      <a:pt x="5135275" y="1727324"/>
                      <a:pt x="5132035" y="1724074"/>
                      <a:pt x="5129500" y="1720425"/>
                    </a:cubicBezTo>
                    <a:cubicBezTo>
                      <a:pt x="5108217" y="1713343"/>
                      <a:pt x="5105087" y="1700574"/>
                      <a:pt x="5104922" y="1694641"/>
                    </a:cubicBezTo>
                    <a:cubicBezTo>
                      <a:pt x="5104922" y="1694641"/>
                      <a:pt x="5103621" y="1673058"/>
                      <a:pt x="5103246" y="1664197"/>
                    </a:cubicBezTo>
                    <a:cubicBezTo>
                      <a:pt x="5089017" y="1653666"/>
                      <a:pt x="5081049" y="1639548"/>
                      <a:pt x="5081049" y="1624632"/>
                    </a:cubicBezTo>
                    <a:cubicBezTo>
                      <a:pt x="5081049" y="1618010"/>
                      <a:pt x="5076739" y="1611373"/>
                      <a:pt x="5069101" y="1600167"/>
                    </a:cubicBezTo>
                    <a:cubicBezTo>
                      <a:pt x="5056900" y="1582278"/>
                      <a:pt x="5040147" y="1557766"/>
                      <a:pt x="5040147" y="1516546"/>
                    </a:cubicBezTo>
                    <a:cubicBezTo>
                      <a:pt x="5040147" y="1453082"/>
                      <a:pt x="5093569" y="1401453"/>
                      <a:pt x="5159181" y="1401453"/>
                    </a:cubicBezTo>
                    <a:close/>
                    <a:moveTo>
                      <a:pt x="174432" y="1401444"/>
                    </a:moveTo>
                    <a:lnTo>
                      <a:pt x="191101" y="1401444"/>
                    </a:lnTo>
                    <a:lnTo>
                      <a:pt x="191101" y="1468887"/>
                    </a:lnTo>
                    <a:cubicBezTo>
                      <a:pt x="191114" y="1472914"/>
                      <a:pt x="191177" y="1474981"/>
                      <a:pt x="191290" y="1475237"/>
                    </a:cubicBezTo>
                    <a:cubicBezTo>
                      <a:pt x="191668" y="1477907"/>
                      <a:pt x="192890" y="1479220"/>
                      <a:pt x="195095" y="1479220"/>
                    </a:cubicBezTo>
                    <a:cubicBezTo>
                      <a:pt x="198396" y="1479220"/>
                      <a:pt x="201937" y="1476716"/>
                      <a:pt x="205616" y="1471421"/>
                    </a:cubicBezTo>
                    <a:lnTo>
                      <a:pt x="205616" y="1401444"/>
                    </a:lnTo>
                    <a:lnTo>
                      <a:pt x="222298" y="1401444"/>
                    </a:lnTo>
                    <a:lnTo>
                      <a:pt x="222298" y="1493007"/>
                    </a:lnTo>
                    <a:lnTo>
                      <a:pt x="205616" y="1493007"/>
                    </a:lnTo>
                    <a:lnTo>
                      <a:pt x="205616" y="1483036"/>
                    </a:lnTo>
                    <a:cubicBezTo>
                      <a:pt x="199115" y="1490608"/>
                      <a:pt x="192853" y="1494274"/>
                      <a:pt x="186754" y="1494274"/>
                    </a:cubicBezTo>
                    <a:cubicBezTo>
                      <a:pt x="181135" y="1494274"/>
                      <a:pt x="177468" y="1492102"/>
                      <a:pt x="175881" y="1487561"/>
                    </a:cubicBezTo>
                    <a:cubicBezTo>
                      <a:pt x="174885" y="1484620"/>
                      <a:pt x="174432" y="1480034"/>
                      <a:pt x="174432" y="1473789"/>
                    </a:cubicBezTo>
                    <a:close/>
                    <a:moveTo>
                      <a:pt x="133444" y="1395998"/>
                    </a:moveTo>
                    <a:cubicBezTo>
                      <a:pt x="141886" y="1395998"/>
                      <a:pt x="148312" y="1399166"/>
                      <a:pt x="152848" y="1405426"/>
                    </a:cubicBezTo>
                    <a:cubicBezTo>
                      <a:pt x="156263" y="1409937"/>
                      <a:pt x="157926" y="1417011"/>
                      <a:pt x="157926" y="1426816"/>
                    </a:cubicBezTo>
                    <a:lnTo>
                      <a:pt x="157926" y="1458916"/>
                    </a:lnTo>
                    <a:cubicBezTo>
                      <a:pt x="157926" y="1468811"/>
                      <a:pt x="156263" y="1476142"/>
                      <a:pt x="152848" y="1480668"/>
                    </a:cubicBezTo>
                    <a:cubicBezTo>
                      <a:pt x="148312" y="1486898"/>
                      <a:pt x="141886" y="1490096"/>
                      <a:pt x="133444" y="1490096"/>
                    </a:cubicBezTo>
                    <a:cubicBezTo>
                      <a:pt x="125255" y="1490096"/>
                      <a:pt x="118703" y="1486898"/>
                      <a:pt x="114053" y="1480668"/>
                    </a:cubicBezTo>
                    <a:cubicBezTo>
                      <a:pt x="110614" y="1476022"/>
                      <a:pt x="108976" y="1468721"/>
                      <a:pt x="108976" y="1458916"/>
                    </a:cubicBezTo>
                    <a:lnTo>
                      <a:pt x="108976" y="1426816"/>
                    </a:lnTo>
                    <a:cubicBezTo>
                      <a:pt x="108976" y="1417011"/>
                      <a:pt x="110614" y="1409952"/>
                      <a:pt x="114053" y="1405426"/>
                    </a:cubicBezTo>
                    <a:cubicBezTo>
                      <a:pt x="118690" y="1399166"/>
                      <a:pt x="125242" y="1395998"/>
                      <a:pt x="133444" y="1395998"/>
                    </a:cubicBezTo>
                    <a:close/>
                    <a:moveTo>
                      <a:pt x="48950" y="1368801"/>
                    </a:moveTo>
                    <a:lnTo>
                      <a:pt x="68543" y="1368801"/>
                    </a:lnTo>
                    <a:lnTo>
                      <a:pt x="81407" y="1417026"/>
                    </a:lnTo>
                    <a:lnTo>
                      <a:pt x="93919" y="1368801"/>
                    </a:lnTo>
                    <a:lnTo>
                      <a:pt x="112781" y="1368801"/>
                    </a:lnTo>
                    <a:lnTo>
                      <a:pt x="90479" y="1442051"/>
                    </a:lnTo>
                    <a:lnTo>
                      <a:pt x="90479" y="1491740"/>
                    </a:lnTo>
                    <a:lnTo>
                      <a:pt x="72159" y="1491740"/>
                    </a:lnTo>
                    <a:lnTo>
                      <a:pt x="72159" y="1442051"/>
                    </a:lnTo>
                    <a:cubicBezTo>
                      <a:pt x="70445" y="1433001"/>
                      <a:pt x="66665" y="1419953"/>
                      <a:pt x="60920" y="1403073"/>
                    </a:cubicBezTo>
                    <a:cubicBezTo>
                      <a:pt x="56371" y="1390447"/>
                      <a:pt x="52377" y="1379104"/>
                      <a:pt x="48950" y="1368801"/>
                    </a:cubicBezTo>
                    <a:close/>
                    <a:moveTo>
                      <a:pt x="5075715" y="1364295"/>
                    </a:moveTo>
                    <a:cubicBezTo>
                      <a:pt x="5079293" y="1362216"/>
                      <a:pt x="5083881" y="1363439"/>
                      <a:pt x="5085953" y="1367050"/>
                    </a:cubicBezTo>
                    <a:lnTo>
                      <a:pt x="5097253" y="1386607"/>
                    </a:lnTo>
                    <a:cubicBezTo>
                      <a:pt x="5099325" y="1390190"/>
                      <a:pt x="5098113" y="1394784"/>
                      <a:pt x="5094492" y="1396855"/>
                    </a:cubicBezTo>
                    <a:cubicBezTo>
                      <a:pt x="5093331" y="1397550"/>
                      <a:pt x="5092015" y="1397862"/>
                      <a:pt x="5090753" y="1397862"/>
                    </a:cubicBezTo>
                    <a:cubicBezTo>
                      <a:pt x="5088149" y="1397862"/>
                      <a:pt x="5085633" y="1396522"/>
                      <a:pt x="5084201" y="1394142"/>
                    </a:cubicBezTo>
                    <a:lnTo>
                      <a:pt x="5072944" y="1374582"/>
                    </a:lnTo>
                    <a:cubicBezTo>
                      <a:pt x="5070872" y="1371000"/>
                      <a:pt x="5072094" y="1366373"/>
                      <a:pt x="5075715" y="1364295"/>
                    </a:cubicBezTo>
                    <a:close/>
                    <a:moveTo>
                      <a:pt x="5252669" y="1364295"/>
                    </a:moveTo>
                    <a:cubicBezTo>
                      <a:pt x="5256255" y="1366373"/>
                      <a:pt x="5257467" y="1371000"/>
                      <a:pt x="5255387" y="1374582"/>
                    </a:cubicBezTo>
                    <a:cubicBezTo>
                      <a:pt x="5255387" y="1374582"/>
                      <a:pt x="5244137" y="1394142"/>
                      <a:pt x="5244137" y="1394142"/>
                    </a:cubicBezTo>
                    <a:cubicBezTo>
                      <a:pt x="5242705" y="1396522"/>
                      <a:pt x="5240189" y="1397915"/>
                      <a:pt x="5237587" y="1397915"/>
                    </a:cubicBezTo>
                    <a:cubicBezTo>
                      <a:pt x="5236330" y="1397915"/>
                      <a:pt x="5235025" y="1397588"/>
                      <a:pt x="5233838" y="1396892"/>
                    </a:cubicBezTo>
                    <a:cubicBezTo>
                      <a:pt x="5230227" y="1394821"/>
                      <a:pt x="5229013" y="1390230"/>
                      <a:pt x="5231077" y="1386607"/>
                    </a:cubicBezTo>
                    <a:lnTo>
                      <a:pt x="5242385" y="1367049"/>
                    </a:lnTo>
                    <a:cubicBezTo>
                      <a:pt x="5244457" y="1363437"/>
                      <a:pt x="5249048" y="1362216"/>
                      <a:pt x="5252669" y="1364295"/>
                    </a:cubicBezTo>
                    <a:close/>
                    <a:moveTo>
                      <a:pt x="5161633" y="1341469"/>
                    </a:moveTo>
                    <a:cubicBezTo>
                      <a:pt x="5165785" y="1341469"/>
                      <a:pt x="5169153" y="1344843"/>
                      <a:pt x="5169153" y="1348994"/>
                    </a:cubicBezTo>
                    <a:lnTo>
                      <a:pt x="5169153" y="1371553"/>
                    </a:lnTo>
                    <a:cubicBezTo>
                      <a:pt x="5169153" y="1375733"/>
                      <a:pt x="5165785" y="1379058"/>
                      <a:pt x="5161633" y="1379058"/>
                    </a:cubicBezTo>
                    <a:cubicBezTo>
                      <a:pt x="5157498" y="1379058"/>
                      <a:pt x="5154114" y="1375733"/>
                      <a:pt x="5154114" y="1371553"/>
                    </a:cubicBezTo>
                    <a:lnTo>
                      <a:pt x="5154114" y="1348994"/>
                    </a:lnTo>
                    <a:cubicBezTo>
                      <a:pt x="5154114" y="1344843"/>
                      <a:pt x="5157498" y="1341469"/>
                      <a:pt x="5161633" y="1341469"/>
                    </a:cubicBezTo>
                    <a:close/>
                    <a:moveTo>
                      <a:pt x="1442127" y="1332007"/>
                    </a:moveTo>
                    <a:cubicBezTo>
                      <a:pt x="1446422" y="1330080"/>
                      <a:pt x="1451307" y="1330080"/>
                      <a:pt x="1455602" y="1332007"/>
                    </a:cubicBezTo>
                    <a:lnTo>
                      <a:pt x="1620352" y="1406125"/>
                    </a:lnTo>
                    <a:cubicBezTo>
                      <a:pt x="1627426" y="1409323"/>
                      <a:pt x="1631351" y="1417052"/>
                      <a:pt x="1629683" y="1424622"/>
                    </a:cubicBezTo>
                    <a:cubicBezTo>
                      <a:pt x="1628066" y="1432228"/>
                      <a:pt x="1621362" y="1437656"/>
                      <a:pt x="1613597" y="1437656"/>
                    </a:cubicBezTo>
                    <a:lnTo>
                      <a:pt x="1284014" y="1437656"/>
                    </a:lnTo>
                    <a:cubicBezTo>
                      <a:pt x="1274901" y="1437656"/>
                      <a:pt x="1267524" y="1430265"/>
                      <a:pt x="1267524" y="1421161"/>
                    </a:cubicBezTo>
                    <a:cubicBezTo>
                      <a:pt x="1267524" y="1413930"/>
                      <a:pt x="1272190" y="1407784"/>
                      <a:pt x="1278674" y="1405563"/>
                    </a:cubicBezTo>
                    <a:close/>
                    <a:moveTo>
                      <a:pt x="1914335" y="1314226"/>
                    </a:moveTo>
                    <a:cubicBezTo>
                      <a:pt x="2049325" y="1314226"/>
                      <a:pt x="2159112" y="1424081"/>
                      <a:pt x="2159112" y="1559003"/>
                    </a:cubicBezTo>
                    <a:cubicBezTo>
                      <a:pt x="2159112" y="1693970"/>
                      <a:pt x="2049325" y="1803780"/>
                      <a:pt x="1914335" y="1803780"/>
                    </a:cubicBezTo>
                    <a:cubicBezTo>
                      <a:pt x="1779413" y="1803780"/>
                      <a:pt x="1669558" y="1693970"/>
                      <a:pt x="1669558" y="1559003"/>
                    </a:cubicBezTo>
                    <a:cubicBezTo>
                      <a:pt x="1669558" y="1424081"/>
                      <a:pt x="1779413" y="1314226"/>
                      <a:pt x="1914335" y="1314226"/>
                    </a:cubicBezTo>
                    <a:close/>
                    <a:moveTo>
                      <a:pt x="838507" y="1298856"/>
                    </a:moveTo>
                    <a:cubicBezTo>
                      <a:pt x="838507" y="1298856"/>
                      <a:pt x="838507" y="1358312"/>
                      <a:pt x="838507" y="1358312"/>
                    </a:cubicBezTo>
                    <a:lnTo>
                      <a:pt x="857338" y="1358312"/>
                    </a:lnTo>
                    <a:lnTo>
                      <a:pt x="845677" y="1298856"/>
                    </a:lnTo>
                    <a:close/>
                    <a:moveTo>
                      <a:pt x="766811" y="1298856"/>
                    </a:moveTo>
                    <a:cubicBezTo>
                      <a:pt x="766811" y="1298856"/>
                      <a:pt x="766811" y="1358312"/>
                      <a:pt x="766811" y="1358312"/>
                    </a:cubicBezTo>
                    <a:lnTo>
                      <a:pt x="817214" y="1358312"/>
                    </a:lnTo>
                    <a:lnTo>
                      <a:pt x="817214" y="1298856"/>
                    </a:lnTo>
                    <a:close/>
                    <a:moveTo>
                      <a:pt x="670259" y="1298856"/>
                    </a:moveTo>
                    <a:cubicBezTo>
                      <a:pt x="670259" y="1298856"/>
                      <a:pt x="670259" y="1358312"/>
                      <a:pt x="670259" y="1358312"/>
                    </a:cubicBezTo>
                    <a:lnTo>
                      <a:pt x="745518" y="1358312"/>
                    </a:lnTo>
                    <a:lnTo>
                      <a:pt x="745518" y="1298856"/>
                    </a:lnTo>
                    <a:close/>
                    <a:moveTo>
                      <a:pt x="573685" y="1298856"/>
                    </a:moveTo>
                    <a:cubicBezTo>
                      <a:pt x="573685" y="1298856"/>
                      <a:pt x="573685" y="1358312"/>
                      <a:pt x="573685" y="1358312"/>
                    </a:cubicBezTo>
                    <a:lnTo>
                      <a:pt x="648922" y="1358312"/>
                    </a:lnTo>
                    <a:lnTo>
                      <a:pt x="648922" y="1298856"/>
                    </a:lnTo>
                    <a:close/>
                    <a:moveTo>
                      <a:pt x="525527" y="1298856"/>
                    </a:moveTo>
                    <a:cubicBezTo>
                      <a:pt x="509957" y="1298856"/>
                      <a:pt x="496525" y="1309436"/>
                      <a:pt x="492940" y="1324615"/>
                    </a:cubicBezTo>
                    <a:lnTo>
                      <a:pt x="484928" y="1358312"/>
                    </a:lnTo>
                    <a:lnTo>
                      <a:pt x="552392" y="1358312"/>
                    </a:lnTo>
                    <a:cubicBezTo>
                      <a:pt x="552392" y="1358312"/>
                      <a:pt x="552392" y="1298856"/>
                      <a:pt x="552392" y="1298856"/>
                    </a:cubicBezTo>
                    <a:close/>
                    <a:moveTo>
                      <a:pt x="4762836" y="1286948"/>
                    </a:moveTo>
                    <a:cubicBezTo>
                      <a:pt x="4769183" y="1286948"/>
                      <a:pt x="4775511" y="1289085"/>
                      <a:pt x="4780301" y="1293358"/>
                    </a:cubicBezTo>
                    <a:lnTo>
                      <a:pt x="4988783" y="1476756"/>
                    </a:lnTo>
                    <a:cubicBezTo>
                      <a:pt x="4998494" y="1485303"/>
                      <a:pt x="4995897" y="1492221"/>
                      <a:pt x="4982957" y="1492221"/>
                    </a:cubicBezTo>
                    <a:cubicBezTo>
                      <a:pt x="4982957" y="1492221"/>
                      <a:pt x="4918627" y="1492221"/>
                      <a:pt x="4918627" y="1492221"/>
                    </a:cubicBezTo>
                    <a:lnTo>
                      <a:pt x="4918627" y="1680027"/>
                    </a:lnTo>
                    <a:cubicBezTo>
                      <a:pt x="4918627" y="1690261"/>
                      <a:pt x="4910204" y="1698750"/>
                      <a:pt x="4899904" y="1698750"/>
                    </a:cubicBezTo>
                    <a:lnTo>
                      <a:pt x="4821195" y="1698750"/>
                    </a:lnTo>
                    <a:lnTo>
                      <a:pt x="4821195" y="1575220"/>
                    </a:lnTo>
                    <a:cubicBezTo>
                      <a:pt x="4821195" y="1564986"/>
                      <a:pt x="4812772" y="1556497"/>
                      <a:pt x="4802472" y="1556497"/>
                    </a:cubicBezTo>
                    <a:lnTo>
                      <a:pt x="4722976" y="1556497"/>
                    </a:lnTo>
                    <a:cubicBezTo>
                      <a:pt x="4712611" y="1556497"/>
                      <a:pt x="4704254" y="1564795"/>
                      <a:pt x="4704254" y="1575220"/>
                    </a:cubicBezTo>
                    <a:lnTo>
                      <a:pt x="4704254" y="1698750"/>
                    </a:lnTo>
                    <a:lnTo>
                      <a:pt x="4625544" y="1698750"/>
                    </a:lnTo>
                    <a:cubicBezTo>
                      <a:pt x="4615179" y="1698750"/>
                      <a:pt x="4606821" y="1690337"/>
                      <a:pt x="4606821" y="1680027"/>
                    </a:cubicBezTo>
                    <a:lnTo>
                      <a:pt x="4606821" y="1492164"/>
                    </a:lnTo>
                    <a:lnTo>
                      <a:pt x="4542492" y="1492164"/>
                    </a:lnTo>
                    <a:cubicBezTo>
                      <a:pt x="4529748" y="1492164"/>
                      <a:pt x="4527151" y="1485303"/>
                      <a:pt x="4536731" y="1476756"/>
                    </a:cubicBezTo>
                    <a:lnTo>
                      <a:pt x="4745256" y="1293358"/>
                    </a:lnTo>
                    <a:cubicBezTo>
                      <a:pt x="4750122" y="1289085"/>
                      <a:pt x="4756489" y="1286948"/>
                      <a:pt x="4762836" y="1286948"/>
                    </a:cubicBezTo>
                    <a:close/>
                    <a:moveTo>
                      <a:pt x="2458259" y="1276019"/>
                    </a:moveTo>
                    <a:cubicBezTo>
                      <a:pt x="2452565" y="1284680"/>
                      <a:pt x="2436895" y="1294071"/>
                      <a:pt x="2411272" y="1299961"/>
                    </a:cubicBezTo>
                    <a:cubicBezTo>
                      <a:pt x="2361048" y="1311492"/>
                      <a:pt x="2343382" y="1345853"/>
                      <a:pt x="2400882" y="1361200"/>
                    </a:cubicBezTo>
                    <a:cubicBezTo>
                      <a:pt x="2456945" y="1376149"/>
                      <a:pt x="2456337" y="1331253"/>
                      <a:pt x="2456337" y="1331253"/>
                    </a:cubicBezTo>
                    <a:cubicBezTo>
                      <a:pt x="2455023" y="1302184"/>
                      <a:pt x="2456045" y="1285510"/>
                      <a:pt x="2459087" y="1276285"/>
                    </a:cubicBezTo>
                    <a:cubicBezTo>
                      <a:pt x="2459087" y="1276285"/>
                      <a:pt x="2458259" y="1276019"/>
                      <a:pt x="2458259" y="1276019"/>
                    </a:cubicBezTo>
                    <a:close/>
                    <a:moveTo>
                      <a:pt x="2755819" y="1275975"/>
                    </a:moveTo>
                    <a:lnTo>
                      <a:pt x="2841047" y="1275975"/>
                    </a:lnTo>
                    <a:cubicBezTo>
                      <a:pt x="2850548" y="1275975"/>
                      <a:pt x="2858258" y="1283687"/>
                      <a:pt x="2858258" y="1293198"/>
                    </a:cubicBezTo>
                    <a:cubicBezTo>
                      <a:pt x="2858258" y="1302691"/>
                      <a:pt x="2850528" y="1310421"/>
                      <a:pt x="2841047" y="1310421"/>
                    </a:cubicBezTo>
                    <a:lnTo>
                      <a:pt x="2755819" y="1310421"/>
                    </a:lnTo>
                    <a:cubicBezTo>
                      <a:pt x="2746318" y="1310421"/>
                      <a:pt x="2738588" y="1302691"/>
                      <a:pt x="2738588" y="1293198"/>
                    </a:cubicBezTo>
                    <a:cubicBezTo>
                      <a:pt x="2738608" y="1283687"/>
                      <a:pt x="2746318" y="1275975"/>
                      <a:pt x="2755819" y="1275975"/>
                    </a:cubicBezTo>
                    <a:close/>
                    <a:moveTo>
                      <a:pt x="3616048" y="1267714"/>
                    </a:moveTo>
                    <a:cubicBezTo>
                      <a:pt x="3611796" y="1264945"/>
                      <a:pt x="3606099" y="1266147"/>
                      <a:pt x="3603341" y="1270397"/>
                    </a:cubicBezTo>
                    <a:lnTo>
                      <a:pt x="3512698" y="1409177"/>
                    </a:lnTo>
                    <a:cubicBezTo>
                      <a:pt x="3509924" y="1413448"/>
                      <a:pt x="3511122" y="1419136"/>
                      <a:pt x="3515374" y="1421904"/>
                    </a:cubicBezTo>
                    <a:cubicBezTo>
                      <a:pt x="3519627" y="1424673"/>
                      <a:pt x="3525307" y="1423493"/>
                      <a:pt x="3528082" y="1419221"/>
                    </a:cubicBezTo>
                    <a:lnTo>
                      <a:pt x="3618707" y="1280420"/>
                    </a:lnTo>
                    <a:cubicBezTo>
                      <a:pt x="3621482" y="1276192"/>
                      <a:pt x="3620300" y="1270504"/>
                      <a:pt x="3616048" y="1267714"/>
                    </a:cubicBezTo>
                    <a:close/>
                    <a:moveTo>
                      <a:pt x="482078" y="1254219"/>
                    </a:moveTo>
                    <a:lnTo>
                      <a:pt x="852047" y="1254219"/>
                    </a:lnTo>
                    <a:cubicBezTo>
                      <a:pt x="867963" y="1254219"/>
                      <a:pt x="880942" y="1267177"/>
                      <a:pt x="880942" y="1283125"/>
                    </a:cubicBezTo>
                    <a:lnTo>
                      <a:pt x="880942" y="1288192"/>
                    </a:lnTo>
                    <a:cubicBezTo>
                      <a:pt x="880942" y="1294065"/>
                      <a:pt x="876169" y="1298856"/>
                      <a:pt x="870295" y="1298856"/>
                    </a:cubicBezTo>
                    <a:lnTo>
                      <a:pt x="867380" y="1298856"/>
                    </a:lnTo>
                    <a:lnTo>
                      <a:pt x="880704" y="1366814"/>
                    </a:lnTo>
                    <a:lnTo>
                      <a:pt x="880704" y="1366826"/>
                    </a:lnTo>
                    <a:lnTo>
                      <a:pt x="880747" y="1366923"/>
                    </a:lnTo>
                    <a:cubicBezTo>
                      <a:pt x="880790" y="1367247"/>
                      <a:pt x="880790" y="1367595"/>
                      <a:pt x="880855" y="1367931"/>
                    </a:cubicBezTo>
                    <a:cubicBezTo>
                      <a:pt x="880877" y="1368292"/>
                      <a:pt x="880942" y="1368616"/>
                      <a:pt x="880942" y="1368964"/>
                    </a:cubicBezTo>
                    <a:lnTo>
                      <a:pt x="880942" y="1440009"/>
                    </a:lnTo>
                    <a:lnTo>
                      <a:pt x="883252" y="1440009"/>
                    </a:lnTo>
                    <a:cubicBezTo>
                      <a:pt x="889126" y="1440009"/>
                      <a:pt x="893899" y="1444752"/>
                      <a:pt x="893899" y="1450649"/>
                    </a:cubicBezTo>
                    <a:lnTo>
                      <a:pt x="893899" y="1472769"/>
                    </a:lnTo>
                    <a:cubicBezTo>
                      <a:pt x="893899" y="1478665"/>
                      <a:pt x="889126" y="1483433"/>
                      <a:pt x="883252" y="1483433"/>
                    </a:cubicBezTo>
                    <a:lnTo>
                      <a:pt x="846281" y="1483433"/>
                    </a:lnTo>
                    <a:cubicBezTo>
                      <a:pt x="841595" y="1500786"/>
                      <a:pt x="825744" y="1513611"/>
                      <a:pt x="806913" y="1513611"/>
                    </a:cubicBezTo>
                    <a:cubicBezTo>
                      <a:pt x="788104" y="1513611"/>
                      <a:pt x="772253" y="1500786"/>
                      <a:pt x="767567" y="1483433"/>
                    </a:cubicBezTo>
                    <a:lnTo>
                      <a:pt x="572238" y="1483433"/>
                    </a:lnTo>
                    <a:cubicBezTo>
                      <a:pt x="567530" y="1500786"/>
                      <a:pt x="551701" y="1513611"/>
                      <a:pt x="532870" y="1513611"/>
                    </a:cubicBezTo>
                    <a:cubicBezTo>
                      <a:pt x="514060" y="1513611"/>
                      <a:pt x="498209" y="1500786"/>
                      <a:pt x="493502" y="1483433"/>
                    </a:cubicBezTo>
                    <a:lnTo>
                      <a:pt x="438088" y="1483433"/>
                    </a:lnTo>
                    <a:cubicBezTo>
                      <a:pt x="432193" y="1483433"/>
                      <a:pt x="427442" y="1478665"/>
                      <a:pt x="427442" y="1472769"/>
                    </a:cubicBezTo>
                    <a:lnTo>
                      <a:pt x="427442" y="1450649"/>
                    </a:lnTo>
                    <a:cubicBezTo>
                      <a:pt x="427442" y="1444752"/>
                      <a:pt x="432193" y="1440009"/>
                      <a:pt x="438088" y="1440009"/>
                    </a:cubicBezTo>
                    <a:lnTo>
                      <a:pt x="438261" y="1440009"/>
                    </a:lnTo>
                    <a:lnTo>
                      <a:pt x="438261" y="1298040"/>
                    </a:lnTo>
                    <a:cubicBezTo>
                      <a:pt x="438261" y="1273866"/>
                      <a:pt x="457934" y="1254219"/>
                      <a:pt x="482078" y="1254219"/>
                    </a:cubicBezTo>
                    <a:close/>
                    <a:moveTo>
                      <a:pt x="2755819" y="1216127"/>
                    </a:moveTo>
                    <a:lnTo>
                      <a:pt x="2841047" y="1216127"/>
                    </a:lnTo>
                    <a:cubicBezTo>
                      <a:pt x="2850548" y="1216127"/>
                      <a:pt x="2858258" y="1223683"/>
                      <a:pt x="2858258" y="1233177"/>
                    </a:cubicBezTo>
                    <a:cubicBezTo>
                      <a:pt x="2858258" y="1242687"/>
                      <a:pt x="2850528" y="1250400"/>
                      <a:pt x="2841047" y="1250400"/>
                    </a:cubicBezTo>
                    <a:lnTo>
                      <a:pt x="2755819" y="1250400"/>
                    </a:lnTo>
                    <a:cubicBezTo>
                      <a:pt x="2746318" y="1250400"/>
                      <a:pt x="2738588" y="1242687"/>
                      <a:pt x="2738588" y="1233177"/>
                    </a:cubicBezTo>
                    <a:cubicBezTo>
                      <a:pt x="2738608" y="1223683"/>
                      <a:pt x="2746318" y="1216127"/>
                      <a:pt x="2755819" y="1216127"/>
                    </a:cubicBezTo>
                    <a:close/>
                    <a:moveTo>
                      <a:pt x="1267659" y="1177875"/>
                    </a:moveTo>
                    <a:lnTo>
                      <a:pt x="1310054" y="1177875"/>
                    </a:lnTo>
                    <a:cubicBezTo>
                      <a:pt x="1315143" y="1177875"/>
                      <a:pt x="1319242" y="1182009"/>
                      <a:pt x="1319242" y="1187084"/>
                    </a:cubicBezTo>
                    <a:cubicBezTo>
                      <a:pt x="1319242" y="1192186"/>
                      <a:pt x="1315143" y="1196307"/>
                      <a:pt x="1310054" y="1196307"/>
                    </a:cubicBezTo>
                    <a:lnTo>
                      <a:pt x="1274881" y="1196307"/>
                    </a:lnTo>
                    <a:lnTo>
                      <a:pt x="1222425" y="1409476"/>
                    </a:lnTo>
                    <a:lnTo>
                      <a:pt x="1214547" y="1446598"/>
                    </a:lnTo>
                    <a:cubicBezTo>
                      <a:pt x="1211356" y="1461646"/>
                      <a:pt x="1197868" y="1472560"/>
                      <a:pt x="1182482" y="1472560"/>
                    </a:cubicBezTo>
                    <a:lnTo>
                      <a:pt x="1004973" y="1472560"/>
                    </a:lnTo>
                    <a:cubicBezTo>
                      <a:pt x="999900" y="1472560"/>
                      <a:pt x="995751" y="1468426"/>
                      <a:pt x="995751" y="1463338"/>
                    </a:cubicBezTo>
                    <a:cubicBezTo>
                      <a:pt x="995751" y="1458249"/>
                      <a:pt x="999900" y="1454129"/>
                      <a:pt x="1004973" y="1454129"/>
                    </a:cubicBezTo>
                    <a:lnTo>
                      <a:pt x="1182482" y="1454129"/>
                    </a:lnTo>
                    <a:cubicBezTo>
                      <a:pt x="1189217" y="1454129"/>
                      <a:pt x="1195113" y="1449354"/>
                      <a:pt x="1196524" y="1442764"/>
                    </a:cubicBezTo>
                    <a:lnTo>
                      <a:pt x="1202050" y="1416625"/>
                    </a:lnTo>
                    <a:lnTo>
                      <a:pt x="991418" y="1416625"/>
                    </a:lnTo>
                    <a:cubicBezTo>
                      <a:pt x="986967" y="1416625"/>
                      <a:pt x="983154" y="1413459"/>
                      <a:pt x="982347" y="1409066"/>
                    </a:cubicBezTo>
                    <a:lnTo>
                      <a:pt x="956917" y="1270114"/>
                    </a:lnTo>
                    <a:cubicBezTo>
                      <a:pt x="956430" y="1267427"/>
                      <a:pt x="957169" y="1264657"/>
                      <a:pt x="958899" y="1262556"/>
                    </a:cubicBezTo>
                    <a:cubicBezTo>
                      <a:pt x="960646" y="1260455"/>
                      <a:pt x="963249" y="1259255"/>
                      <a:pt x="965970" y="1259241"/>
                    </a:cubicBezTo>
                    <a:lnTo>
                      <a:pt x="1240481" y="1258954"/>
                    </a:lnTo>
                    <a:lnTo>
                      <a:pt x="1258723" y="1184888"/>
                    </a:lnTo>
                    <a:cubicBezTo>
                      <a:pt x="1259747" y="1180767"/>
                      <a:pt x="1263426" y="1177875"/>
                      <a:pt x="1267659" y="1177875"/>
                    </a:cubicBezTo>
                    <a:close/>
                    <a:moveTo>
                      <a:pt x="2755819" y="1161552"/>
                    </a:moveTo>
                    <a:lnTo>
                      <a:pt x="2841047" y="1161552"/>
                    </a:lnTo>
                    <a:cubicBezTo>
                      <a:pt x="2850548" y="1161552"/>
                      <a:pt x="2858258" y="1169282"/>
                      <a:pt x="2858258" y="1178776"/>
                    </a:cubicBezTo>
                    <a:cubicBezTo>
                      <a:pt x="2858258" y="1188269"/>
                      <a:pt x="2850528" y="1196016"/>
                      <a:pt x="2841047" y="1196016"/>
                    </a:cubicBezTo>
                    <a:lnTo>
                      <a:pt x="2755819" y="1196016"/>
                    </a:lnTo>
                    <a:cubicBezTo>
                      <a:pt x="2746318" y="1196016"/>
                      <a:pt x="2738588" y="1188269"/>
                      <a:pt x="2738588" y="1178776"/>
                    </a:cubicBezTo>
                    <a:cubicBezTo>
                      <a:pt x="2738608" y="1169282"/>
                      <a:pt x="2746318" y="1161552"/>
                      <a:pt x="2755819" y="1161552"/>
                    </a:cubicBezTo>
                    <a:close/>
                    <a:moveTo>
                      <a:pt x="3982912" y="1157750"/>
                    </a:moveTo>
                    <a:lnTo>
                      <a:pt x="3982912" y="1444660"/>
                    </a:lnTo>
                    <a:cubicBezTo>
                      <a:pt x="3983018" y="1460854"/>
                      <a:pt x="3972236" y="1479233"/>
                      <a:pt x="3949889" y="1490660"/>
                    </a:cubicBezTo>
                    <a:cubicBezTo>
                      <a:pt x="3918751" y="1506699"/>
                      <a:pt x="3886045" y="1498886"/>
                      <a:pt x="3874148" y="1480455"/>
                    </a:cubicBezTo>
                    <a:cubicBezTo>
                      <a:pt x="3862266" y="1461972"/>
                      <a:pt x="3871042" y="1432872"/>
                      <a:pt x="3902074" y="1416816"/>
                    </a:cubicBezTo>
                    <a:cubicBezTo>
                      <a:pt x="3922974" y="1406146"/>
                      <a:pt x="3944551" y="1406146"/>
                      <a:pt x="3960113" y="1412961"/>
                    </a:cubicBezTo>
                    <a:lnTo>
                      <a:pt x="3960113" y="1253381"/>
                    </a:lnTo>
                    <a:lnTo>
                      <a:pt x="3777975" y="1289830"/>
                    </a:lnTo>
                    <a:lnTo>
                      <a:pt x="3777975" y="1467445"/>
                    </a:lnTo>
                    <a:cubicBezTo>
                      <a:pt x="3778081" y="1483690"/>
                      <a:pt x="3767284" y="1502035"/>
                      <a:pt x="3744938" y="1513479"/>
                    </a:cubicBezTo>
                    <a:cubicBezTo>
                      <a:pt x="3713920" y="1529466"/>
                      <a:pt x="3681229" y="1521705"/>
                      <a:pt x="3669227" y="1503257"/>
                    </a:cubicBezTo>
                    <a:cubicBezTo>
                      <a:pt x="3657314" y="1484757"/>
                      <a:pt x="3666105" y="1455656"/>
                      <a:pt x="3697123" y="1439618"/>
                    </a:cubicBezTo>
                    <a:cubicBezTo>
                      <a:pt x="3718037" y="1428948"/>
                      <a:pt x="3739600" y="1428948"/>
                      <a:pt x="3755176" y="1435728"/>
                    </a:cubicBezTo>
                    <a:cubicBezTo>
                      <a:pt x="3755176" y="1435728"/>
                      <a:pt x="3755176" y="1203320"/>
                      <a:pt x="3755176" y="1203320"/>
                    </a:cubicBezTo>
                    <a:close/>
                    <a:moveTo>
                      <a:pt x="2884929" y="1156123"/>
                    </a:moveTo>
                    <a:lnTo>
                      <a:pt x="3016375" y="1156123"/>
                    </a:lnTo>
                    <a:cubicBezTo>
                      <a:pt x="3021911" y="1156123"/>
                      <a:pt x="3026339" y="1160584"/>
                      <a:pt x="3026339" y="1166083"/>
                    </a:cubicBezTo>
                    <a:lnTo>
                      <a:pt x="3026339" y="1300080"/>
                    </a:lnTo>
                    <a:cubicBezTo>
                      <a:pt x="3026339" y="1305579"/>
                      <a:pt x="3021911" y="1310058"/>
                      <a:pt x="3016375" y="1310058"/>
                    </a:cubicBezTo>
                    <a:lnTo>
                      <a:pt x="2884929" y="1310058"/>
                    </a:lnTo>
                    <a:cubicBezTo>
                      <a:pt x="2879434" y="1310058"/>
                      <a:pt x="2874945" y="1305579"/>
                      <a:pt x="2874945" y="1300080"/>
                    </a:cubicBezTo>
                    <a:lnTo>
                      <a:pt x="2874945" y="1166083"/>
                    </a:lnTo>
                    <a:cubicBezTo>
                      <a:pt x="2874945" y="1160584"/>
                      <a:pt x="2879434" y="1156123"/>
                      <a:pt x="2884929" y="1156123"/>
                    </a:cubicBezTo>
                    <a:close/>
                    <a:moveTo>
                      <a:pt x="1602203" y="1093592"/>
                    </a:moveTo>
                    <a:lnTo>
                      <a:pt x="1601460" y="1125077"/>
                    </a:lnTo>
                    <a:lnTo>
                      <a:pt x="1632934" y="1125807"/>
                    </a:lnTo>
                    <a:lnTo>
                      <a:pt x="1633659" y="1094322"/>
                    </a:lnTo>
                    <a:cubicBezTo>
                      <a:pt x="1633659" y="1094322"/>
                      <a:pt x="1602203" y="1093592"/>
                      <a:pt x="1602203" y="1093592"/>
                    </a:cubicBezTo>
                    <a:close/>
                    <a:moveTo>
                      <a:pt x="1539272" y="1092133"/>
                    </a:moveTo>
                    <a:lnTo>
                      <a:pt x="1538546" y="1123618"/>
                    </a:lnTo>
                    <a:lnTo>
                      <a:pt x="1569985" y="1124347"/>
                    </a:lnTo>
                    <a:lnTo>
                      <a:pt x="1570710" y="1092862"/>
                    </a:lnTo>
                    <a:cubicBezTo>
                      <a:pt x="1570710" y="1092862"/>
                      <a:pt x="1539272" y="1092133"/>
                      <a:pt x="1539272" y="1092133"/>
                    </a:cubicBezTo>
                    <a:close/>
                    <a:moveTo>
                      <a:pt x="1476358" y="1090655"/>
                    </a:moveTo>
                    <a:lnTo>
                      <a:pt x="1475615" y="1122158"/>
                    </a:lnTo>
                    <a:lnTo>
                      <a:pt x="1507072" y="1122888"/>
                    </a:lnTo>
                    <a:lnTo>
                      <a:pt x="1507815" y="1091385"/>
                    </a:lnTo>
                    <a:cubicBezTo>
                      <a:pt x="1507815" y="1091385"/>
                      <a:pt x="1476358" y="1090655"/>
                      <a:pt x="1476358" y="1090655"/>
                    </a:cubicBezTo>
                    <a:close/>
                    <a:moveTo>
                      <a:pt x="2536661" y="1090625"/>
                    </a:moveTo>
                    <a:cubicBezTo>
                      <a:pt x="2536661" y="1090625"/>
                      <a:pt x="2542379" y="1133747"/>
                      <a:pt x="2528509" y="1155150"/>
                    </a:cubicBezTo>
                    <a:cubicBezTo>
                      <a:pt x="2516367" y="1173882"/>
                      <a:pt x="2502521" y="1179125"/>
                      <a:pt x="2490671" y="1175458"/>
                    </a:cubicBezTo>
                    <a:cubicBezTo>
                      <a:pt x="2489381" y="1180220"/>
                      <a:pt x="2488603" y="1185363"/>
                      <a:pt x="2487678" y="1191502"/>
                    </a:cubicBezTo>
                    <a:cubicBezTo>
                      <a:pt x="2487289" y="1194090"/>
                      <a:pt x="2486875" y="1196795"/>
                      <a:pt x="2486413" y="1199665"/>
                    </a:cubicBezTo>
                    <a:cubicBezTo>
                      <a:pt x="2490087" y="1196313"/>
                      <a:pt x="2494783" y="1193128"/>
                      <a:pt x="2500648" y="1190208"/>
                    </a:cubicBezTo>
                    <a:cubicBezTo>
                      <a:pt x="2523472" y="1178842"/>
                      <a:pt x="2565666" y="1189395"/>
                      <a:pt x="2565666" y="1189395"/>
                    </a:cubicBezTo>
                    <a:cubicBezTo>
                      <a:pt x="2565666" y="1189395"/>
                      <a:pt x="2548657" y="1229430"/>
                      <a:pt x="2525833" y="1240812"/>
                    </a:cubicBezTo>
                    <a:cubicBezTo>
                      <a:pt x="2501791" y="1252774"/>
                      <a:pt x="2485585" y="1246702"/>
                      <a:pt x="2478651" y="1232732"/>
                    </a:cubicBezTo>
                    <a:cubicBezTo>
                      <a:pt x="2478577" y="1232632"/>
                      <a:pt x="2478553" y="1232516"/>
                      <a:pt x="2478505" y="1232417"/>
                    </a:cubicBezTo>
                    <a:cubicBezTo>
                      <a:pt x="2477921" y="1234258"/>
                      <a:pt x="2471302" y="1251364"/>
                      <a:pt x="2465365" y="1266595"/>
                    </a:cubicBezTo>
                    <a:cubicBezTo>
                      <a:pt x="2470061" y="1263775"/>
                      <a:pt x="2474757" y="1266380"/>
                      <a:pt x="2474757" y="1266380"/>
                    </a:cubicBezTo>
                    <a:cubicBezTo>
                      <a:pt x="2488749" y="1272784"/>
                      <a:pt x="2502497" y="1331286"/>
                      <a:pt x="2502497" y="1331286"/>
                    </a:cubicBezTo>
                    <a:cubicBezTo>
                      <a:pt x="2504736" y="1347280"/>
                      <a:pt x="2501134" y="1359740"/>
                      <a:pt x="2497436" y="1368069"/>
                    </a:cubicBezTo>
                    <a:cubicBezTo>
                      <a:pt x="2497436" y="1368069"/>
                      <a:pt x="2589002" y="1356986"/>
                      <a:pt x="2615768" y="1357583"/>
                    </a:cubicBezTo>
                    <a:cubicBezTo>
                      <a:pt x="2642364" y="1358197"/>
                      <a:pt x="2688306" y="1384163"/>
                      <a:pt x="2617983" y="1399809"/>
                    </a:cubicBezTo>
                    <a:cubicBezTo>
                      <a:pt x="2573915" y="1409615"/>
                      <a:pt x="2423511" y="1449003"/>
                      <a:pt x="2400444" y="1445668"/>
                    </a:cubicBezTo>
                    <a:cubicBezTo>
                      <a:pt x="2371779" y="1441520"/>
                      <a:pt x="2281941" y="1387100"/>
                      <a:pt x="2261014" y="1379882"/>
                    </a:cubicBezTo>
                    <a:cubicBezTo>
                      <a:pt x="2240136" y="1372682"/>
                      <a:pt x="2190229" y="1369330"/>
                      <a:pt x="2162708" y="1369994"/>
                    </a:cubicBezTo>
                    <a:lnTo>
                      <a:pt x="2196507" y="1287517"/>
                    </a:lnTo>
                    <a:cubicBezTo>
                      <a:pt x="2220694" y="1284581"/>
                      <a:pt x="2256829" y="1262315"/>
                      <a:pt x="2336617" y="1262364"/>
                    </a:cubicBezTo>
                    <a:cubicBezTo>
                      <a:pt x="2402171" y="1262414"/>
                      <a:pt x="2420275" y="1248278"/>
                      <a:pt x="2447601" y="1255379"/>
                    </a:cubicBezTo>
                    <a:cubicBezTo>
                      <a:pt x="2451519" y="1256391"/>
                      <a:pt x="2454196" y="1258283"/>
                      <a:pt x="2456069" y="1260456"/>
                    </a:cubicBezTo>
                    <a:cubicBezTo>
                      <a:pt x="2461909" y="1245424"/>
                      <a:pt x="2467920" y="1229878"/>
                      <a:pt x="2468504" y="1228036"/>
                    </a:cubicBezTo>
                    <a:cubicBezTo>
                      <a:pt x="2467871" y="1228551"/>
                      <a:pt x="2467190" y="1229049"/>
                      <a:pt x="2466484" y="1229513"/>
                    </a:cubicBezTo>
                    <a:cubicBezTo>
                      <a:pt x="2453539" y="1238240"/>
                      <a:pt x="2436457" y="1235536"/>
                      <a:pt x="2421467" y="1213270"/>
                    </a:cubicBezTo>
                    <a:cubicBezTo>
                      <a:pt x="2407208" y="1192116"/>
                      <a:pt x="2412148" y="1148895"/>
                      <a:pt x="2412148" y="1148895"/>
                    </a:cubicBezTo>
                    <a:cubicBezTo>
                      <a:pt x="2412148" y="1148895"/>
                      <a:pt x="2454074" y="1160525"/>
                      <a:pt x="2468309" y="1181696"/>
                    </a:cubicBezTo>
                    <a:cubicBezTo>
                      <a:pt x="2471886" y="1186956"/>
                      <a:pt x="2474368" y="1191917"/>
                      <a:pt x="2475925" y="1196562"/>
                    </a:cubicBezTo>
                    <a:cubicBezTo>
                      <a:pt x="2476290" y="1194223"/>
                      <a:pt x="2476631" y="1192016"/>
                      <a:pt x="2476947" y="1189876"/>
                    </a:cubicBezTo>
                    <a:cubicBezTo>
                      <a:pt x="2478042" y="1182692"/>
                      <a:pt x="2479015" y="1176321"/>
                      <a:pt x="2480938" y="1170115"/>
                    </a:cubicBezTo>
                    <a:cubicBezTo>
                      <a:pt x="2470158" y="1161106"/>
                      <a:pt x="2467579" y="1145211"/>
                      <a:pt x="2481108" y="1124406"/>
                    </a:cubicBezTo>
                    <a:cubicBezTo>
                      <a:pt x="2494978" y="1103002"/>
                      <a:pt x="2536661" y="1090625"/>
                      <a:pt x="2536661" y="1090625"/>
                    </a:cubicBezTo>
                    <a:close/>
                    <a:moveTo>
                      <a:pt x="3003673" y="1057851"/>
                    </a:moveTo>
                    <a:cubicBezTo>
                      <a:pt x="3010658" y="1057851"/>
                      <a:pt x="3018167" y="1059944"/>
                      <a:pt x="3023622" y="1063281"/>
                    </a:cubicBezTo>
                    <a:cubicBezTo>
                      <a:pt x="3025675" y="1064526"/>
                      <a:pt x="3027245" y="1066567"/>
                      <a:pt x="3027788" y="1068901"/>
                    </a:cubicBezTo>
                    <a:cubicBezTo>
                      <a:pt x="3028352" y="1071235"/>
                      <a:pt x="3027809" y="1073587"/>
                      <a:pt x="3026520" y="1075610"/>
                    </a:cubicBezTo>
                    <a:lnTo>
                      <a:pt x="3026158" y="1076164"/>
                    </a:lnTo>
                    <a:cubicBezTo>
                      <a:pt x="3023601" y="1080314"/>
                      <a:pt x="3018207" y="1081593"/>
                      <a:pt x="3014020" y="1079052"/>
                    </a:cubicBezTo>
                    <a:cubicBezTo>
                      <a:pt x="3011524" y="1077564"/>
                      <a:pt x="3007236" y="1076527"/>
                      <a:pt x="3003673" y="1076527"/>
                    </a:cubicBezTo>
                    <a:cubicBezTo>
                      <a:pt x="2998339" y="1076527"/>
                      <a:pt x="2994796" y="1078100"/>
                      <a:pt x="2994796" y="1079605"/>
                    </a:cubicBezTo>
                    <a:cubicBezTo>
                      <a:pt x="2994796" y="1082112"/>
                      <a:pt x="2995783" y="1083392"/>
                      <a:pt x="3006049" y="1086487"/>
                    </a:cubicBezTo>
                    <a:cubicBezTo>
                      <a:pt x="3015288" y="1089288"/>
                      <a:pt x="3030808" y="1093923"/>
                      <a:pt x="3030707" y="1111699"/>
                    </a:cubicBezTo>
                    <a:cubicBezTo>
                      <a:pt x="3030707" y="1123077"/>
                      <a:pt x="3021729" y="1134715"/>
                      <a:pt x="3001862" y="1134715"/>
                    </a:cubicBezTo>
                    <a:cubicBezTo>
                      <a:pt x="2992441" y="1134715"/>
                      <a:pt x="2982376" y="1130651"/>
                      <a:pt x="2975754" y="1124201"/>
                    </a:cubicBezTo>
                    <a:cubicBezTo>
                      <a:pt x="2974063" y="1122524"/>
                      <a:pt x="2973076" y="1120259"/>
                      <a:pt x="2973036" y="1117855"/>
                    </a:cubicBezTo>
                    <a:cubicBezTo>
                      <a:pt x="2973016" y="1115469"/>
                      <a:pt x="2974063" y="1113204"/>
                      <a:pt x="2975754" y="1111509"/>
                    </a:cubicBezTo>
                    <a:lnTo>
                      <a:pt x="2976297" y="1110973"/>
                    </a:lnTo>
                    <a:cubicBezTo>
                      <a:pt x="2977988" y="1109296"/>
                      <a:pt x="2980283" y="1108431"/>
                      <a:pt x="2982658" y="1108431"/>
                    </a:cubicBezTo>
                    <a:cubicBezTo>
                      <a:pt x="2985033" y="1108431"/>
                      <a:pt x="2987147" y="1109278"/>
                      <a:pt x="2988818" y="1110973"/>
                    </a:cubicBezTo>
                    <a:cubicBezTo>
                      <a:pt x="2991837" y="1113982"/>
                      <a:pt x="2997111" y="1116039"/>
                      <a:pt x="3001862" y="1116039"/>
                    </a:cubicBezTo>
                    <a:cubicBezTo>
                      <a:pt x="3006733" y="1116039"/>
                      <a:pt x="3012027" y="1114691"/>
                      <a:pt x="3012027" y="1111699"/>
                    </a:cubicBezTo>
                    <a:cubicBezTo>
                      <a:pt x="3012047" y="1108811"/>
                      <a:pt x="3010960" y="1107463"/>
                      <a:pt x="3000412" y="1104264"/>
                    </a:cubicBezTo>
                    <a:cubicBezTo>
                      <a:pt x="2990730" y="1101324"/>
                      <a:pt x="2976116" y="1096914"/>
                      <a:pt x="2976116" y="1079605"/>
                    </a:cubicBezTo>
                    <a:cubicBezTo>
                      <a:pt x="2976116" y="1068780"/>
                      <a:pt x="2984631" y="1057851"/>
                      <a:pt x="3003673" y="1057851"/>
                    </a:cubicBezTo>
                    <a:close/>
                    <a:moveTo>
                      <a:pt x="2878387" y="1057851"/>
                    </a:moveTo>
                    <a:lnTo>
                      <a:pt x="2879293" y="1057851"/>
                    </a:lnTo>
                    <a:cubicBezTo>
                      <a:pt x="2883158" y="1057851"/>
                      <a:pt x="2886620" y="1060341"/>
                      <a:pt x="2887828" y="1064007"/>
                    </a:cubicBezTo>
                    <a:lnTo>
                      <a:pt x="2899060" y="1097364"/>
                    </a:lnTo>
                    <a:lnTo>
                      <a:pt x="2910132" y="1064007"/>
                    </a:lnTo>
                    <a:cubicBezTo>
                      <a:pt x="2911359" y="1060341"/>
                      <a:pt x="2914781" y="1057851"/>
                      <a:pt x="2918646" y="1057851"/>
                    </a:cubicBezTo>
                    <a:lnTo>
                      <a:pt x="2919733" y="1057851"/>
                    </a:lnTo>
                    <a:cubicBezTo>
                      <a:pt x="2923578" y="1057851"/>
                      <a:pt x="2927040" y="1060341"/>
                      <a:pt x="2928248" y="1064007"/>
                    </a:cubicBezTo>
                    <a:lnTo>
                      <a:pt x="2939500" y="1097364"/>
                    </a:lnTo>
                    <a:lnTo>
                      <a:pt x="2950552" y="1064007"/>
                    </a:lnTo>
                    <a:cubicBezTo>
                      <a:pt x="2951759" y="1060341"/>
                      <a:pt x="2955040" y="1057851"/>
                      <a:pt x="2958905" y="1057851"/>
                    </a:cubicBezTo>
                    <a:lnTo>
                      <a:pt x="2959811" y="1057851"/>
                    </a:lnTo>
                    <a:cubicBezTo>
                      <a:pt x="2962710" y="1057851"/>
                      <a:pt x="2965548" y="1059304"/>
                      <a:pt x="2967239" y="1061656"/>
                    </a:cubicBezTo>
                    <a:cubicBezTo>
                      <a:pt x="2968910" y="1064007"/>
                      <a:pt x="2969252" y="1067085"/>
                      <a:pt x="2968326" y="1069818"/>
                    </a:cubicBezTo>
                    <a:lnTo>
                      <a:pt x="2948378" y="1128559"/>
                    </a:lnTo>
                    <a:cubicBezTo>
                      <a:pt x="2947130" y="1132190"/>
                      <a:pt x="2943708" y="1134715"/>
                      <a:pt x="2939863" y="1134715"/>
                    </a:cubicBezTo>
                    <a:lnTo>
                      <a:pt x="2939500" y="1134715"/>
                    </a:lnTo>
                    <a:lnTo>
                      <a:pt x="2938776" y="1134715"/>
                    </a:lnTo>
                    <a:cubicBezTo>
                      <a:pt x="2934911" y="1134715"/>
                      <a:pt x="2931650" y="1132208"/>
                      <a:pt x="2930422" y="1128559"/>
                    </a:cubicBezTo>
                    <a:lnTo>
                      <a:pt x="2919190" y="1095375"/>
                    </a:lnTo>
                    <a:lnTo>
                      <a:pt x="2907937" y="1128559"/>
                    </a:lnTo>
                    <a:cubicBezTo>
                      <a:pt x="2906710" y="1132190"/>
                      <a:pt x="2903267" y="1134715"/>
                      <a:pt x="2899423" y="1134715"/>
                    </a:cubicBezTo>
                    <a:lnTo>
                      <a:pt x="2899060" y="1134715"/>
                    </a:lnTo>
                    <a:cubicBezTo>
                      <a:pt x="2899040" y="1134715"/>
                      <a:pt x="2898940" y="1134715"/>
                      <a:pt x="2898879" y="1134715"/>
                    </a:cubicBezTo>
                    <a:lnTo>
                      <a:pt x="2898336" y="1134715"/>
                    </a:lnTo>
                    <a:cubicBezTo>
                      <a:pt x="2894491" y="1134715"/>
                      <a:pt x="2891210" y="1132190"/>
                      <a:pt x="2890002" y="1128559"/>
                    </a:cubicBezTo>
                    <a:lnTo>
                      <a:pt x="2870054" y="1069818"/>
                    </a:lnTo>
                    <a:cubicBezTo>
                      <a:pt x="2869128" y="1067085"/>
                      <a:pt x="2869450" y="1064007"/>
                      <a:pt x="2871141" y="1061656"/>
                    </a:cubicBezTo>
                    <a:cubicBezTo>
                      <a:pt x="2872832" y="1059304"/>
                      <a:pt x="2875509" y="1057851"/>
                      <a:pt x="2878387" y="1057851"/>
                    </a:cubicBezTo>
                    <a:close/>
                    <a:moveTo>
                      <a:pt x="2823997" y="1057851"/>
                    </a:moveTo>
                    <a:lnTo>
                      <a:pt x="2860452" y="1057851"/>
                    </a:lnTo>
                    <a:cubicBezTo>
                      <a:pt x="2865404" y="1057851"/>
                      <a:pt x="2869329" y="1061967"/>
                      <a:pt x="2869329" y="1066912"/>
                    </a:cubicBezTo>
                    <a:lnTo>
                      <a:pt x="2869329" y="1067639"/>
                    </a:lnTo>
                    <a:cubicBezTo>
                      <a:pt x="2869329" y="1072602"/>
                      <a:pt x="2865404" y="1076527"/>
                      <a:pt x="2860452" y="1076527"/>
                    </a:cubicBezTo>
                    <a:lnTo>
                      <a:pt x="2833599" y="1076527"/>
                    </a:lnTo>
                    <a:lnTo>
                      <a:pt x="2833599" y="1086124"/>
                    </a:lnTo>
                    <a:lnTo>
                      <a:pt x="2856446" y="1086124"/>
                    </a:lnTo>
                    <a:cubicBezTo>
                      <a:pt x="2861398" y="1086124"/>
                      <a:pt x="2865343" y="1090049"/>
                      <a:pt x="2865343" y="1095012"/>
                    </a:cubicBezTo>
                    <a:lnTo>
                      <a:pt x="2865343" y="1095738"/>
                    </a:lnTo>
                    <a:cubicBezTo>
                      <a:pt x="2865343" y="1100684"/>
                      <a:pt x="2861398" y="1104800"/>
                      <a:pt x="2856446" y="1104800"/>
                    </a:cubicBezTo>
                    <a:lnTo>
                      <a:pt x="2833599" y="1104800"/>
                    </a:lnTo>
                    <a:lnTo>
                      <a:pt x="2833599" y="1116766"/>
                    </a:lnTo>
                    <a:lnTo>
                      <a:pt x="2861539" y="1116766"/>
                    </a:lnTo>
                    <a:cubicBezTo>
                      <a:pt x="2866491" y="1116766"/>
                      <a:pt x="2870597" y="1120708"/>
                      <a:pt x="2870597" y="1125654"/>
                    </a:cubicBezTo>
                    <a:cubicBezTo>
                      <a:pt x="2870597" y="1130617"/>
                      <a:pt x="2866471" y="1134715"/>
                      <a:pt x="2861539" y="1134715"/>
                    </a:cubicBezTo>
                    <a:lnTo>
                      <a:pt x="2823997" y="1134715"/>
                    </a:lnTo>
                    <a:cubicBezTo>
                      <a:pt x="2819025" y="1134715"/>
                      <a:pt x="2814939" y="1130617"/>
                      <a:pt x="2814939" y="1125654"/>
                    </a:cubicBezTo>
                    <a:lnTo>
                      <a:pt x="2814939" y="1066912"/>
                    </a:lnTo>
                    <a:cubicBezTo>
                      <a:pt x="2814939" y="1061967"/>
                      <a:pt x="2819025" y="1057851"/>
                      <a:pt x="2823997" y="1057851"/>
                    </a:cubicBezTo>
                    <a:close/>
                    <a:moveTo>
                      <a:pt x="2747666" y="1057851"/>
                    </a:moveTo>
                    <a:lnTo>
                      <a:pt x="2748210" y="1057851"/>
                    </a:lnTo>
                    <a:cubicBezTo>
                      <a:pt x="2748270" y="1057851"/>
                      <a:pt x="2748331" y="1057851"/>
                      <a:pt x="2748391" y="1057851"/>
                    </a:cubicBezTo>
                    <a:cubicBezTo>
                      <a:pt x="2748411" y="1057851"/>
                      <a:pt x="2748532" y="1057851"/>
                      <a:pt x="2748572" y="1057851"/>
                    </a:cubicBezTo>
                    <a:lnTo>
                      <a:pt x="2749478" y="1057851"/>
                    </a:lnTo>
                    <a:cubicBezTo>
                      <a:pt x="2752336" y="1057851"/>
                      <a:pt x="2755034" y="1059321"/>
                      <a:pt x="2756725" y="1061656"/>
                    </a:cubicBezTo>
                    <a:lnTo>
                      <a:pt x="2783376" y="1098453"/>
                    </a:lnTo>
                    <a:lnTo>
                      <a:pt x="2783376" y="1066912"/>
                    </a:lnTo>
                    <a:cubicBezTo>
                      <a:pt x="2783376" y="1061967"/>
                      <a:pt x="2787503" y="1057851"/>
                      <a:pt x="2792455" y="1057851"/>
                    </a:cubicBezTo>
                    <a:lnTo>
                      <a:pt x="2793179" y="1057851"/>
                    </a:lnTo>
                    <a:cubicBezTo>
                      <a:pt x="2798131" y="1057851"/>
                      <a:pt x="2802056" y="1061967"/>
                      <a:pt x="2802056" y="1066912"/>
                    </a:cubicBezTo>
                    <a:lnTo>
                      <a:pt x="2802056" y="1125654"/>
                    </a:lnTo>
                    <a:cubicBezTo>
                      <a:pt x="2802056" y="1130617"/>
                      <a:pt x="2798131" y="1134715"/>
                      <a:pt x="2793179" y="1134715"/>
                    </a:cubicBezTo>
                    <a:lnTo>
                      <a:pt x="2792455" y="1134715"/>
                    </a:lnTo>
                    <a:cubicBezTo>
                      <a:pt x="2792394" y="1134715"/>
                      <a:pt x="2792314" y="1134715"/>
                      <a:pt x="2792273" y="1134715"/>
                    </a:cubicBezTo>
                    <a:cubicBezTo>
                      <a:pt x="2792233" y="1134715"/>
                      <a:pt x="2792112" y="1134715"/>
                      <a:pt x="2792092" y="1134715"/>
                    </a:cubicBezTo>
                    <a:lnTo>
                      <a:pt x="2791368" y="1134715"/>
                    </a:lnTo>
                    <a:cubicBezTo>
                      <a:pt x="2788489" y="1134715"/>
                      <a:pt x="2785812" y="1133418"/>
                      <a:pt x="2784101" y="1131101"/>
                    </a:cubicBezTo>
                    <a:lnTo>
                      <a:pt x="2757268" y="1094113"/>
                    </a:lnTo>
                    <a:lnTo>
                      <a:pt x="2757268" y="1125654"/>
                    </a:lnTo>
                    <a:cubicBezTo>
                      <a:pt x="2757268" y="1130617"/>
                      <a:pt x="2753182" y="1134715"/>
                      <a:pt x="2748210" y="1134715"/>
                    </a:cubicBezTo>
                    <a:lnTo>
                      <a:pt x="2747666" y="1134715"/>
                    </a:lnTo>
                    <a:cubicBezTo>
                      <a:pt x="2742715" y="1134715"/>
                      <a:pt x="2738588" y="1130617"/>
                      <a:pt x="2738588" y="1125654"/>
                    </a:cubicBezTo>
                    <a:lnTo>
                      <a:pt x="2738588" y="1066912"/>
                    </a:lnTo>
                    <a:cubicBezTo>
                      <a:pt x="2738608" y="1061967"/>
                      <a:pt x="2742715" y="1057851"/>
                      <a:pt x="2747666" y="1057851"/>
                    </a:cubicBezTo>
                    <a:close/>
                    <a:moveTo>
                      <a:pt x="2742231" y="1037723"/>
                    </a:moveTo>
                    <a:cubicBezTo>
                      <a:pt x="2726148" y="1037723"/>
                      <a:pt x="2713024" y="1050848"/>
                      <a:pt x="2713024" y="1066912"/>
                    </a:cubicBezTo>
                    <a:lnTo>
                      <a:pt x="2713024" y="1313499"/>
                    </a:lnTo>
                    <a:cubicBezTo>
                      <a:pt x="2713044" y="1329563"/>
                      <a:pt x="2726148" y="1342515"/>
                      <a:pt x="2742231" y="1342515"/>
                    </a:cubicBezTo>
                    <a:lnTo>
                      <a:pt x="3016556" y="1342515"/>
                    </a:lnTo>
                    <a:cubicBezTo>
                      <a:pt x="3032579" y="1342515"/>
                      <a:pt x="3045563" y="1329563"/>
                      <a:pt x="3045563" y="1313499"/>
                    </a:cubicBezTo>
                    <a:cubicBezTo>
                      <a:pt x="3045563" y="1313499"/>
                      <a:pt x="3045563" y="1066912"/>
                      <a:pt x="3045563" y="1066912"/>
                    </a:cubicBezTo>
                    <a:cubicBezTo>
                      <a:pt x="3045563" y="1050848"/>
                      <a:pt x="3032579" y="1037723"/>
                      <a:pt x="3016556" y="1037723"/>
                    </a:cubicBezTo>
                    <a:close/>
                    <a:moveTo>
                      <a:pt x="253942" y="1030641"/>
                    </a:moveTo>
                    <a:cubicBezTo>
                      <a:pt x="280528" y="1036580"/>
                      <a:pt x="305859" y="1049765"/>
                      <a:pt x="326609" y="1070506"/>
                    </a:cubicBezTo>
                    <a:cubicBezTo>
                      <a:pt x="384995" y="1128929"/>
                      <a:pt x="384995" y="1223473"/>
                      <a:pt x="326609" y="1281909"/>
                    </a:cubicBezTo>
                    <a:lnTo>
                      <a:pt x="366253" y="1321545"/>
                    </a:lnTo>
                    <a:lnTo>
                      <a:pt x="260543" y="1321545"/>
                    </a:lnTo>
                    <a:lnTo>
                      <a:pt x="260543" y="1215837"/>
                    </a:lnTo>
                    <a:lnTo>
                      <a:pt x="300186" y="1255472"/>
                    </a:lnTo>
                    <a:cubicBezTo>
                      <a:pt x="343937" y="1211742"/>
                      <a:pt x="343937" y="1140673"/>
                      <a:pt x="300186" y="1096930"/>
                    </a:cubicBezTo>
                    <a:cubicBezTo>
                      <a:pt x="286845" y="1083583"/>
                      <a:pt x="270882" y="1074196"/>
                      <a:pt x="253942" y="1069240"/>
                    </a:cubicBezTo>
                    <a:close/>
                    <a:moveTo>
                      <a:pt x="72679" y="1030641"/>
                    </a:moveTo>
                    <a:lnTo>
                      <a:pt x="178402" y="1030641"/>
                    </a:lnTo>
                    <a:lnTo>
                      <a:pt x="178402" y="1136352"/>
                    </a:lnTo>
                    <a:lnTo>
                      <a:pt x="138746" y="1096702"/>
                    </a:lnTo>
                    <a:cubicBezTo>
                      <a:pt x="94994" y="1140432"/>
                      <a:pt x="94994" y="1211503"/>
                      <a:pt x="138746" y="1255234"/>
                    </a:cubicBezTo>
                    <a:cubicBezTo>
                      <a:pt x="152082" y="1268594"/>
                      <a:pt x="168063" y="1277995"/>
                      <a:pt x="184991" y="1282951"/>
                    </a:cubicBezTo>
                    <a:lnTo>
                      <a:pt x="184991" y="1321550"/>
                    </a:lnTo>
                    <a:cubicBezTo>
                      <a:pt x="158398" y="1315597"/>
                      <a:pt x="133073" y="1302426"/>
                      <a:pt x="112304" y="1281685"/>
                    </a:cubicBezTo>
                    <a:cubicBezTo>
                      <a:pt x="53937" y="1223247"/>
                      <a:pt x="53937" y="1128702"/>
                      <a:pt x="112323" y="1070291"/>
                    </a:cubicBezTo>
                    <a:close/>
                    <a:moveTo>
                      <a:pt x="3287010" y="1008831"/>
                    </a:moveTo>
                    <a:lnTo>
                      <a:pt x="3353261" y="1008831"/>
                    </a:lnTo>
                    <a:lnTo>
                      <a:pt x="3353261" y="1084445"/>
                    </a:lnTo>
                    <a:lnTo>
                      <a:pt x="3304545" y="1084445"/>
                    </a:lnTo>
                    <a:cubicBezTo>
                      <a:pt x="3294906" y="1084445"/>
                      <a:pt x="3285155" y="1094411"/>
                      <a:pt x="3285155" y="1101841"/>
                    </a:cubicBezTo>
                    <a:lnTo>
                      <a:pt x="3285155" y="1151513"/>
                    </a:lnTo>
                    <a:lnTo>
                      <a:pt x="3353158" y="1151513"/>
                    </a:lnTo>
                    <a:cubicBezTo>
                      <a:pt x="3350436" y="1189581"/>
                      <a:pt x="3344787" y="1224413"/>
                      <a:pt x="3344787" y="1224413"/>
                    </a:cubicBezTo>
                    <a:lnTo>
                      <a:pt x="3284820" y="1224413"/>
                    </a:lnTo>
                    <a:lnTo>
                      <a:pt x="3284820" y="1440236"/>
                    </a:lnTo>
                    <a:lnTo>
                      <a:pt x="3195413" y="1440236"/>
                    </a:lnTo>
                    <a:lnTo>
                      <a:pt x="3195413" y="1224393"/>
                    </a:lnTo>
                    <a:lnTo>
                      <a:pt x="3151908" y="1224393"/>
                    </a:lnTo>
                    <a:lnTo>
                      <a:pt x="3151908" y="1151753"/>
                    </a:lnTo>
                    <a:lnTo>
                      <a:pt x="3195413" y="1151753"/>
                    </a:lnTo>
                    <a:lnTo>
                      <a:pt x="3195413" y="1092374"/>
                    </a:lnTo>
                    <a:cubicBezTo>
                      <a:pt x="3195413" y="1081529"/>
                      <a:pt x="3193223" y="1008831"/>
                      <a:pt x="3287010" y="1008831"/>
                    </a:cubicBezTo>
                    <a:close/>
                    <a:moveTo>
                      <a:pt x="2742231" y="1003451"/>
                    </a:moveTo>
                    <a:lnTo>
                      <a:pt x="3016556" y="1003451"/>
                    </a:lnTo>
                    <a:cubicBezTo>
                      <a:pt x="3049911" y="1003451"/>
                      <a:pt x="3077307" y="1029269"/>
                      <a:pt x="3079843" y="1062019"/>
                    </a:cubicBezTo>
                    <a:cubicBezTo>
                      <a:pt x="3099751" y="1072757"/>
                      <a:pt x="3113379" y="1093698"/>
                      <a:pt x="3113379" y="1117855"/>
                    </a:cubicBezTo>
                    <a:lnTo>
                      <a:pt x="3113379" y="1313499"/>
                    </a:lnTo>
                    <a:cubicBezTo>
                      <a:pt x="3113379" y="1348533"/>
                      <a:pt x="3084755" y="1376961"/>
                      <a:pt x="3049730" y="1376961"/>
                    </a:cubicBezTo>
                    <a:lnTo>
                      <a:pt x="2742231" y="1376961"/>
                    </a:lnTo>
                    <a:cubicBezTo>
                      <a:pt x="2707186" y="1376961"/>
                      <a:pt x="2678582" y="1348533"/>
                      <a:pt x="2678582" y="1313499"/>
                    </a:cubicBezTo>
                    <a:lnTo>
                      <a:pt x="2678582" y="1066912"/>
                    </a:lnTo>
                    <a:cubicBezTo>
                      <a:pt x="2678582" y="1031878"/>
                      <a:pt x="2707186" y="1003451"/>
                      <a:pt x="2742231" y="1003451"/>
                    </a:cubicBezTo>
                    <a:close/>
                    <a:moveTo>
                      <a:pt x="3494885" y="1003376"/>
                    </a:moveTo>
                    <a:cubicBezTo>
                      <a:pt x="3497890" y="1003312"/>
                      <a:pt x="3500763" y="1004685"/>
                      <a:pt x="3502536" y="1007110"/>
                    </a:cubicBezTo>
                    <a:lnTo>
                      <a:pt x="3574133" y="1103972"/>
                    </a:lnTo>
                    <a:lnTo>
                      <a:pt x="3604835" y="1124019"/>
                    </a:lnTo>
                    <a:lnTo>
                      <a:pt x="3610581" y="1115240"/>
                    </a:lnTo>
                    <a:cubicBezTo>
                      <a:pt x="3610679" y="1115069"/>
                      <a:pt x="3610811" y="1114961"/>
                      <a:pt x="3610909" y="1114811"/>
                    </a:cubicBezTo>
                    <a:cubicBezTo>
                      <a:pt x="3611106" y="1114554"/>
                      <a:pt x="3611270" y="1114296"/>
                      <a:pt x="3611500" y="1114039"/>
                    </a:cubicBezTo>
                    <a:cubicBezTo>
                      <a:pt x="3611533" y="1113996"/>
                      <a:pt x="3611566" y="1113996"/>
                      <a:pt x="3611615" y="1113953"/>
                    </a:cubicBezTo>
                    <a:cubicBezTo>
                      <a:pt x="3611845" y="1113717"/>
                      <a:pt x="3612108" y="1113481"/>
                      <a:pt x="3612387" y="1113244"/>
                    </a:cubicBezTo>
                    <a:cubicBezTo>
                      <a:pt x="3612551" y="1113116"/>
                      <a:pt x="3612682" y="1112965"/>
                      <a:pt x="3612846" y="1112858"/>
                    </a:cubicBezTo>
                    <a:cubicBezTo>
                      <a:pt x="3613191" y="1112622"/>
                      <a:pt x="3613503" y="1112450"/>
                      <a:pt x="3613848" y="1112257"/>
                    </a:cubicBezTo>
                    <a:cubicBezTo>
                      <a:pt x="3613979" y="1112171"/>
                      <a:pt x="3614111" y="1112085"/>
                      <a:pt x="3614258" y="1112021"/>
                    </a:cubicBezTo>
                    <a:cubicBezTo>
                      <a:pt x="3614619" y="1111849"/>
                      <a:pt x="3615014" y="1111699"/>
                      <a:pt x="3615408" y="1111549"/>
                    </a:cubicBezTo>
                    <a:cubicBezTo>
                      <a:pt x="3615522" y="1111527"/>
                      <a:pt x="3615621" y="1111506"/>
                      <a:pt x="3615736" y="1111463"/>
                    </a:cubicBezTo>
                    <a:cubicBezTo>
                      <a:pt x="3616146" y="1111356"/>
                      <a:pt x="3616606" y="1111248"/>
                      <a:pt x="3617049" y="1111162"/>
                    </a:cubicBezTo>
                    <a:cubicBezTo>
                      <a:pt x="3617099" y="1111184"/>
                      <a:pt x="3617164" y="1111162"/>
                      <a:pt x="3617213" y="1111162"/>
                    </a:cubicBezTo>
                    <a:cubicBezTo>
                      <a:pt x="3619282" y="1110926"/>
                      <a:pt x="3621416" y="1111356"/>
                      <a:pt x="3623288" y="1112558"/>
                    </a:cubicBezTo>
                    <a:lnTo>
                      <a:pt x="3652971" y="1131939"/>
                    </a:lnTo>
                    <a:cubicBezTo>
                      <a:pt x="3653103" y="1132025"/>
                      <a:pt x="3653185" y="1132110"/>
                      <a:pt x="3653316" y="1132196"/>
                    </a:cubicBezTo>
                    <a:lnTo>
                      <a:pt x="3725373" y="1179243"/>
                    </a:lnTo>
                    <a:cubicBezTo>
                      <a:pt x="3729609" y="1182012"/>
                      <a:pt x="3730791" y="1187700"/>
                      <a:pt x="3728033" y="1191949"/>
                    </a:cubicBezTo>
                    <a:cubicBezTo>
                      <a:pt x="3725275" y="1196199"/>
                      <a:pt x="3719578" y="1197401"/>
                      <a:pt x="3715326" y="1194632"/>
                    </a:cubicBezTo>
                    <a:lnTo>
                      <a:pt x="3658553" y="1157566"/>
                    </a:lnTo>
                    <a:lnTo>
                      <a:pt x="3704326" y="1216997"/>
                    </a:lnTo>
                    <a:cubicBezTo>
                      <a:pt x="3707412" y="1221032"/>
                      <a:pt x="3706674" y="1226805"/>
                      <a:pt x="3702651" y="1229875"/>
                    </a:cubicBezTo>
                    <a:cubicBezTo>
                      <a:pt x="3699483" y="1232321"/>
                      <a:pt x="3695214" y="1232364"/>
                      <a:pt x="3692029" y="1230282"/>
                    </a:cubicBezTo>
                    <a:cubicBezTo>
                      <a:pt x="3691175" y="1229746"/>
                      <a:pt x="3690420" y="1229037"/>
                      <a:pt x="3689763" y="1228200"/>
                    </a:cubicBezTo>
                    <a:lnTo>
                      <a:pt x="3641774" y="1165872"/>
                    </a:lnTo>
                    <a:lnTo>
                      <a:pt x="3623354" y="1194053"/>
                    </a:lnTo>
                    <a:cubicBezTo>
                      <a:pt x="3646371" y="1222642"/>
                      <a:pt x="3649606" y="1263958"/>
                      <a:pt x="3628476" y="1296303"/>
                    </a:cubicBezTo>
                    <a:lnTo>
                      <a:pt x="3539377" y="1432743"/>
                    </a:lnTo>
                    <a:cubicBezTo>
                      <a:pt x="3521991" y="1459379"/>
                      <a:pt x="3486167" y="1466912"/>
                      <a:pt x="3459538" y="1449527"/>
                    </a:cubicBezTo>
                    <a:lnTo>
                      <a:pt x="3410318" y="1417376"/>
                    </a:lnTo>
                    <a:cubicBezTo>
                      <a:pt x="3383688" y="1399991"/>
                      <a:pt x="3376169" y="1364169"/>
                      <a:pt x="3393555" y="1337533"/>
                    </a:cubicBezTo>
                    <a:lnTo>
                      <a:pt x="3482638" y="1201093"/>
                    </a:lnTo>
                    <a:cubicBezTo>
                      <a:pt x="3503767" y="1168748"/>
                      <a:pt x="3542891" y="1155076"/>
                      <a:pt x="3578320" y="1164648"/>
                    </a:cubicBezTo>
                    <a:lnTo>
                      <a:pt x="3594803" y="1139408"/>
                    </a:lnTo>
                    <a:lnTo>
                      <a:pt x="3563675" y="1119082"/>
                    </a:lnTo>
                    <a:lnTo>
                      <a:pt x="3450180" y="1086351"/>
                    </a:lnTo>
                    <a:cubicBezTo>
                      <a:pt x="3449293" y="1086072"/>
                      <a:pt x="3448472" y="1085707"/>
                      <a:pt x="3447734" y="1085214"/>
                    </a:cubicBezTo>
                    <a:cubicBezTo>
                      <a:pt x="3446092" y="1084162"/>
                      <a:pt x="3444811" y="1082595"/>
                      <a:pt x="3444122" y="1080728"/>
                    </a:cubicBezTo>
                    <a:cubicBezTo>
                      <a:pt x="3443120" y="1077981"/>
                      <a:pt x="3443465" y="1074933"/>
                      <a:pt x="3445041" y="1072508"/>
                    </a:cubicBezTo>
                    <a:lnTo>
                      <a:pt x="3487464" y="1007561"/>
                    </a:lnTo>
                    <a:cubicBezTo>
                      <a:pt x="3489106" y="1005029"/>
                      <a:pt x="3491864" y="1003483"/>
                      <a:pt x="3494885" y="1003376"/>
                    </a:cubicBezTo>
                    <a:close/>
                    <a:moveTo>
                      <a:pt x="1404199" y="943392"/>
                    </a:moveTo>
                    <a:lnTo>
                      <a:pt x="1712582" y="950560"/>
                    </a:lnTo>
                    <a:cubicBezTo>
                      <a:pt x="1733777" y="951053"/>
                      <a:pt x="1750511" y="968802"/>
                      <a:pt x="1750022" y="989981"/>
                    </a:cubicBezTo>
                    <a:lnTo>
                      <a:pt x="1742135" y="1336916"/>
                    </a:lnTo>
                    <a:lnTo>
                      <a:pt x="1666838" y="1258021"/>
                    </a:lnTo>
                    <a:lnTo>
                      <a:pt x="1397037" y="1251746"/>
                    </a:lnTo>
                    <a:cubicBezTo>
                      <a:pt x="1375842" y="1251254"/>
                      <a:pt x="1358890" y="1233505"/>
                      <a:pt x="1359380" y="1212326"/>
                    </a:cubicBezTo>
                    <a:lnTo>
                      <a:pt x="1364746" y="981006"/>
                    </a:lnTo>
                    <a:cubicBezTo>
                      <a:pt x="1365254" y="959845"/>
                      <a:pt x="1383004" y="942899"/>
                      <a:pt x="1404199" y="943392"/>
                    </a:cubicBezTo>
                    <a:close/>
                    <a:moveTo>
                      <a:pt x="5023473" y="907816"/>
                    </a:moveTo>
                    <a:cubicBezTo>
                      <a:pt x="5049037" y="907816"/>
                      <a:pt x="5072135" y="918604"/>
                      <a:pt x="5088336" y="935877"/>
                    </a:cubicBezTo>
                    <a:cubicBezTo>
                      <a:pt x="5108567" y="931885"/>
                      <a:pt x="5127595" y="924502"/>
                      <a:pt x="5144758" y="914301"/>
                    </a:cubicBezTo>
                    <a:cubicBezTo>
                      <a:pt x="5138121" y="935061"/>
                      <a:pt x="5124026" y="952479"/>
                      <a:pt x="5105700" y="963480"/>
                    </a:cubicBezTo>
                    <a:cubicBezTo>
                      <a:pt x="5123665" y="961327"/>
                      <a:pt x="5140788" y="956555"/>
                      <a:pt x="5156728" y="949481"/>
                    </a:cubicBezTo>
                    <a:cubicBezTo>
                      <a:pt x="5144818" y="967290"/>
                      <a:pt x="5129740" y="982952"/>
                      <a:pt x="5112377" y="995464"/>
                    </a:cubicBezTo>
                    <a:cubicBezTo>
                      <a:pt x="5112557" y="999292"/>
                      <a:pt x="5112637" y="1003122"/>
                      <a:pt x="5112637" y="1006967"/>
                    </a:cubicBezTo>
                    <a:cubicBezTo>
                      <a:pt x="5112637" y="1124383"/>
                      <a:pt x="5023273" y="1259772"/>
                      <a:pt x="4859842" y="1259772"/>
                    </a:cubicBezTo>
                    <a:cubicBezTo>
                      <a:pt x="4809656" y="1259772"/>
                      <a:pt x="4762959" y="1245058"/>
                      <a:pt x="4723640" y="1219851"/>
                    </a:cubicBezTo>
                    <a:cubicBezTo>
                      <a:pt x="4730577" y="1220682"/>
                      <a:pt x="4737655" y="1221090"/>
                      <a:pt x="4744833" y="1221090"/>
                    </a:cubicBezTo>
                    <a:cubicBezTo>
                      <a:pt x="4786458" y="1221090"/>
                      <a:pt x="4824774" y="1206897"/>
                      <a:pt x="4855190" y="1183059"/>
                    </a:cubicBezTo>
                    <a:cubicBezTo>
                      <a:pt x="4816293" y="1182342"/>
                      <a:pt x="4783470" y="1156646"/>
                      <a:pt x="4772182" y="1121352"/>
                    </a:cubicBezTo>
                    <a:cubicBezTo>
                      <a:pt x="4777616" y="1122395"/>
                      <a:pt x="4783170" y="1122949"/>
                      <a:pt x="4788904" y="1122949"/>
                    </a:cubicBezTo>
                    <a:cubicBezTo>
                      <a:pt x="4797004" y="1122949"/>
                      <a:pt x="4804844" y="1121858"/>
                      <a:pt x="4812303" y="1119837"/>
                    </a:cubicBezTo>
                    <a:cubicBezTo>
                      <a:pt x="4771661" y="1111674"/>
                      <a:pt x="4741024" y="1075761"/>
                      <a:pt x="4741024" y="1032714"/>
                    </a:cubicBezTo>
                    <a:cubicBezTo>
                      <a:pt x="4741024" y="1032322"/>
                      <a:pt x="4741024" y="1031963"/>
                      <a:pt x="4741044" y="1031588"/>
                    </a:cubicBezTo>
                    <a:cubicBezTo>
                      <a:pt x="4753014" y="1038252"/>
                      <a:pt x="4766728" y="1042244"/>
                      <a:pt x="4781285" y="1042700"/>
                    </a:cubicBezTo>
                    <a:cubicBezTo>
                      <a:pt x="4757425" y="1026765"/>
                      <a:pt x="4741766" y="999570"/>
                      <a:pt x="4741766" y="968757"/>
                    </a:cubicBezTo>
                    <a:cubicBezTo>
                      <a:pt x="4741766" y="952463"/>
                      <a:pt x="4746137" y="937197"/>
                      <a:pt x="4753776" y="924080"/>
                    </a:cubicBezTo>
                    <a:cubicBezTo>
                      <a:pt x="4797606" y="977834"/>
                      <a:pt x="4863090" y="1013209"/>
                      <a:pt x="4936916" y="1016923"/>
                    </a:cubicBezTo>
                    <a:cubicBezTo>
                      <a:pt x="4935412" y="1010405"/>
                      <a:pt x="4934630" y="1003627"/>
                      <a:pt x="4934630" y="996670"/>
                    </a:cubicBezTo>
                    <a:cubicBezTo>
                      <a:pt x="4934630" y="947607"/>
                      <a:pt x="4974410" y="907816"/>
                      <a:pt x="5023473" y="907816"/>
                    </a:cubicBezTo>
                    <a:close/>
                    <a:moveTo>
                      <a:pt x="4319063" y="899768"/>
                    </a:moveTo>
                    <a:cubicBezTo>
                      <a:pt x="4397036" y="899768"/>
                      <a:pt x="4461902" y="955811"/>
                      <a:pt x="4475644" y="1029756"/>
                    </a:cubicBezTo>
                    <a:cubicBezTo>
                      <a:pt x="4477400" y="1029664"/>
                      <a:pt x="4479246" y="1029610"/>
                      <a:pt x="4481032" y="1029610"/>
                    </a:cubicBezTo>
                    <a:cubicBezTo>
                      <a:pt x="4539119" y="1029610"/>
                      <a:pt x="4588124" y="1068078"/>
                      <a:pt x="4604106" y="1120915"/>
                    </a:cubicBezTo>
                    <a:cubicBezTo>
                      <a:pt x="4606558" y="1120718"/>
                      <a:pt x="4609101" y="1120575"/>
                      <a:pt x="4611613" y="1120575"/>
                    </a:cubicBezTo>
                    <a:cubicBezTo>
                      <a:pt x="4657471" y="1120575"/>
                      <a:pt x="4694732" y="1157753"/>
                      <a:pt x="4694732" y="1203674"/>
                    </a:cubicBezTo>
                    <a:cubicBezTo>
                      <a:pt x="4694732" y="1249595"/>
                      <a:pt x="4657562" y="1286773"/>
                      <a:pt x="4611704" y="1286773"/>
                    </a:cubicBezTo>
                    <a:lnTo>
                      <a:pt x="4159908" y="1286773"/>
                    </a:lnTo>
                    <a:cubicBezTo>
                      <a:pt x="4094163" y="1286773"/>
                      <a:pt x="4040920" y="1233470"/>
                      <a:pt x="4040920" y="1167804"/>
                    </a:cubicBezTo>
                    <a:cubicBezTo>
                      <a:pt x="4040920" y="1102120"/>
                      <a:pt x="4094103" y="1048745"/>
                      <a:pt x="4159847" y="1048745"/>
                    </a:cubicBezTo>
                    <a:cubicBezTo>
                      <a:pt x="4159847" y="1048745"/>
                      <a:pt x="4160180" y="1048745"/>
                      <a:pt x="4160180" y="1048745"/>
                    </a:cubicBezTo>
                    <a:cubicBezTo>
                      <a:pt x="4165447" y="965576"/>
                      <a:pt x="4234582" y="899768"/>
                      <a:pt x="4319063" y="899768"/>
                    </a:cubicBezTo>
                    <a:close/>
                    <a:moveTo>
                      <a:pt x="646254" y="868703"/>
                    </a:moveTo>
                    <a:cubicBezTo>
                      <a:pt x="592262" y="925697"/>
                      <a:pt x="632801" y="969431"/>
                      <a:pt x="632801" y="969431"/>
                    </a:cubicBezTo>
                    <a:cubicBezTo>
                      <a:pt x="614203" y="916454"/>
                      <a:pt x="663889" y="876734"/>
                      <a:pt x="663889" y="876734"/>
                    </a:cubicBezTo>
                    <a:cubicBezTo>
                      <a:pt x="663889" y="876734"/>
                      <a:pt x="646254" y="868703"/>
                      <a:pt x="646254" y="868703"/>
                    </a:cubicBezTo>
                    <a:close/>
                    <a:moveTo>
                      <a:pt x="2591447" y="850689"/>
                    </a:moveTo>
                    <a:lnTo>
                      <a:pt x="2617259" y="850689"/>
                    </a:lnTo>
                    <a:cubicBezTo>
                      <a:pt x="2641182" y="850689"/>
                      <a:pt x="2660712" y="870091"/>
                      <a:pt x="2660712" y="894020"/>
                    </a:cubicBezTo>
                    <a:cubicBezTo>
                      <a:pt x="2660712" y="894020"/>
                      <a:pt x="2660712" y="1014461"/>
                      <a:pt x="2660712" y="1014461"/>
                    </a:cubicBezTo>
                    <a:lnTo>
                      <a:pt x="2547976" y="1014461"/>
                    </a:lnTo>
                    <a:lnTo>
                      <a:pt x="2547976" y="936631"/>
                    </a:lnTo>
                    <a:cubicBezTo>
                      <a:pt x="2531543" y="951029"/>
                      <a:pt x="2508171" y="964785"/>
                      <a:pt x="2472464" y="970758"/>
                    </a:cubicBezTo>
                    <a:cubicBezTo>
                      <a:pt x="2475446" y="966413"/>
                      <a:pt x="2477886" y="961494"/>
                      <a:pt x="2478445" y="955783"/>
                    </a:cubicBezTo>
                    <a:cubicBezTo>
                      <a:pt x="2479536" y="945602"/>
                      <a:pt x="2475579" y="936222"/>
                      <a:pt x="2469048" y="929428"/>
                    </a:cubicBezTo>
                    <a:cubicBezTo>
                      <a:pt x="2509395" y="921695"/>
                      <a:pt x="2525970" y="901996"/>
                      <a:pt x="2540372" y="884065"/>
                    </a:cubicBezTo>
                    <a:cubicBezTo>
                      <a:pt x="2547444" y="875377"/>
                      <a:pt x="2554108" y="867104"/>
                      <a:pt x="2562954" y="861252"/>
                    </a:cubicBezTo>
                    <a:cubicBezTo>
                      <a:pt x="2563185" y="860978"/>
                      <a:pt x="2563611" y="860978"/>
                      <a:pt x="2563726" y="860841"/>
                    </a:cubicBezTo>
                    <a:cubicBezTo>
                      <a:pt x="2571358" y="854610"/>
                      <a:pt x="2580852" y="850689"/>
                      <a:pt x="2591447" y="850689"/>
                    </a:cubicBezTo>
                    <a:close/>
                    <a:moveTo>
                      <a:pt x="2285276" y="850689"/>
                    </a:moveTo>
                    <a:lnTo>
                      <a:pt x="2311075" y="850689"/>
                    </a:lnTo>
                    <a:cubicBezTo>
                      <a:pt x="2321536" y="850689"/>
                      <a:pt x="2331178" y="854610"/>
                      <a:pt x="2338646" y="860841"/>
                    </a:cubicBezTo>
                    <a:cubicBezTo>
                      <a:pt x="2338905" y="860978"/>
                      <a:pt x="2339329" y="860978"/>
                      <a:pt x="2339464" y="861252"/>
                    </a:cubicBezTo>
                    <a:cubicBezTo>
                      <a:pt x="2348288" y="867104"/>
                      <a:pt x="2355082" y="875377"/>
                      <a:pt x="2362146" y="884065"/>
                    </a:cubicBezTo>
                    <a:cubicBezTo>
                      <a:pt x="2377899" y="903627"/>
                      <a:pt x="2395827" y="926031"/>
                      <a:pt x="2445944" y="931642"/>
                    </a:cubicBezTo>
                    <a:cubicBezTo>
                      <a:pt x="2457347" y="932872"/>
                      <a:pt x="2465519" y="943053"/>
                      <a:pt x="2464276" y="954456"/>
                    </a:cubicBezTo>
                    <a:cubicBezTo>
                      <a:pt x="2463043" y="965064"/>
                      <a:pt x="2454084" y="972897"/>
                      <a:pt x="2443645" y="972897"/>
                    </a:cubicBezTo>
                    <a:cubicBezTo>
                      <a:pt x="2442951" y="972897"/>
                      <a:pt x="2442143" y="972769"/>
                      <a:pt x="2441335" y="972769"/>
                    </a:cubicBezTo>
                    <a:cubicBezTo>
                      <a:pt x="2398944" y="968044"/>
                      <a:pt x="2372596" y="952963"/>
                      <a:pt x="2354544" y="936896"/>
                    </a:cubicBezTo>
                    <a:lnTo>
                      <a:pt x="2354544" y="1014461"/>
                    </a:lnTo>
                    <a:lnTo>
                      <a:pt x="2241808" y="1014461"/>
                    </a:lnTo>
                    <a:lnTo>
                      <a:pt x="2241808" y="894020"/>
                    </a:lnTo>
                    <a:cubicBezTo>
                      <a:pt x="2241808" y="870091"/>
                      <a:pt x="2261362" y="850689"/>
                      <a:pt x="2285276" y="850689"/>
                    </a:cubicBezTo>
                    <a:close/>
                    <a:moveTo>
                      <a:pt x="870925" y="842667"/>
                    </a:moveTo>
                    <a:lnTo>
                      <a:pt x="856064" y="856233"/>
                    </a:lnTo>
                    <a:cubicBezTo>
                      <a:pt x="856830" y="856935"/>
                      <a:pt x="857790" y="857879"/>
                      <a:pt x="858588" y="858767"/>
                    </a:cubicBezTo>
                    <a:cubicBezTo>
                      <a:pt x="859499" y="859711"/>
                      <a:pt x="860402" y="860637"/>
                      <a:pt x="861209" y="861618"/>
                    </a:cubicBezTo>
                    <a:cubicBezTo>
                      <a:pt x="862975" y="863524"/>
                      <a:pt x="864628" y="865505"/>
                      <a:pt x="866232" y="867597"/>
                    </a:cubicBezTo>
                    <a:cubicBezTo>
                      <a:pt x="869514" y="871668"/>
                      <a:pt x="872433" y="875980"/>
                      <a:pt x="875175" y="880421"/>
                    </a:cubicBezTo>
                    <a:cubicBezTo>
                      <a:pt x="880609" y="889361"/>
                      <a:pt x="884940" y="899078"/>
                      <a:pt x="887286" y="909275"/>
                    </a:cubicBezTo>
                    <a:cubicBezTo>
                      <a:pt x="889641" y="919437"/>
                      <a:pt x="889826" y="930226"/>
                      <a:pt x="887286" y="940702"/>
                    </a:cubicBezTo>
                    <a:cubicBezTo>
                      <a:pt x="884827" y="951104"/>
                      <a:pt x="879666" y="961060"/>
                      <a:pt x="872812" y="969832"/>
                    </a:cubicBezTo>
                    <a:cubicBezTo>
                      <a:pt x="880884" y="962226"/>
                      <a:pt x="887721" y="952972"/>
                      <a:pt x="892052" y="942219"/>
                    </a:cubicBezTo>
                    <a:cubicBezTo>
                      <a:pt x="896414" y="931559"/>
                      <a:pt x="898075" y="919566"/>
                      <a:pt x="897236" y="907832"/>
                    </a:cubicBezTo>
                    <a:cubicBezTo>
                      <a:pt x="896374" y="896080"/>
                      <a:pt x="893180" y="884549"/>
                      <a:pt x="888681" y="873703"/>
                    </a:cubicBezTo>
                    <a:cubicBezTo>
                      <a:pt x="886391" y="868245"/>
                      <a:pt x="883795" y="862913"/>
                      <a:pt x="880884" y="857824"/>
                    </a:cubicBezTo>
                    <a:cubicBezTo>
                      <a:pt x="879432" y="855233"/>
                      <a:pt x="877900" y="852678"/>
                      <a:pt x="876231" y="850217"/>
                    </a:cubicBezTo>
                    <a:cubicBezTo>
                      <a:pt x="875425" y="848958"/>
                      <a:pt x="874594" y="847756"/>
                      <a:pt x="873707" y="846479"/>
                    </a:cubicBezTo>
                    <a:cubicBezTo>
                      <a:pt x="872812" y="845203"/>
                      <a:pt x="872006" y="844054"/>
                      <a:pt x="870925" y="842667"/>
                    </a:cubicBezTo>
                    <a:close/>
                    <a:moveTo>
                      <a:pt x="689146" y="839783"/>
                    </a:moveTo>
                    <a:cubicBezTo>
                      <a:pt x="741944" y="839783"/>
                      <a:pt x="784836" y="894242"/>
                      <a:pt x="784836" y="961417"/>
                    </a:cubicBezTo>
                    <a:cubicBezTo>
                      <a:pt x="784836" y="1025735"/>
                      <a:pt x="719477" y="1082800"/>
                      <a:pt x="692552" y="1087593"/>
                    </a:cubicBezTo>
                    <a:cubicBezTo>
                      <a:pt x="693818" y="1090722"/>
                      <a:pt x="695601" y="1093941"/>
                      <a:pt x="698089" y="1095569"/>
                    </a:cubicBezTo>
                    <a:cubicBezTo>
                      <a:pt x="701013" y="1097450"/>
                      <a:pt x="696609" y="1095135"/>
                      <a:pt x="690421" y="1093543"/>
                    </a:cubicBezTo>
                    <a:cubicBezTo>
                      <a:pt x="689779" y="1102894"/>
                      <a:pt x="690903" y="1112354"/>
                      <a:pt x="690359" y="1121777"/>
                    </a:cubicBezTo>
                    <a:cubicBezTo>
                      <a:pt x="689476" y="1137097"/>
                      <a:pt x="681149" y="1149342"/>
                      <a:pt x="670326" y="1159326"/>
                    </a:cubicBezTo>
                    <a:cubicBezTo>
                      <a:pt x="681524" y="1164716"/>
                      <a:pt x="694085" y="1172855"/>
                      <a:pt x="693203" y="1185932"/>
                    </a:cubicBezTo>
                    <a:cubicBezTo>
                      <a:pt x="692329" y="1199805"/>
                      <a:pt x="681800" y="1209716"/>
                      <a:pt x="684261" y="1224493"/>
                    </a:cubicBezTo>
                    <a:cubicBezTo>
                      <a:pt x="685277" y="1230462"/>
                      <a:pt x="676718" y="1226592"/>
                      <a:pt x="676005" y="1222269"/>
                    </a:cubicBezTo>
                    <a:cubicBezTo>
                      <a:pt x="674106" y="1211236"/>
                      <a:pt x="677726" y="1201776"/>
                      <a:pt x="682103" y="1191864"/>
                    </a:cubicBezTo>
                    <a:cubicBezTo>
                      <a:pt x="683877" y="1187813"/>
                      <a:pt x="685776" y="1183382"/>
                      <a:pt x="684448" y="1178986"/>
                    </a:cubicBezTo>
                    <a:cubicBezTo>
                      <a:pt x="682041" y="1171137"/>
                      <a:pt x="668150" y="1166488"/>
                      <a:pt x="661544" y="1163667"/>
                    </a:cubicBezTo>
                    <a:cubicBezTo>
                      <a:pt x="659199" y="1162636"/>
                      <a:pt x="656471" y="1158114"/>
                      <a:pt x="659066" y="1156034"/>
                    </a:cubicBezTo>
                    <a:cubicBezTo>
                      <a:pt x="672573" y="1144910"/>
                      <a:pt x="681800" y="1132177"/>
                      <a:pt x="682308" y="1114343"/>
                    </a:cubicBezTo>
                    <a:cubicBezTo>
                      <a:pt x="682522" y="1106928"/>
                      <a:pt x="681862" y="1099621"/>
                      <a:pt x="682059" y="1092331"/>
                    </a:cubicBezTo>
                    <a:cubicBezTo>
                      <a:pt x="678510" y="1092295"/>
                      <a:pt x="675105" y="1093019"/>
                      <a:pt x="672662" y="1095280"/>
                    </a:cubicBezTo>
                    <a:cubicBezTo>
                      <a:pt x="673865" y="1094140"/>
                      <a:pt x="677378" y="1090595"/>
                      <a:pt x="677833" y="1085187"/>
                    </a:cubicBezTo>
                    <a:cubicBezTo>
                      <a:pt x="647814" y="1072743"/>
                      <a:pt x="593475" y="1020074"/>
                      <a:pt x="593475" y="961417"/>
                    </a:cubicBezTo>
                    <a:cubicBezTo>
                      <a:pt x="593475" y="894242"/>
                      <a:pt x="636305" y="839783"/>
                      <a:pt x="689146" y="839783"/>
                    </a:cubicBezTo>
                    <a:close/>
                    <a:moveTo>
                      <a:pt x="3450923" y="812517"/>
                    </a:moveTo>
                    <a:cubicBezTo>
                      <a:pt x="3450923" y="812517"/>
                      <a:pt x="3487108" y="844219"/>
                      <a:pt x="3487108" y="844219"/>
                    </a:cubicBezTo>
                    <a:cubicBezTo>
                      <a:pt x="3489224" y="846051"/>
                      <a:pt x="3491854" y="846981"/>
                      <a:pt x="3494513" y="846981"/>
                    </a:cubicBezTo>
                    <a:cubicBezTo>
                      <a:pt x="3497158" y="846981"/>
                      <a:pt x="3499787" y="846051"/>
                      <a:pt x="3501903" y="844212"/>
                    </a:cubicBezTo>
                    <a:lnTo>
                      <a:pt x="3538118" y="812517"/>
                    </a:lnTo>
                    <a:lnTo>
                      <a:pt x="3653184" y="941271"/>
                    </a:lnTo>
                    <a:cubicBezTo>
                      <a:pt x="3646294" y="945599"/>
                      <a:pt x="3638198" y="948192"/>
                      <a:pt x="3629457" y="948192"/>
                    </a:cubicBezTo>
                    <a:lnTo>
                      <a:pt x="3359569" y="948192"/>
                    </a:lnTo>
                    <a:cubicBezTo>
                      <a:pt x="3350813" y="948192"/>
                      <a:pt x="3342732" y="945599"/>
                      <a:pt x="3335842" y="941271"/>
                    </a:cubicBezTo>
                    <a:close/>
                    <a:moveTo>
                      <a:pt x="820021" y="796156"/>
                    </a:moveTo>
                    <a:cubicBezTo>
                      <a:pt x="872869" y="796156"/>
                      <a:pt x="915710" y="850607"/>
                      <a:pt x="915710" y="917789"/>
                    </a:cubicBezTo>
                    <a:cubicBezTo>
                      <a:pt x="915710" y="980974"/>
                      <a:pt x="852597" y="1037200"/>
                      <a:pt x="824851" y="1043697"/>
                    </a:cubicBezTo>
                    <a:cubicBezTo>
                      <a:pt x="826108" y="1047324"/>
                      <a:pt x="828124" y="1051581"/>
                      <a:pt x="831132" y="1053524"/>
                    </a:cubicBezTo>
                    <a:cubicBezTo>
                      <a:pt x="834414" y="1055653"/>
                      <a:pt x="828648" y="1052562"/>
                      <a:pt x="821416" y="1051044"/>
                    </a:cubicBezTo>
                    <a:cubicBezTo>
                      <a:pt x="809474" y="1096129"/>
                      <a:pt x="806498" y="1143305"/>
                      <a:pt x="808546" y="1189815"/>
                    </a:cubicBezTo>
                    <a:cubicBezTo>
                      <a:pt x="808853" y="1195922"/>
                      <a:pt x="800483" y="1192036"/>
                      <a:pt x="800297" y="1187594"/>
                    </a:cubicBezTo>
                    <a:cubicBezTo>
                      <a:pt x="798241" y="1141695"/>
                      <a:pt x="800886" y="1095037"/>
                      <a:pt x="812183" y="1050433"/>
                    </a:cubicBezTo>
                    <a:cubicBezTo>
                      <a:pt x="809740" y="1050767"/>
                      <a:pt x="807490" y="1051581"/>
                      <a:pt x="805732" y="1053191"/>
                    </a:cubicBezTo>
                    <a:cubicBezTo>
                      <a:pt x="807022" y="1052062"/>
                      <a:pt x="810756" y="1048231"/>
                      <a:pt x="810868" y="1042364"/>
                    </a:cubicBezTo>
                    <a:cubicBezTo>
                      <a:pt x="801483" y="1038959"/>
                      <a:pt x="789347" y="1031204"/>
                      <a:pt x="777074" y="1020266"/>
                    </a:cubicBezTo>
                    <a:cubicBezTo>
                      <a:pt x="788371" y="1001610"/>
                      <a:pt x="796241" y="980289"/>
                      <a:pt x="796241" y="958136"/>
                    </a:cubicBezTo>
                    <a:cubicBezTo>
                      <a:pt x="796241" y="909608"/>
                      <a:pt x="773841" y="867744"/>
                      <a:pt x="741539" y="848182"/>
                    </a:cubicBezTo>
                    <a:cubicBezTo>
                      <a:pt x="758867" y="816792"/>
                      <a:pt x="787533" y="796156"/>
                      <a:pt x="820021" y="796156"/>
                    </a:cubicBezTo>
                    <a:close/>
                    <a:moveTo>
                      <a:pt x="1403819" y="774838"/>
                    </a:moveTo>
                    <a:cubicBezTo>
                      <a:pt x="1436934" y="770603"/>
                      <a:pt x="1467209" y="794014"/>
                      <a:pt x="1471432" y="827039"/>
                    </a:cubicBezTo>
                    <a:cubicBezTo>
                      <a:pt x="1475678" y="860136"/>
                      <a:pt x="1452250" y="890422"/>
                      <a:pt x="1419159" y="894664"/>
                    </a:cubicBezTo>
                    <a:cubicBezTo>
                      <a:pt x="1386223" y="898878"/>
                      <a:pt x="1355876" y="875474"/>
                      <a:pt x="1351630" y="842373"/>
                    </a:cubicBezTo>
                    <a:cubicBezTo>
                      <a:pt x="1347401" y="809353"/>
                      <a:pt x="1370883" y="779053"/>
                      <a:pt x="1403819" y="774838"/>
                    </a:cubicBezTo>
                    <a:close/>
                    <a:moveTo>
                      <a:pt x="1242671" y="759288"/>
                    </a:moveTo>
                    <a:cubicBezTo>
                      <a:pt x="1252267" y="761110"/>
                      <a:pt x="1261466" y="764822"/>
                      <a:pt x="1269813" y="770329"/>
                    </a:cubicBezTo>
                    <a:cubicBezTo>
                      <a:pt x="1286206" y="781187"/>
                      <a:pt x="1297368" y="797816"/>
                      <a:pt x="1301312" y="817206"/>
                    </a:cubicBezTo>
                    <a:cubicBezTo>
                      <a:pt x="1301396" y="817538"/>
                      <a:pt x="1301462" y="817853"/>
                      <a:pt x="1301513" y="818184"/>
                    </a:cubicBezTo>
                    <a:cubicBezTo>
                      <a:pt x="1305256" y="837750"/>
                      <a:pt x="1301245" y="857718"/>
                      <a:pt x="1290200" y="874362"/>
                    </a:cubicBezTo>
                    <a:lnTo>
                      <a:pt x="1152674" y="1082289"/>
                    </a:lnTo>
                    <a:cubicBezTo>
                      <a:pt x="1137100" y="1105824"/>
                      <a:pt x="1113288" y="1121875"/>
                      <a:pt x="1085632" y="1127522"/>
                    </a:cubicBezTo>
                    <a:cubicBezTo>
                      <a:pt x="1057993" y="1133152"/>
                      <a:pt x="1029803" y="1127662"/>
                      <a:pt x="1006258" y="1112101"/>
                    </a:cubicBezTo>
                    <a:cubicBezTo>
                      <a:pt x="957665" y="1079964"/>
                      <a:pt x="944313" y="1014292"/>
                      <a:pt x="976447" y="965702"/>
                    </a:cubicBezTo>
                    <a:lnTo>
                      <a:pt x="1092634" y="790087"/>
                    </a:lnTo>
                    <a:cubicBezTo>
                      <a:pt x="1097346" y="782954"/>
                      <a:pt x="1106921" y="780995"/>
                      <a:pt x="1114073" y="785716"/>
                    </a:cubicBezTo>
                    <a:cubicBezTo>
                      <a:pt x="1121192" y="790437"/>
                      <a:pt x="1123147" y="800019"/>
                      <a:pt x="1118435" y="807152"/>
                    </a:cubicBezTo>
                    <a:lnTo>
                      <a:pt x="1002248" y="982785"/>
                    </a:lnTo>
                    <a:cubicBezTo>
                      <a:pt x="979522" y="1017125"/>
                      <a:pt x="988980" y="1063581"/>
                      <a:pt x="1023353" y="1086293"/>
                    </a:cubicBezTo>
                    <a:cubicBezTo>
                      <a:pt x="1039996" y="1097309"/>
                      <a:pt x="1059932" y="1101190"/>
                      <a:pt x="1079466" y="1097186"/>
                    </a:cubicBezTo>
                    <a:cubicBezTo>
                      <a:pt x="1099017" y="1093217"/>
                      <a:pt x="1115861" y="1081852"/>
                      <a:pt x="1126857" y="1065207"/>
                    </a:cubicBezTo>
                    <a:lnTo>
                      <a:pt x="1264399" y="857315"/>
                    </a:lnTo>
                    <a:cubicBezTo>
                      <a:pt x="1270949" y="847402"/>
                      <a:pt x="1273339" y="835564"/>
                      <a:pt x="1271133" y="823955"/>
                    </a:cubicBezTo>
                    <a:cubicBezTo>
                      <a:pt x="1268944" y="812449"/>
                      <a:pt x="1262394" y="802536"/>
                      <a:pt x="1252735" y="796154"/>
                    </a:cubicBezTo>
                    <a:cubicBezTo>
                      <a:pt x="1242960" y="789685"/>
                      <a:pt x="1231145" y="787464"/>
                      <a:pt x="1219398" y="789877"/>
                    </a:cubicBezTo>
                    <a:cubicBezTo>
                      <a:pt x="1207667" y="792290"/>
                      <a:pt x="1197625" y="799039"/>
                      <a:pt x="1191158" y="808848"/>
                    </a:cubicBezTo>
                    <a:lnTo>
                      <a:pt x="1065613" y="998608"/>
                    </a:lnTo>
                    <a:cubicBezTo>
                      <a:pt x="1063742" y="1001441"/>
                      <a:pt x="1063090" y="1004833"/>
                      <a:pt x="1063775" y="1008137"/>
                    </a:cubicBezTo>
                    <a:cubicBezTo>
                      <a:pt x="1064460" y="1011460"/>
                      <a:pt x="1066382" y="1014327"/>
                      <a:pt x="1069189" y="1016181"/>
                    </a:cubicBezTo>
                    <a:cubicBezTo>
                      <a:pt x="1075038" y="1020044"/>
                      <a:pt x="1082908" y="1018436"/>
                      <a:pt x="1086752" y="1012613"/>
                    </a:cubicBezTo>
                    <a:lnTo>
                      <a:pt x="1190940" y="855129"/>
                    </a:lnTo>
                    <a:cubicBezTo>
                      <a:pt x="1195653" y="847996"/>
                      <a:pt x="1205261" y="846037"/>
                      <a:pt x="1212397" y="850758"/>
                    </a:cubicBezTo>
                    <a:cubicBezTo>
                      <a:pt x="1219498" y="855479"/>
                      <a:pt x="1221470" y="865079"/>
                      <a:pt x="1216741" y="872194"/>
                    </a:cubicBezTo>
                    <a:lnTo>
                      <a:pt x="1112569" y="1029661"/>
                    </a:lnTo>
                    <a:cubicBezTo>
                      <a:pt x="1099301" y="1049751"/>
                      <a:pt x="1072164" y="1055258"/>
                      <a:pt x="1052128" y="1041987"/>
                    </a:cubicBezTo>
                    <a:cubicBezTo>
                      <a:pt x="1042386" y="1035553"/>
                      <a:pt x="1035752" y="1025727"/>
                      <a:pt x="1033429" y="1014327"/>
                    </a:cubicBezTo>
                    <a:cubicBezTo>
                      <a:pt x="1031107" y="1002893"/>
                      <a:pt x="1033379" y="991265"/>
                      <a:pt x="1039796" y="981526"/>
                    </a:cubicBezTo>
                    <a:lnTo>
                      <a:pt x="1165324" y="791765"/>
                    </a:lnTo>
                    <a:cubicBezTo>
                      <a:pt x="1176352" y="775103"/>
                      <a:pt x="1193347" y="763667"/>
                      <a:pt x="1213148" y="759576"/>
                    </a:cubicBezTo>
                    <a:cubicBezTo>
                      <a:pt x="1223083" y="757530"/>
                      <a:pt x="1233076" y="757465"/>
                      <a:pt x="1242671" y="759288"/>
                    </a:cubicBezTo>
                    <a:close/>
                    <a:moveTo>
                      <a:pt x="3200574" y="757985"/>
                    </a:moveTo>
                    <a:cubicBezTo>
                      <a:pt x="3200574" y="862636"/>
                      <a:pt x="3120378" y="947430"/>
                      <a:pt x="3021421" y="947430"/>
                    </a:cubicBezTo>
                    <a:cubicBezTo>
                      <a:pt x="3021421" y="842814"/>
                      <a:pt x="3101633" y="757985"/>
                      <a:pt x="3200574" y="757985"/>
                    </a:cubicBezTo>
                    <a:close/>
                    <a:moveTo>
                      <a:pt x="2841465" y="757985"/>
                    </a:moveTo>
                    <a:cubicBezTo>
                      <a:pt x="2940407" y="757985"/>
                      <a:pt x="3020621" y="842814"/>
                      <a:pt x="3020621" y="947430"/>
                    </a:cubicBezTo>
                    <a:cubicBezTo>
                      <a:pt x="2921662" y="947430"/>
                      <a:pt x="2841465" y="862636"/>
                      <a:pt x="2841465" y="757985"/>
                    </a:cubicBezTo>
                    <a:close/>
                    <a:moveTo>
                      <a:pt x="2601995" y="741627"/>
                    </a:moveTo>
                    <a:cubicBezTo>
                      <a:pt x="2628506" y="741627"/>
                      <a:pt x="2649805" y="763088"/>
                      <a:pt x="2649805" y="789442"/>
                    </a:cubicBezTo>
                    <a:cubicBezTo>
                      <a:pt x="2649805" y="815808"/>
                      <a:pt x="2628506" y="837115"/>
                      <a:pt x="2601995" y="837115"/>
                    </a:cubicBezTo>
                    <a:cubicBezTo>
                      <a:pt x="2575638" y="837115"/>
                      <a:pt x="2554317" y="815808"/>
                      <a:pt x="2554317" y="789442"/>
                    </a:cubicBezTo>
                    <a:cubicBezTo>
                      <a:pt x="2554317" y="763088"/>
                      <a:pt x="2575638" y="741627"/>
                      <a:pt x="2601995" y="741627"/>
                    </a:cubicBezTo>
                    <a:close/>
                    <a:moveTo>
                      <a:pt x="2296754" y="741627"/>
                    </a:moveTo>
                    <a:cubicBezTo>
                      <a:pt x="2323111" y="741627"/>
                      <a:pt x="2344432" y="763088"/>
                      <a:pt x="2344432" y="789442"/>
                    </a:cubicBezTo>
                    <a:cubicBezTo>
                      <a:pt x="2344432" y="815808"/>
                      <a:pt x="2323111" y="837115"/>
                      <a:pt x="2296754" y="837115"/>
                    </a:cubicBezTo>
                    <a:cubicBezTo>
                      <a:pt x="2270264" y="837115"/>
                      <a:pt x="2248943" y="815808"/>
                      <a:pt x="2248943" y="789442"/>
                    </a:cubicBezTo>
                    <a:cubicBezTo>
                      <a:pt x="2248943" y="763088"/>
                      <a:pt x="2270264" y="741627"/>
                      <a:pt x="2296754" y="741627"/>
                    </a:cubicBezTo>
                    <a:close/>
                    <a:moveTo>
                      <a:pt x="3838879" y="719812"/>
                    </a:moveTo>
                    <a:cubicBezTo>
                      <a:pt x="3873439" y="719812"/>
                      <a:pt x="3907906" y="736055"/>
                      <a:pt x="3930201" y="762423"/>
                    </a:cubicBezTo>
                    <a:cubicBezTo>
                      <a:pt x="3952497" y="736055"/>
                      <a:pt x="3986945" y="719812"/>
                      <a:pt x="4021543" y="719812"/>
                    </a:cubicBezTo>
                    <a:cubicBezTo>
                      <a:pt x="4084316" y="719812"/>
                      <a:pt x="4133058" y="768555"/>
                      <a:pt x="4133058" y="831328"/>
                    </a:cubicBezTo>
                    <a:cubicBezTo>
                      <a:pt x="4133058" y="908492"/>
                      <a:pt x="4064106" y="971386"/>
                      <a:pt x="3958639" y="1064689"/>
                    </a:cubicBezTo>
                    <a:lnTo>
                      <a:pt x="3930201" y="1093025"/>
                    </a:lnTo>
                    <a:lnTo>
                      <a:pt x="3901764" y="1064689"/>
                    </a:lnTo>
                    <a:cubicBezTo>
                      <a:pt x="3796297" y="971386"/>
                      <a:pt x="3727345" y="908492"/>
                      <a:pt x="3727345" y="831328"/>
                    </a:cubicBezTo>
                    <a:cubicBezTo>
                      <a:pt x="3727345" y="768555"/>
                      <a:pt x="3776087" y="719812"/>
                      <a:pt x="3838879" y="719812"/>
                    </a:cubicBezTo>
                    <a:close/>
                    <a:moveTo>
                      <a:pt x="3662540" y="698000"/>
                    </a:moveTo>
                    <a:cubicBezTo>
                      <a:pt x="3666906" y="704953"/>
                      <a:pt x="3669543" y="713094"/>
                      <a:pt x="3669543" y="721893"/>
                    </a:cubicBezTo>
                    <a:lnTo>
                      <a:pt x="3669543" y="901835"/>
                    </a:lnTo>
                    <a:cubicBezTo>
                      <a:pt x="3669543" y="909715"/>
                      <a:pt x="3667338" y="917034"/>
                      <a:pt x="3663767" y="923461"/>
                    </a:cubicBezTo>
                    <a:lnTo>
                      <a:pt x="3550149" y="796317"/>
                    </a:lnTo>
                    <a:close/>
                    <a:moveTo>
                      <a:pt x="3317212" y="698000"/>
                    </a:moveTo>
                    <a:lnTo>
                      <a:pt x="3429605" y="796339"/>
                    </a:lnTo>
                    <a:lnTo>
                      <a:pt x="3316001" y="923461"/>
                    </a:lnTo>
                    <a:cubicBezTo>
                      <a:pt x="3312430" y="917034"/>
                      <a:pt x="3310208" y="909715"/>
                      <a:pt x="3310208" y="901835"/>
                    </a:cubicBezTo>
                    <a:lnTo>
                      <a:pt x="3310208" y="721893"/>
                    </a:lnTo>
                    <a:cubicBezTo>
                      <a:pt x="3310208" y="713094"/>
                      <a:pt x="3312850" y="704953"/>
                      <a:pt x="3317212" y="698000"/>
                    </a:cubicBezTo>
                    <a:close/>
                    <a:moveTo>
                      <a:pt x="840980" y="698000"/>
                    </a:moveTo>
                    <a:cubicBezTo>
                      <a:pt x="840980" y="698000"/>
                      <a:pt x="872086" y="698000"/>
                      <a:pt x="872086" y="698000"/>
                    </a:cubicBezTo>
                    <a:lnTo>
                      <a:pt x="872086" y="743877"/>
                    </a:lnTo>
                    <a:lnTo>
                      <a:pt x="840980" y="743877"/>
                    </a:lnTo>
                    <a:close/>
                    <a:moveTo>
                      <a:pt x="3356417" y="676189"/>
                    </a:moveTo>
                    <a:lnTo>
                      <a:pt x="3626300" y="676189"/>
                    </a:lnTo>
                    <a:cubicBezTo>
                      <a:pt x="3634119" y="676189"/>
                      <a:pt x="3641345" y="678341"/>
                      <a:pt x="3647730" y="681850"/>
                    </a:cubicBezTo>
                    <a:lnTo>
                      <a:pt x="3491351" y="818687"/>
                    </a:lnTo>
                    <a:lnTo>
                      <a:pt x="3334973" y="681850"/>
                    </a:lnTo>
                    <a:cubicBezTo>
                      <a:pt x="3341387" y="678341"/>
                      <a:pt x="3348613" y="676189"/>
                      <a:pt x="3356417" y="676189"/>
                    </a:cubicBezTo>
                    <a:close/>
                    <a:moveTo>
                      <a:pt x="1931115" y="671850"/>
                    </a:moveTo>
                    <a:cubicBezTo>
                      <a:pt x="1936607" y="669328"/>
                      <a:pt x="1944090" y="671160"/>
                      <a:pt x="1947731" y="676017"/>
                    </a:cubicBezTo>
                    <a:cubicBezTo>
                      <a:pt x="1947731" y="676017"/>
                      <a:pt x="1976358" y="717164"/>
                      <a:pt x="2010094" y="804656"/>
                    </a:cubicBezTo>
                    <a:cubicBezTo>
                      <a:pt x="2114441" y="757487"/>
                      <a:pt x="2213557" y="823584"/>
                      <a:pt x="2213557" y="938499"/>
                    </a:cubicBezTo>
                    <a:cubicBezTo>
                      <a:pt x="2213557" y="1058510"/>
                      <a:pt x="2121200" y="1240876"/>
                      <a:pt x="1996354" y="1185794"/>
                    </a:cubicBezTo>
                    <a:cubicBezTo>
                      <a:pt x="1864809" y="1242708"/>
                      <a:pt x="1779031" y="1058510"/>
                      <a:pt x="1779031" y="938499"/>
                    </a:cubicBezTo>
                    <a:cubicBezTo>
                      <a:pt x="1779031" y="822548"/>
                      <a:pt x="1868169" y="754593"/>
                      <a:pt x="1984002" y="805692"/>
                    </a:cubicBezTo>
                    <a:cubicBezTo>
                      <a:pt x="1974326" y="789553"/>
                      <a:pt x="1958997" y="766404"/>
                      <a:pt x="1939685" y="744239"/>
                    </a:cubicBezTo>
                    <a:cubicBezTo>
                      <a:pt x="1923289" y="725420"/>
                      <a:pt x="1891203" y="701262"/>
                      <a:pt x="1891203" y="701262"/>
                    </a:cubicBezTo>
                    <a:cubicBezTo>
                      <a:pt x="1886375" y="697599"/>
                      <a:pt x="1886918" y="692555"/>
                      <a:pt x="1892410" y="689955"/>
                    </a:cubicBezTo>
                    <a:close/>
                    <a:moveTo>
                      <a:pt x="958759" y="654376"/>
                    </a:moveTo>
                    <a:lnTo>
                      <a:pt x="986601" y="682361"/>
                    </a:lnTo>
                    <a:lnTo>
                      <a:pt x="964672" y="704303"/>
                    </a:lnTo>
                    <a:cubicBezTo>
                      <a:pt x="964672" y="704303"/>
                      <a:pt x="936830" y="676302"/>
                      <a:pt x="936830" y="676302"/>
                    </a:cubicBezTo>
                    <a:close/>
                    <a:moveTo>
                      <a:pt x="752169" y="654376"/>
                    </a:moveTo>
                    <a:lnTo>
                      <a:pt x="773928" y="676131"/>
                    </a:lnTo>
                    <a:lnTo>
                      <a:pt x="746124" y="704141"/>
                    </a:lnTo>
                    <a:cubicBezTo>
                      <a:pt x="746124" y="704141"/>
                      <a:pt x="724179" y="682200"/>
                      <a:pt x="724179" y="682200"/>
                    </a:cubicBezTo>
                    <a:close/>
                    <a:moveTo>
                      <a:pt x="2095576" y="643517"/>
                    </a:moveTo>
                    <a:cubicBezTo>
                      <a:pt x="2100479" y="643373"/>
                      <a:pt x="2103406" y="643617"/>
                      <a:pt x="2103406" y="643617"/>
                    </a:cubicBezTo>
                    <a:cubicBezTo>
                      <a:pt x="2109435" y="644104"/>
                      <a:pt x="2114741" y="649427"/>
                      <a:pt x="2115251" y="655450"/>
                    </a:cubicBezTo>
                    <a:cubicBezTo>
                      <a:pt x="2115251" y="655450"/>
                      <a:pt x="2119222" y="702460"/>
                      <a:pt x="2086450" y="735164"/>
                    </a:cubicBezTo>
                    <a:cubicBezTo>
                      <a:pt x="2053726" y="767879"/>
                      <a:pt x="2006771" y="764016"/>
                      <a:pt x="2006771" y="764016"/>
                    </a:cubicBezTo>
                    <a:cubicBezTo>
                      <a:pt x="2000682" y="763481"/>
                      <a:pt x="1995394" y="758153"/>
                      <a:pt x="1994901" y="752153"/>
                    </a:cubicBezTo>
                    <a:cubicBezTo>
                      <a:pt x="1994901" y="752153"/>
                      <a:pt x="1991032" y="705190"/>
                      <a:pt x="2023750" y="672469"/>
                    </a:cubicBezTo>
                    <a:cubicBezTo>
                      <a:pt x="2048369" y="647894"/>
                      <a:pt x="2080866" y="643953"/>
                      <a:pt x="2095576" y="643517"/>
                    </a:cubicBezTo>
                    <a:close/>
                    <a:moveTo>
                      <a:pt x="417057" y="640111"/>
                    </a:moveTo>
                    <a:cubicBezTo>
                      <a:pt x="456844" y="645001"/>
                      <a:pt x="492451" y="665135"/>
                      <a:pt x="515704" y="696186"/>
                    </a:cubicBezTo>
                    <a:cubicBezTo>
                      <a:pt x="577230" y="778343"/>
                      <a:pt x="577493" y="873911"/>
                      <a:pt x="510200" y="924306"/>
                    </a:cubicBezTo>
                    <a:cubicBezTo>
                      <a:pt x="487586" y="941242"/>
                      <a:pt x="457173" y="944933"/>
                      <a:pt x="439525" y="936504"/>
                    </a:cubicBezTo>
                    <a:cubicBezTo>
                      <a:pt x="439525" y="936504"/>
                      <a:pt x="463482" y="993845"/>
                      <a:pt x="467874" y="1005075"/>
                    </a:cubicBezTo>
                    <a:cubicBezTo>
                      <a:pt x="483454" y="1044747"/>
                      <a:pt x="481449" y="1097642"/>
                      <a:pt x="481411" y="1101894"/>
                    </a:cubicBezTo>
                    <a:cubicBezTo>
                      <a:pt x="481341" y="1104877"/>
                      <a:pt x="477710" y="1106645"/>
                      <a:pt x="475521" y="1104430"/>
                    </a:cubicBezTo>
                    <a:cubicBezTo>
                      <a:pt x="471819" y="1100657"/>
                      <a:pt x="433920" y="1064236"/>
                      <a:pt x="416573" y="1024408"/>
                    </a:cubicBezTo>
                    <a:cubicBezTo>
                      <a:pt x="407842" y="1004392"/>
                      <a:pt x="358061" y="890132"/>
                      <a:pt x="358061" y="890132"/>
                    </a:cubicBezTo>
                    <a:cubicBezTo>
                      <a:pt x="358061" y="890132"/>
                      <a:pt x="341367" y="881755"/>
                      <a:pt x="326574" y="862000"/>
                    </a:cubicBezTo>
                    <a:cubicBezTo>
                      <a:pt x="303334" y="830967"/>
                      <a:pt x="303985" y="794343"/>
                      <a:pt x="326338" y="777604"/>
                    </a:cubicBezTo>
                    <a:cubicBezTo>
                      <a:pt x="345399" y="763331"/>
                      <a:pt x="365298" y="770732"/>
                      <a:pt x="378127" y="787865"/>
                    </a:cubicBezTo>
                    <a:cubicBezTo>
                      <a:pt x="392464" y="807009"/>
                      <a:pt x="401717" y="844767"/>
                      <a:pt x="415291" y="875992"/>
                    </a:cubicBezTo>
                    <a:cubicBezTo>
                      <a:pt x="426668" y="902157"/>
                      <a:pt x="456641" y="907981"/>
                      <a:pt x="478536" y="891584"/>
                    </a:cubicBezTo>
                    <a:cubicBezTo>
                      <a:pt x="518199" y="861882"/>
                      <a:pt x="506756" y="790918"/>
                      <a:pt x="461555" y="730560"/>
                    </a:cubicBezTo>
                    <a:cubicBezTo>
                      <a:pt x="427182" y="684661"/>
                      <a:pt x="370576" y="673442"/>
                      <a:pt x="314348" y="715551"/>
                    </a:cubicBezTo>
                    <a:cubicBezTo>
                      <a:pt x="250856" y="763099"/>
                      <a:pt x="246733" y="840123"/>
                      <a:pt x="286362" y="893040"/>
                    </a:cubicBezTo>
                    <a:cubicBezTo>
                      <a:pt x="300015" y="911269"/>
                      <a:pt x="315048" y="920099"/>
                      <a:pt x="330922" y="923733"/>
                    </a:cubicBezTo>
                    <a:cubicBezTo>
                      <a:pt x="338234" y="925411"/>
                      <a:pt x="340150" y="926852"/>
                      <a:pt x="342665" y="933151"/>
                    </a:cubicBezTo>
                    <a:cubicBezTo>
                      <a:pt x="344547" y="937762"/>
                      <a:pt x="349201" y="948768"/>
                      <a:pt x="350969" y="953144"/>
                    </a:cubicBezTo>
                    <a:cubicBezTo>
                      <a:pt x="353574" y="959509"/>
                      <a:pt x="350669" y="964614"/>
                      <a:pt x="344431" y="966250"/>
                    </a:cubicBezTo>
                    <a:cubicBezTo>
                      <a:pt x="306239" y="976217"/>
                      <a:pt x="268625" y="954389"/>
                      <a:pt x="241649" y="918368"/>
                    </a:cubicBezTo>
                    <a:cubicBezTo>
                      <a:pt x="197119" y="858906"/>
                      <a:pt x="193852" y="750013"/>
                      <a:pt x="293335" y="675512"/>
                    </a:cubicBezTo>
                    <a:cubicBezTo>
                      <a:pt x="333305" y="645578"/>
                      <a:pt x="377271" y="635222"/>
                      <a:pt x="417057" y="640111"/>
                    </a:cubicBezTo>
                    <a:close/>
                    <a:moveTo>
                      <a:pt x="1386084" y="628001"/>
                    </a:moveTo>
                    <a:cubicBezTo>
                      <a:pt x="1509530" y="638126"/>
                      <a:pt x="1613721" y="733482"/>
                      <a:pt x="1630028" y="861049"/>
                    </a:cubicBezTo>
                    <a:cubicBezTo>
                      <a:pt x="1630468" y="864458"/>
                      <a:pt x="1628002" y="867656"/>
                      <a:pt x="1624515" y="868113"/>
                    </a:cubicBezTo>
                    <a:lnTo>
                      <a:pt x="1548477" y="877832"/>
                    </a:lnTo>
                    <a:cubicBezTo>
                      <a:pt x="1545076" y="878276"/>
                      <a:pt x="1541901" y="875796"/>
                      <a:pt x="1541462" y="872387"/>
                    </a:cubicBezTo>
                    <a:cubicBezTo>
                      <a:pt x="1528947" y="774706"/>
                      <a:pt x="1439346" y="705379"/>
                      <a:pt x="1341582" y="717887"/>
                    </a:cubicBezTo>
                    <a:cubicBezTo>
                      <a:pt x="1338152" y="718331"/>
                      <a:pt x="1334991" y="715923"/>
                      <a:pt x="1334538" y="712441"/>
                    </a:cubicBezTo>
                    <a:lnTo>
                      <a:pt x="1324772" y="636099"/>
                    </a:lnTo>
                    <a:cubicBezTo>
                      <a:pt x="1324333" y="632604"/>
                      <a:pt x="1326785" y="629481"/>
                      <a:pt x="1330187" y="629048"/>
                    </a:cubicBezTo>
                    <a:lnTo>
                      <a:pt x="1332199" y="629037"/>
                    </a:lnTo>
                    <a:cubicBezTo>
                      <a:pt x="1350420" y="626848"/>
                      <a:pt x="1368448" y="626555"/>
                      <a:pt x="1386084" y="628001"/>
                    </a:cubicBezTo>
                    <a:close/>
                    <a:moveTo>
                      <a:pt x="3018666" y="601850"/>
                    </a:moveTo>
                    <a:cubicBezTo>
                      <a:pt x="2991174" y="601850"/>
                      <a:pt x="2968895" y="625439"/>
                      <a:pt x="2968895" y="654458"/>
                    </a:cubicBezTo>
                    <a:cubicBezTo>
                      <a:pt x="2968895" y="683543"/>
                      <a:pt x="2991197" y="707078"/>
                      <a:pt x="3018666" y="707078"/>
                    </a:cubicBezTo>
                    <a:cubicBezTo>
                      <a:pt x="3046135" y="707078"/>
                      <a:pt x="3068414" y="683543"/>
                      <a:pt x="3068414" y="654458"/>
                    </a:cubicBezTo>
                    <a:cubicBezTo>
                      <a:pt x="3068414" y="625439"/>
                      <a:pt x="3046146" y="601850"/>
                      <a:pt x="3018666" y="601850"/>
                    </a:cubicBezTo>
                    <a:close/>
                    <a:moveTo>
                      <a:pt x="4437266" y="573538"/>
                    </a:moveTo>
                    <a:lnTo>
                      <a:pt x="4478729" y="592410"/>
                    </a:lnTo>
                    <a:cubicBezTo>
                      <a:pt x="4481380" y="593644"/>
                      <a:pt x="4483829" y="595318"/>
                      <a:pt x="4485909" y="597400"/>
                    </a:cubicBezTo>
                    <a:lnTo>
                      <a:pt x="4553498" y="665024"/>
                    </a:lnTo>
                    <a:lnTo>
                      <a:pt x="4786255" y="637112"/>
                    </a:lnTo>
                    <a:cubicBezTo>
                      <a:pt x="4790472" y="636634"/>
                      <a:pt x="4794706" y="638052"/>
                      <a:pt x="4797689" y="641071"/>
                    </a:cubicBezTo>
                    <a:lnTo>
                      <a:pt x="4810632" y="654032"/>
                    </a:lnTo>
                    <a:cubicBezTo>
                      <a:pt x="4817500" y="660900"/>
                      <a:pt x="4815364" y="672500"/>
                      <a:pt x="4806508" y="676459"/>
                    </a:cubicBezTo>
                    <a:lnTo>
                      <a:pt x="4639719" y="751227"/>
                    </a:lnTo>
                    <a:lnTo>
                      <a:pt x="4687607" y="799115"/>
                    </a:lnTo>
                    <a:lnTo>
                      <a:pt x="4771250" y="799115"/>
                    </a:lnTo>
                    <a:cubicBezTo>
                      <a:pt x="4774914" y="799115"/>
                      <a:pt x="4778430" y="800588"/>
                      <a:pt x="4781045" y="803167"/>
                    </a:cubicBezTo>
                    <a:lnTo>
                      <a:pt x="4788041" y="810199"/>
                    </a:lnTo>
                    <a:cubicBezTo>
                      <a:pt x="4794982" y="817140"/>
                      <a:pt x="4792699" y="828868"/>
                      <a:pt x="4783715" y="832716"/>
                    </a:cubicBezTo>
                    <a:lnTo>
                      <a:pt x="4713143" y="862948"/>
                    </a:lnTo>
                    <a:lnTo>
                      <a:pt x="4682912" y="933520"/>
                    </a:lnTo>
                    <a:cubicBezTo>
                      <a:pt x="4679064" y="942505"/>
                      <a:pt x="4667299" y="944787"/>
                      <a:pt x="4660395" y="937848"/>
                    </a:cubicBezTo>
                    <a:lnTo>
                      <a:pt x="4653362" y="930813"/>
                    </a:lnTo>
                    <a:cubicBezTo>
                      <a:pt x="4650747" y="928198"/>
                      <a:pt x="4649329" y="924682"/>
                      <a:pt x="4649329" y="921018"/>
                    </a:cubicBezTo>
                    <a:lnTo>
                      <a:pt x="4649329" y="837374"/>
                    </a:lnTo>
                    <a:lnTo>
                      <a:pt x="4601441" y="789486"/>
                    </a:lnTo>
                    <a:lnTo>
                      <a:pt x="4526654" y="956313"/>
                    </a:lnTo>
                    <a:cubicBezTo>
                      <a:pt x="4522695" y="965168"/>
                      <a:pt x="4511096" y="967304"/>
                      <a:pt x="4504210" y="960436"/>
                    </a:cubicBezTo>
                    <a:lnTo>
                      <a:pt x="4491267" y="947494"/>
                    </a:lnTo>
                    <a:cubicBezTo>
                      <a:pt x="4488248" y="944456"/>
                      <a:pt x="4486830" y="940258"/>
                      <a:pt x="4487309" y="936041"/>
                    </a:cubicBezTo>
                    <a:lnTo>
                      <a:pt x="4515257" y="703301"/>
                    </a:lnTo>
                    <a:lnTo>
                      <a:pt x="4447632" y="635695"/>
                    </a:lnTo>
                    <a:cubicBezTo>
                      <a:pt x="4445552" y="633595"/>
                      <a:pt x="4443876" y="631201"/>
                      <a:pt x="4442643" y="628497"/>
                    </a:cubicBezTo>
                    <a:lnTo>
                      <a:pt x="4423771" y="587014"/>
                    </a:lnTo>
                    <a:cubicBezTo>
                      <a:pt x="4419812" y="578471"/>
                      <a:pt x="4428631" y="569615"/>
                      <a:pt x="4437266" y="573538"/>
                    </a:cubicBezTo>
                    <a:close/>
                    <a:moveTo>
                      <a:pt x="978138" y="556219"/>
                    </a:moveTo>
                    <a:lnTo>
                      <a:pt x="1024773" y="556219"/>
                    </a:lnTo>
                    <a:lnTo>
                      <a:pt x="1024773" y="587325"/>
                    </a:lnTo>
                    <a:lnTo>
                      <a:pt x="978138" y="587325"/>
                    </a:lnTo>
                    <a:cubicBezTo>
                      <a:pt x="978138" y="587325"/>
                      <a:pt x="978138" y="556219"/>
                      <a:pt x="978138" y="556219"/>
                    </a:cubicBezTo>
                    <a:close/>
                    <a:moveTo>
                      <a:pt x="683653" y="556219"/>
                    </a:moveTo>
                    <a:lnTo>
                      <a:pt x="730304" y="556219"/>
                    </a:lnTo>
                    <a:cubicBezTo>
                      <a:pt x="730304" y="556219"/>
                      <a:pt x="730304" y="587325"/>
                      <a:pt x="730304" y="587325"/>
                    </a:cubicBezTo>
                    <a:lnTo>
                      <a:pt x="683653" y="587325"/>
                    </a:lnTo>
                    <a:close/>
                    <a:moveTo>
                      <a:pt x="2642404" y="549473"/>
                    </a:moveTo>
                    <a:cubicBezTo>
                      <a:pt x="2638249" y="549917"/>
                      <a:pt x="2634692" y="552685"/>
                      <a:pt x="2633261" y="556630"/>
                    </a:cubicBezTo>
                    <a:lnTo>
                      <a:pt x="2626208" y="575847"/>
                    </a:lnTo>
                    <a:lnTo>
                      <a:pt x="2606378" y="580939"/>
                    </a:lnTo>
                    <a:cubicBezTo>
                      <a:pt x="2602323" y="581988"/>
                      <a:pt x="2599201" y="585249"/>
                      <a:pt x="2598342" y="589353"/>
                    </a:cubicBezTo>
                    <a:cubicBezTo>
                      <a:pt x="2597496" y="593441"/>
                      <a:pt x="2599026" y="597675"/>
                      <a:pt x="2602323" y="600266"/>
                    </a:cubicBezTo>
                    <a:lnTo>
                      <a:pt x="2618420" y="612898"/>
                    </a:lnTo>
                    <a:lnTo>
                      <a:pt x="2617164" y="633340"/>
                    </a:lnTo>
                    <a:cubicBezTo>
                      <a:pt x="2616878" y="637522"/>
                      <a:pt x="2619030" y="641485"/>
                      <a:pt x="2622650" y="643584"/>
                    </a:cubicBezTo>
                    <a:cubicBezTo>
                      <a:pt x="2624366" y="644554"/>
                      <a:pt x="2626257" y="645030"/>
                      <a:pt x="2628148" y="645030"/>
                    </a:cubicBezTo>
                    <a:cubicBezTo>
                      <a:pt x="2630275" y="645030"/>
                      <a:pt x="2632440" y="644411"/>
                      <a:pt x="2634293" y="643170"/>
                    </a:cubicBezTo>
                    <a:lnTo>
                      <a:pt x="2651261" y="631763"/>
                    </a:lnTo>
                    <a:lnTo>
                      <a:pt x="2670307" y="639288"/>
                    </a:lnTo>
                    <a:cubicBezTo>
                      <a:pt x="2674213" y="640831"/>
                      <a:pt x="2678654" y="640020"/>
                      <a:pt x="2681764" y="637221"/>
                    </a:cubicBezTo>
                    <a:cubicBezTo>
                      <a:pt x="2684862" y="634404"/>
                      <a:pt x="2686105" y="630062"/>
                      <a:pt x="2684949" y="626037"/>
                    </a:cubicBezTo>
                    <a:lnTo>
                      <a:pt x="2679363" y="606342"/>
                    </a:lnTo>
                    <a:lnTo>
                      <a:pt x="2692388" y="590578"/>
                    </a:lnTo>
                    <a:cubicBezTo>
                      <a:pt x="2695062" y="587334"/>
                      <a:pt x="2695672" y="582878"/>
                      <a:pt x="2693955" y="579047"/>
                    </a:cubicBezTo>
                    <a:cubicBezTo>
                      <a:pt x="2692251" y="575226"/>
                      <a:pt x="2688506" y="572715"/>
                      <a:pt x="2684327" y="572554"/>
                    </a:cubicBezTo>
                    <a:lnTo>
                      <a:pt x="2663863" y="571793"/>
                    </a:lnTo>
                    <a:lnTo>
                      <a:pt x="2652879" y="554514"/>
                    </a:lnTo>
                    <a:cubicBezTo>
                      <a:pt x="2650639" y="550968"/>
                      <a:pt x="2646584" y="549026"/>
                      <a:pt x="2642404" y="549473"/>
                    </a:cubicBezTo>
                    <a:close/>
                    <a:moveTo>
                      <a:pt x="3018666" y="507141"/>
                    </a:moveTo>
                    <a:cubicBezTo>
                      <a:pt x="3046146" y="507141"/>
                      <a:pt x="3068414" y="530730"/>
                      <a:pt x="3068414" y="559761"/>
                    </a:cubicBezTo>
                    <a:lnTo>
                      <a:pt x="3068025" y="563732"/>
                    </a:lnTo>
                    <a:cubicBezTo>
                      <a:pt x="3076009" y="557893"/>
                      <a:pt x="3085739" y="554509"/>
                      <a:pt x="3096283" y="554509"/>
                    </a:cubicBezTo>
                    <a:cubicBezTo>
                      <a:pt x="3123764" y="554509"/>
                      <a:pt x="3146043" y="578045"/>
                      <a:pt x="3146043" y="607130"/>
                    </a:cubicBezTo>
                    <a:cubicBezTo>
                      <a:pt x="3146043" y="628140"/>
                      <a:pt x="3134320" y="646039"/>
                      <a:pt x="3117619" y="654444"/>
                    </a:cubicBezTo>
                    <a:cubicBezTo>
                      <a:pt x="3134320" y="662915"/>
                      <a:pt x="3146043" y="680773"/>
                      <a:pt x="3146043" y="701827"/>
                    </a:cubicBezTo>
                    <a:cubicBezTo>
                      <a:pt x="3146043" y="730842"/>
                      <a:pt x="3123740" y="754458"/>
                      <a:pt x="3096283" y="754458"/>
                    </a:cubicBezTo>
                    <a:cubicBezTo>
                      <a:pt x="3085775" y="754458"/>
                      <a:pt x="3076210" y="751063"/>
                      <a:pt x="3068036" y="745223"/>
                    </a:cubicBezTo>
                    <a:lnTo>
                      <a:pt x="3068426" y="749206"/>
                    </a:lnTo>
                    <a:cubicBezTo>
                      <a:pt x="3068426" y="778225"/>
                      <a:pt x="3046146" y="801827"/>
                      <a:pt x="3018678" y="801827"/>
                    </a:cubicBezTo>
                    <a:cubicBezTo>
                      <a:pt x="2991209" y="801827"/>
                      <a:pt x="2968906" y="778225"/>
                      <a:pt x="2968906" y="749206"/>
                    </a:cubicBezTo>
                    <a:lnTo>
                      <a:pt x="2969296" y="745223"/>
                    </a:lnTo>
                    <a:cubicBezTo>
                      <a:pt x="2961335" y="751063"/>
                      <a:pt x="2951581" y="754458"/>
                      <a:pt x="2941049" y="754458"/>
                    </a:cubicBezTo>
                    <a:cubicBezTo>
                      <a:pt x="2913592" y="754458"/>
                      <a:pt x="2891289" y="730842"/>
                      <a:pt x="2891289" y="701827"/>
                    </a:cubicBezTo>
                    <a:cubicBezTo>
                      <a:pt x="2891289" y="680760"/>
                      <a:pt x="2903012" y="662915"/>
                      <a:pt x="2919725" y="654458"/>
                    </a:cubicBezTo>
                    <a:cubicBezTo>
                      <a:pt x="2903012" y="646053"/>
                      <a:pt x="2891289" y="628140"/>
                      <a:pt x="2891289" y="607157"/>
                    </a:cubicBezTo>
                    <a:cubicBezTo>
                      <a:pt x="2891289" y="578057"/>
                      <a:pt x="2913592" y="554538"/>
                      <a:pt x="2941049" y="554538"/>
                    </a:cubicBezTo>
                    <a:cubicBezTo>
                      <a:pt x="2951581" y="554538"/>
                      <a:pt x="2961134" y="557921"/>
                      <a:pt x="2969296" y="563745"/>
                    </a:cubicBezTo>
                    <a:lnTo>
                      <a:pt x="2968906" y="559789"/>
                    </a:lnTo>
                    <a:cubicBezTo>
                      <a:pt x="2968895" y="530730"/>
                      <a:pt x="2991174" y="507141"/>
                      <a:pt x="3018666" y="507141"/>
                    </a:cubicBezTo>
                    <a:close/>
                    <a:moveTo>
                      <a:pt x="1395052" y="497483"/>
                    </a:moveTo>
                    <a:cubicBezTo>
                      <a:pt x="1580179" y="512184"/>
                      <a:pt x="1736406" y="655053"/>
                      <a:pt x="1760882" y="846293"/>
                    </a:cubicBezTo>
                    <a:cubicBezTo>
                      <a:pt x="1761324" y="849700"/>
                      <a:pt x="1758838" y="852908"/>
                      <a:pt x="1755426" y="853344"/>
                    </a:cubicBezTo>
                    <a:lnTo>
                      <a:pt x="1677135" y="863366"/>
                    </a:lnTo>
                    <a:cubicBezTo>
                      <a:pt x="1673723" y="863799"/>
                      <a:pt x="1670522" y="861317"/>
                      <a:pt x="1670100" y="857911"/>
                    </a:cubicBezTo>
                    <a:cubicBezTo>
                      <a:pt x="1648427" y="688682"/>
                      <a:pt x="1493151" y="568635"/>
                      <a:pt x="1323889" y="590292"/>
                    </a:cubicBezTo>
                    <a:cubicBezTo>
                      <a:pt x="1320498" y="590727"/>
                      <a:pt x="1317317" y="588336"/>
                      <a:pt x="1316875" y="584927"/>
                    </a:cubicBezTo>
                    <a:lnTo>
                      <a:pt x="1306807" y="506221"/>
                    </a:lnTo>
                    <a:cubicBezTo>
                      <a:pt x="1306365" y="502832"/>
                      <a:pt x="1308829" y="499625"/>
                      <a:pt x="1312220" y="499189"/>
                    </a:cubicBezTo>
                    <a:lnTo>
                      <a:pt x="1314242" y="499261"/>
                    </a:lnTo>
                    <a:cubicBezTo>
                      <a:pt x="1341569" y="495898"/>
                      <a:pt x="1368605" y="495383"/>
                      <a:pt x="1395052" y="497483"/>
                    </a:cubicBezTo>
                    <a:close/>
                    <a:moveTo>
                      <a:pt x="2703870" y="496388"/>
                    </a:moveTo>
                    <a:cubicBezTo>
                      <a:pt x="2701046" y="497200"/>
                      <a:pt x="2698670" y="499075"/>
                      <a:pt x="2697276" y="501637"/>
                    </a:cubicBezTo>
                    <a:lnTo>
                      <a:pt x="2680209" y="532340"/>
                    </a:lnTo>
                    <a:cubicBezTo>
                      <a:pt x="2677261" y="537669"/>
                      <a:pt x="2679176" y="544365"/>
                      <a:pt x="2684488" y="547324"/>
                    </a:cubicBezTo>
                    <a:lnTo>
                      <a:pt x="2715190" y="564378"/>
                    </a:lnTo>
                    <a:cubicBezTo>
                      <a:pt x="2716844" y="565301"/>
                      <a:pt x="2718685" y="565777"/>
                      <a:pt x="2720527" y="565777"/>
                    </a:cubicBezTo>
                    <a:cubicBezTo>
                      <a:pt x="2721559" y="565777"/>
                      <a:pt x="2722567" y="565619"/>
                      <a:pt x="2723574" y="565349"/>
                    </a:cubicBezTo>
                    <a:cubicBezTo>
                      <a:pt x="2726373" y="564536"/>
                      <a:pt x="2728749" y="562661"/>
                      <a:pt x="2730167" y="560100"/>
                    </a:cubicBezTo>
                    <a:lnTo>
                      <a:pt x="2747223" y="529397"/>
                    </a:lnTo>
                    <a:cubicBezTo>
                      <a:pt x="2750183" y="524067"/>
                      <a:pt x="2748267" y="517370"/>
                      <a:pt x="2742931" y="514412"/>
                    </a:cubicBezTo>
                    <a:lnTo>
                      <a:pt x="2712242" y="497358"/>
                    </a:lnTo>
                    <a:cubicBezTo>
                      <a:pt x="2709679" y="495942"/>
                      <a:pt x="2706669" y="495592"/>
                      <a:pt x="2703870" y="496388"/>
                    </a:cubicBezTo>
                    <a:close/>
                    <a:moveTo>
                      <a:pt x="4177008" y="487088"/>
                    </a:moveTo>
                    <a:cubicBezTo>
                      <a:pt x="4145006" y="487088"/>
                      <a:pt x="4118992" y="513107"/>
                      <a:pt x="4118992" y="545088"/>
                    </a:cubicBezTo>
                    <a:cubicBezTo>
                      <a:pt x="4118992" y="577072"/>
                      <a:pt x="4145006" y="603088"/>
                      <a:pt x="4177008" y="603088"/>
                    </a:cubicBezTo>
                    <a:cubicBezTo>
                      <a:pt x="4208993" y="603088"/>
                      <a:pt x="4235007" y="577072"/>
                      <a:pt x="4235007" y="545088"/>
                    </a:cubicBezTo>
                    <a:cubicBezTo>
                      <a:pt x="4235007" y="513107"/>
                      <a:pt x="4208993" y="487088"/>
                      <a:pt x="4177008" y="487088"/>
                    </a:cubicBezTo>
                    <a:close/>
                    <a:moveTo>
                      <a:pt x="855097" y="479875"/>
                    </a:moveTo>
                    <a:cubicBezTo>
                      <a:pt x="906581" y="479875"/>
                      <a:pt x="948430" y="521723"/>
                      <a:pt x="948430" y="573196"/>
                    </a:cubicBezTo>
                    <a:cubicBezTo>
                      <a:pt x="948430" y="624678"/>
                      <a:pt x="906581" y="666517"/>
                      <a:pt x="855097" y="666517"/>
                    </a:cubicBezTo>
                    <a:cubicBezTo>
                      <a:pt x="803613" y="666517"/>
                      <a:pt x="761782" y="624678"/>
                      <a:pt x="761782" y="573196"/>
                    </a:cubicBezTo>
                    <a:cubicBezTo>
                      <a:pt x="761782" y="521723"/>
                      <a:pt x="803613" y="479875"/>
                      <a:pt x="855097" y="479875"/>
                    </a:cubicBezTo>
                    <a:close/>
                    <a:moveTo>
                      <a:pt x="2549255" y="448012"/>
                    </a:moveTo>
                    <a:cubicBezTo>
                      <a:pt x="2529736" y="448012"/>
                      <a:pt x="2517122" y="455519"/>
                      <a:pt x="2517122" y="467117"/>
                    </a:cubicBezTo>
                    <a:cubicBezTo>
                      <a:pt x="2517122" y="478730"/>
                      <a:pt x="2529724" y="486223"/>
                      <a:pt x="2549255" y="486223"/>
                    </a:cubicBezTo>
                    <a:cubicBezTo>
                      <a:pt x="2568773" y="486223"/>
                      <a:pt x="2581412" y="478730"/>
                      <a:pt x="2581412" y="467117"/>
                    </a:cubicBezTo>
                    <a:cubicBezTo>
                      <a:pt x="2581412" y="455519"/>
                      <a:pt x="2568773" y="448012"/>
                      <a:pt x="2549255" y="448012"/>
                    </a:cubicBezTo>
                    <a:close/>
                    <a:moveTo>
                      <a:pt x="3330639" y="447156"/>
                    </a:moveTo>
                    <a:lnTo>
                      <a:pt x="3385307" y="447156"/>
                    </a:lnTo>
                    <a:cubicBezTo>
                      <a:pt x="3430756" y="447156"/>
                      <a:pt x="3467777" y="484173"/>
                      <a:pt x="3467777" y="529622"/>
                    </a:cubicBezTo>
                    <a:lnTo>
                      <a:pt x="3467777" y="596498"/>
                    </a:lnTo>
                    <a:lnTo>
                      <a:pt x="3467594" y="597512"/>
                    </a:lnTo>
                    <a:lnTo>
                      <a:pt x="3462989" y="598967"/>
                    </a:lnTo>
                    <a:cubicBezTo>
                      <a:pt x="3419615" y="612519"/>
                      <a:pt x="3381902" y="617059"/>
                      <a:pt x="3350878" y="617059"/>
                    </a:cubicBezTo>
                    <a:cubicBezTo>
                      <a:pt x="3290263" y="617059"/>
                      <a:pt x="3255112" y="599771"/>
                      <a:pt x="3252937" y="598669"/>
                    </a:cubicBezTo>
                    <a:lnTo>
                      <a:pt x="3248647" y="596498"/>
                    </a:lnTo>
                    <a:lnTo>
                      <a:pt x="3248210" y="596498"/>
                    </a:lnTo>
                    <a:lnTo>
                      <a:pt x="3248210" y="529622"/>
                    </a:lnTo>
                    <a:cubicBezTo>
                      <a:pt x="3248210" y="484173"/>
                      <a:pt x="3285191" y="447156"/>
                      <a:pt x="3330639" y="447156"/>
                    </a:cubicBezTo>
                    <a:close/>
                    <a:moveTo>
                      <a:pt x="964671" y="441703"/>
                    </a:moveTo>
                    <a:lnTo>
                      <a:pt x="986602" y="463645"/>
                    </a:lnTo>
                    <a:lnTo>
                      <a:pt x="958760" y="491470"/>
                    </a:lnTo>
                    <a:cubicBezTo>
                      <a:pt x="958760" y="491470"/>
                      <a:pt x="936665" y="469547"/>
                      <a:pt x="936665" y="469547"/>
                    </a:cubicBezTo>
                    <a:close/>
                    <a:moveTo>
                      <a:pt x="746087" y="441703"/>
                    </a:moveTo>
                    <a:lnTo>
                      <a:pt x="773929" y="469547"/>
                    </a:lnTo>
                    <a:lnTo>
                      <a:pt x="752016" y="491470"/>
                    </a:lnTo>
                    <a:cubicBezTo>
                      <a:pt x="752016" y="491470"/>
                      <a:pt x="724163" y="463645"/>
                      <a:pt x="724163" y="463645"/>
                    </a:cubicBezTo>
                    <a:close/>
                    <a:moveTo>
                      <a:pt x="2141531" y="438477"/>
                    </a:moveTo>
                    <a:cubicBezTo>
                      <a:pt x="2135272" y="438883"/>
                      <a:pt x="2128264" y="440321"/>
                      <a:pt x="2123220" y="444638"/>
                    </a:cubicBezTo>
                    <a:cubicBezTo>
                      <a:pt x="2118825" y="448365"/>
                      <a:pt x="2116496" y="453433"/>
                      <a:pt x="2116496" y="459329"/>
                    </a:cubicBezTo>
                    <a:cubicBezTo>
                      <a:pt x="2116496" y="472074"/>
                      <a:pt x="2129398" y="476674"/>
                      <a:pt x="2137905" y="479632"/>
                    </a:cubicBezTo>
                    <a:cubicBezTo>
                      <a:pt x="2140458" y="480504"/>
                      <a:pt x="2144549" y="481902"/>
                      <a:pt x="2146960" y="483261"/>
                    </a:cubicBezTo>
                    <a:cubicBezTo>
                      <a:pt x="2142787" y="483909"/>
                      <a:pt x="2135130" y="483442"/>
                      <a:pt x="2128649" y="481984"/>
                    </a:cubicBezTo>
                    <a:cubicBezTo>
                      <a:pt x="2123241" y="480747"/>
                      <a:pt x="2117913" y="484213"/>
                      <a:pt x="2116678" y="489603"/>
                    </a:cubicBezTo>
                    <a:cubicBezTo>
                      <a:pt x="2115462" y="495012"/>
                      <a:pt x="2118886" y="500323"/>
                      <a:pt x="2124294" y="501578"/>
                    </a:cubicBezTo>
                    <a:cubicBezTo>
                      <a:pt x="2127454" y="502269"/>
                      <a:pt x="2134523" y="503746"/>
                      <a:pt x="2142058" y="503746"/>
                    </a:cubicBezTo>
                    <a:cubicBezTo>
                      <a:pt x="2149248" y="503746"/>
                      <a:pt x="2156763" y="502510"/>
                      <a:pt x="2162009" y="498295"/>
                    </a:cubicBezTo>
                    <a:cubicBezTo>
                      <a:pt x="2166283" y="494891"/>
                      <a:pt x="2168714" y="489926"/>
                      <a:pt x="2168714" y="484354"/>
                    </a:cubicBezTo>
                    <a:cubicBezTo>
                      <a:pt x="2168714" y="469157"/>
                      <a:pt x="2154089" y="463950"/>
                      <a:pt x="2144428" y="460584"/>
                    </a:cubicBezTo>
                    <a:cubicBezTo>
                      <a:pt x="2142929" y="460079"/>
                      <a:pt x="2140984" y="459429"/>
                      <a:pt x="2139344" y="458781"/>
                    </a:cubicBezTo>
                    <a:cubicBezTo>
                      <a:pt x="2142625" y="458214"/>
                      <a:pt x="2147669" y="458153"/>
                      <a:pt x="2151861" y="458781"/>
                    </a:cubicBezTo>
                    <a:cubicBezTo>
                      <a:pt x="2157330" y="459654"/>
                      <a:pt x="2162394" y="455923"/>
                      <a:pt x="2163285" y="450432"/>
                    </a:cubicBezTo>
                    <a:cubicBezTo>
                      <a:pt x="2164136" y="444961"/>
                      <a:pt x="2160409" y="439875"/>
                      <a:pt x="2154940" y="439026"/>
                    </a:cubicBezTo>
                    <a:cubicBezTo>
                      <a:pt x="2153158" y="438740"/>
                      <a:pt x="2147770" y="438053"/>
                      <a:pt x="2141531" y="438477"/>
                    </a:cubicBezTo>
                    <a:close/>
                    <a:moveTo>
                      <a:pt x="2786998" y="414438"/>
                    </a:moveTo>
                    <a:lnTo>
                      <a:pt x="2812277" y="414438"/>
                    </a:lnTo>
                    <a:cubicBezTo>
                      <a:pt x="2827940" y="414438"/>
                      <a:pt x="2840667" y="427176"/>
                      <a:pt x="2840667" y="442818"/>
                    </a:cubicBezTo>
                    <a:lnTo>
                      <a:pt x="2840667" y="665074"/>
                    </a:lnTo>
                    <a:cubicBezTo>
                      <a:pt x="2840667" y="680730"/>
                      <a:pt x="2827940" y="693454"/>
                      <a:pt x="2812277" y="693454"/>
                    </a:cubicBezTo>
                    <a:lnTo>
                      <a:pt x="2786998" y="693454"/>
                    </a:lnTo>
                    <a:close/>
                    <a:moveTo>
                      <a:pt x="2450010" y="414438"/>
                    </a:moveTo>
                    <a:lnTo>
                      <a:pt x="2475307" y="414438"/>
                    </a:lnTo>
                    <a:lnTo>
                      <a:pt x="2475307" y="693446"/>
                    </a:lnTo>
                    <a:lnTo>
                      <a:pt x="2450010" y="693446"/>
                    </a:lnTo>
                    <a:cubicBezTo>
                      <a:pt x="2434365" y="693446"/>
                      <a:pt x="2421616" y="680709"/>
                      <a:pt x="2421616" y="665067"/>
                    </a:cubicBezTo>
                    <a:lnTo>
                      <a:pt x="2421616" y="442804"/>
                    </a:lnTo>
                    <a:cubicBezTo>
                      <a:pt x="2421616" y="427161"/>
                      <a:pt x="2434365" y="414438"/>
                      <a:pt x="2450010" y="414438"/>
                    </a:cubicBezTo>
                    <a:close/>
                    <a:moveTo>
                      <a:pt x="840980" y="403532"/>
                    </a:moveTo>
                    <a:lnTo>
                      <a:pt x="872086" y="403532"/>
                    </a:lnTo>
                    <a:lnTo>
                      <a:pt x="872086" y="449413"/>
                    </a:lnTo>
                    <a:lnTo>
                      <a:pt x="840980" y="449413"/>
                    </a:lnTo>
                    <a:cubicBezTo>
                      <a:pt x="840980" y="449413"/>
                      <a:pt x="840980" y="403532"/>
                      <a:pt x="840980" y="403532"/>
                    </a:cubicBezTo>
                    <a:close/>
                    <a:moveTo>
                      <a:pt x="1241302" y="398335"/>
                    </a:moveTo>
                    <a:lnTo>
                      <a:pt x="1115046" y="524583"/>
                    </a:lnTo>
                    <a:cubicBezTo>
                      <a:pt x="1112073" y="527537"/>
                      <a:pt x="1112073" y="532340"/>
                      <a:pt x="1115046" y="535276"/>
                    </a:cubicBezTo>
                    <a:cubicBezTo>
                      <a:pt x="1116506" y="536744"/>
                      <a:pt x="1118476" y="537487"/>
                      <a:pt x="1120411" y="537487"/>
                    </a:cubicBezTo>
                    <a:cubicBezTo>
                      <a:pt x="1122329" y="537487"/>
                      <a:pt x="1124299" y="536744"/>
                      <a:pt x="1125777" y="535276"/>
                    </a:cubicBezTo>
                    <a:lnTo>
                      <a:pt x="1250819" y="410203"/>
                    </a:lnTo>
                    <a:cubicBezTo>
                      <a:pt x="1247354" y="406473"/>
                      <a:pt x="1244169" y="402499"/>
                      <a:pt x="1241302" y="398335"/>
                    </a:cubicBezTo>
                    <a:close/>
                    <a:moveTo>
                      <a:pt x="3445193" y="381719"/>
                    </a:moveTo>
                    <a:lnTo>
                      <a:pt x="3499826" y="381719"/>
                    </a:lnTo>
                    <a:cubicBezTo>
                      <a:pt x="3545309" y="381719"/>
                      <a:pt x="3582293" y="418702"/>
                      <a:pt x="3582293" y="464189"/>
                    </a:cubicBezTo>
                    <a:lnTo>
                      <a:pt x="3582293" y="531034"/>
                    </a:lnTo>
                    <a:lnTo>
                      <a:pt x="3582122" y="532089"/>
                    </a:lnTo>
                    <a:cubicBezTo>
                      <a:pt x="3582122" y="532089"/>
                      <a:pt x="3577512" y="533524"/>
                      <a:pt x="3577512" y="533524"/>
                    </a:cubicBezTo>
                    <a:cubicBezTo>
                      <a:pt x="3542724" y="544376"/>
                      <a:pt x="3511632" y="549416"/>
                      <a:pt x="3484637" y="550966"/>
                    </a:cubicBezTo>
                    <a:lnTo>
                      <a:pt x="3484637" y="530798"/>
                    </a:lnTo>
                    <a:cubicBezTo>
                      <a:pt x="3484637" y="486511"/>
                      <a:pt x="3455089" y="449010"/>
                      <a:pt x="3414643" y="437016"/>
                    </a:cubicBezTo>
                    <a:cubicBezTo>
                      <a:pt x="3429227" y="423035"/>
                      <a:pt x="3438456" y="403572"/>
                      <a:pt x="3439115" y="382017"/>
                    </a:cubicBezTo>
                    <a:cubicBezTo>
                      <a:pt x="3441133" y="381867"/>
                      <a:pt x="3443120" y="381719"/>
                      <a:pt x="3445193" y="381719"/>
                    </a:cubicBezTo>
                    <a:close/>
                    <a:moveTo>
                      <a:pt x="3225472" y="381719"/>
                    </a:moveTo>
                    <a:lnTo>
                      <a:pt x="3279715" y="381719"/>
                    </a:lnTo>
                    <a:cubicBezTo>
                      <a:pt x="3280289" y="403430"/>
                      <a:pt x="3289550" y="422981"/>
                      <a:pt x="3304183" y="437010"/>
                    </a:cubicBezTo>
                    <a:cubicBezTo>
                      <a:pt x="3263783" y="449035"/>
                      <a:pt x="3234226" y="486513"/>
                      <a:pt x="3234226" y="530798"/>
                    </a:cubicBezTo>
                    <a:lnTo>
                      <a:pt x="3234226" y="551386"/>
                    </a:lnTo>
                    <a:cubicBezTo>
                      <a:pt x="3180670" y="549413"/>
                      <a:pt x="3149806" y="534254"/>
                      <a:pt x="3147784" y="533224"/>
                    </a:cubicBezTo>
                    <a:lnTo>
                      <a:pt x="3143456" y="531034"/>
                    </a:lnTo>
                    <a:lnTo>
                      <a:pt x="3143001" y="531034"/>
                    </a:lnTo>
                    <a:lnTo>
                      <a:pt x="3143001" y="464157"/>
                    </a:lnTo>
                    <a:cubicBezTo>
                      <a:pt x="3143001" y="418702"/>
                      <a:pt x="3179983" y="381719"/>
                      <a:pt x="3225472" y="381719"/>
                    </a:cubicBezTo>
                    <a:close/>
                    <a:moveTo>
                      <a:pt x="4196163" y="371877"/>
                    </a:moveTo>
                    <a:cubicBezTo>
                      <a:pt x="4201198" y="372426"/>
                      <a:pt x="4204942" y="376777"/>
                      <a:pt x="4204781" y="381824"/>
                    </a:cubicBezTo>
                    <a:cubicBezTo>
                      <a:pt x="4204216" y="397943"/>
                      <a:pt x="4213754" y="412854"/>
                      <a:pt x="4228601" y="418931"/>
                    </a:cubicBezTo>
                    <a:cubicBezTo>
                      <a:pt x="4242818" y="424736"/>
                      <a:pt x="4261296" y="420498"/>
                      <a:pt x="4271640" y="409114"/>
                    </a:cubicBezTo>
                    <a:cubicBezTo>
                      <a:pt x="4275062" y="405375"/>
                      <a:pt x="4280774" y="404906"/>
                      <a:pt x="4284760" y="408018"/>
                    </a:cubicBezTo>
                    <a:cubicBezTo>
                      <a:pt x="4295185" y="416207"/>
                      <a:pt x="4304675" y="425557"/>
                      <a:pt x="4312889" y="435842"/>
                    </a:cubicBezTo>
                    <a:cubicBezTo>
                      <a:pt x="4316100" y="439824"/>
                      <a:pt x="4315632" y="445611"/>
                      <a:pt x="4311856" y="449045"/>
                    </a:cubicBezTo>
                    <a:cubicBezTo>
                      <a:pt x="4299753" y="460006"/>
                      <a:pt x="4295847" y="477449"/>
                      <a:pt x="4302141" y="492440"/>
                    </a:cubicBezTo>
                    <a:cubicBezTo>
                      <a:pt x="4308144" y="506738"/>
                      <a:pt x="4322991" y="515943"/>
                      <a:pt x="4339968" y="515943"/>
                    </a:cubicBezTo>
                    <a:cubicBezTo>
                      <a:pt x="4345487" y="515766"/>
                      <a:pt x="4349409" y="519474"/>
                      <a:pt x="4350022" y="524486"/>
                    </a:cubicBezTo>
                    <a:cubicBezTo>
                      <a:pt x="4351555" y="537544"/>
                      <a:pt x="4351571" y="550859"/>
                      <a:pt x="4350103" y="564029"/>
                    </a:cubicBezTo>
                    <a:cubicBezTo>
                      <a:pt x="4349554" y="568945"/>
                      <a:pt x="4343680" y="572590"/>
                      <a:pt x="4338693" y="572590"/>
                    </a:cubicBezTo>
                    <a:cubicBezTo>
                      <a:pt x="4323556" y="572204"/>
                      <a:pt x="4309016" y="581569"/>
                      <a:pt x="4302899" y="596416"/>
                    </a:cubicBezTo>
                    <a:cubicBezTo>
                      <a:pt x="4296832" y="611246"/>
                      <a:pt x="4300753" y="628511"/>
                      <a:pt x="4312631" y="639424"/>
                    </a:cubicBezTo>
                    <a:cubicBezTo>
                      <a:pt x="4316358" y="642841"/>
                      <a:pt x="4316826" y="648549"/>
                      <a:pt x="4313680" y="652530"/>
                    </a:cubicBezTo>
                    <a:cubicBezTo>
                      <a:pt x="4305611" y="662814"/>
                      <a:pt x="4296331" y="672179"/>
                      <a:pt x="4286181" y="680352"/>
                    </a:cubicBezTo>
                    <a:cubicBezTo>
                      <a:pt x="4282194" y="683560"/>
                      <a:pt x="4276401" y="683127"/>
                      <a:pt x="4272947" y="679304"/>
                    </a:cubicBezTo>
                    <a:cubicBezTo>
                      <a:pt x="4262539" y="667811"/>
                      <a:pt x="4243915" y="663540"/>
                      <a:pt x="4229585" y="669552"/>
                    </a:cubicBezTo>
                    <a:cubicBezTo>
                      <a:pt x="4214577" y="675841"/>
                      <a:pt x="4205136" y="691008"/>
                      <a:pt x="4206056" y="707306"/>
                    </a:cubicBezTo>
                    <a:cubicBezTo>
                      <a:pt x="4206363" y="712415"/>
                      <a:pt x="4202619" y="716882"/>
                      <a:pt x="4197519" y="717461"/>
                    </a:cubicBezTo>
                    <a:cubicBezTo>
                      <a:pt x="4190870" y="718235"/>
                      <a:pt x="4184189" y="718622"/>
                      <a:pt x="4177476" y="718622"/>
                    </a:cubicBezTo>
                    <a:cubicBezTo>
                      <a:pt x="4171133" y="718622"/>
                      <a:pt x="4164775" y="718267"/>
                      <a:pt x="4158401" y="717576"/>
                    </a:cubicBezTo>
                    <a:cubicBezTo>
                      <a:pt x="4153366" y="717011"/>
                      <a:pt x="4149622" y="712657"/>
                      <a:pt x="4149799" y="707614"/>
                    </a:cubicBezTo>
                    <a:cubicBezTo>
                      <a:pt x="4150364" y="691493"/>
                      <a:pt x="4140794" y="676581"/>
                      <a:pt x="4125996" y="670519"/>
                    </a:cubicBezTo>
                    <a:cubicBezTo>
                      <a:pt x="4111681" y="664684"/>
                      <a:pt x="4093284" y="668956"/>
                      <a:pt x="4082924" y="680320"/>
                    </a:cubicBezTo>
                    <a:cubicBezTo>
                      <a:pt x="4079486" y="684060"/>
                      <a:pt x="4073806" y="684511"/>
                      <a:pt x="4069804" y="681417"/>
                    </a:cubicBezTo>
                    <a:cubicBezTo>
                      <a:pt x="4059395" y="673260"/>
                      <a:pt x="4049954" y="663894"/>
                      <a:pt x="4041675" y="653610"/>
                    </a:cubicBezTo>
                    <a:cubicBezTo>
                      <a:pt x="4038464" y="649611"/>
                      <a:pt x="4038916" y="643824"/>
                      <a:pt x="4042708" y="640374"/>
                    </a:cubicBezTo>
                    <a:cubicBezTo>
                      <a:pt x="4054811" y="629431"/>
                      <a:pt x="4058733" y="611987"/>
                      <a:pt x="4052455" y="597011"/>
                    </a:cubicBezTo>
                    <a:cubicBezTo>
                      <a:pt x="4046549" y="582906"/>
                      <a:pt x="4032251" y="573427"/>
                      <a:pt x="4016871" y="573427"/>
                    </a:cubicBezTo>
                    <a:lnTo>
                      <a:pt x="4014725" y="573475"/>
                    </a:lnTo>
                    <a:cubicBezTo>
                      <a:pt x="4009722" y="573896"/>
                      <a:pt x="4005155" y="570044"/>
                      <a:pt x="4004542" y="564950"/>
                    </a:cubicBezTo>
                    <a:cubicBezTo>
                      <a:pt x="4003009" y="551877"/>
                      <a:pt x="4002993" y="538578"/>
                      <a:pt x="4004461" y="525405"/>
                    </a:cubicBezTo>
                    <a:cubicBezTo>
                      <a:pt x="4005010" y="520522"/>
                      <a:pt x="4010723" y="516846"/>
                      <a:pt x="4015645" y="516846"/>
                    </a:cubicBezTo>
                    <a:cubicBezTo>
                      <a:pt x="4031589" y="516846"/>
                      <a:pt x="4045726" y="507495"/>
                      <a:pt x="4051648" y="493020"/>
                    </a:cubicBezTo>
                    <a:cubicBezTo>
                      <a:pt x="4057716" y="478190"/>
                      <a:pt x="4053811" y="460909"/>
                      <a:pt x="4041933" y="450011"/>
                    </a:cubicBezTo>
                    <a:cubicBezTo>
                      <a:pt x="4038189" y="446594"/>
                      <a:pt x="4037738" y="440871"/>
                      <a:pt x="4040868" y="436906"/>
                    </a:cubicBezTo>
                    <a:cubicBezTo>
                      <a:pt x="4049034" y="426542"/>
                      <a:pt x="4058297" y="417191"/>
                      <a:pt x="4068416" y="409084"/>
                    </a:cubicBezTo>
                    <a:cubicBezTo>
                      <a:pt x="4072386" y="405907"/>
                      <a:pt x="4078211" y="406342"/>
                      <a:pt x="4081649" y="410146"/>
                    </a:cubicBezTo>
                    <a:cubicBezTo>
                      <a:pt x="4091993" y="421624"/>
                      <a:pt x="4110632" y="425895"/>
                      <a:pt x="4125011" y="419883"/>
                    </a:cubicBezTo>
                    <a:cubicBezTo>
                      <a:pt x="4139987" y="413580"/>
                      <a:pt x="4149428" y="398410"/>
                      <a:pt x="4148508" y="382130"/>
                    </a:cubicBezTo>
                    <a:cubicBezTo>
                      <a:pt x="4148201" y="377020"/>
                      <a:pt x="4151929" y="372571"/>
                      <a:pt x="4157045" y="371974"/>
                    </a:cubicBezTo>
                    <a:cubicBezTo>
                      <a:pt x="4170036" y="370458"/>
                      <a:pt x="4183140" y="370426"/>
                      <a:pt x="4196163" y="371877"/>
                    </a:cubicBezTo>
                    <a:close/>
                    <a:moveTo>
                      <a:pt x="2600656" y="371017"/>
                    </a:moveTo>
                    <a:cubicBezTo>
                      <a:pt x="2590928" y="371017"/>
                      <a:pt x="2582991" y="378956"/>
                      <a:pt x="2582991" y="388692"/>
                    </a:cubicBezTo>
                    <a:lnTo>
                      <a:pt x="2582991" y="413602"/>
                    </a:lnTo>
                    <a:lnTo>
                      <a:pt x="2687835" y="413602"/>
                    </a:lnTo>
                    <a:cubicBezTo>
                      <a:pt x="2687835" y="413602"/>
                      <a:pt x="2687835" y="388692"/>
                      <a:pt x="2687835" y="388692"/>
                    </a:cubicBezTo>
                    <a:cubicBezTo>
                      <a:pt x="2687835" y="378956"/>
                      <a:pt x="2679923" y="371017"/>
                      <a:pt x="2670195" y="371017"/>
                    </a:cubicBezTo>
                    <a:close/>
                    <a:moveTo>
                      <a:pt x="2600656" y="349000"/>
                    </a:moveTo>
                    <a:lnTo>
                      <a:pt x="2670195" y="349000"/>
                    </a:lnTo>
                    <a:cubicBezTo>
                      <a:pt x="2692064" y="349000"/>
                      <a:pt x="2709891" y="366802"/>
                      <a:pt x="2709891" y="388692"/>
                    </a:cubicBezTo>
                    <a:lnTo>
                      <a:pt x="2709891" y="413602"/>
                    </a:lnTo>
                    <a:lnTo>
                      <a:pt x="2769776" y="413602"/>
                    </a:lnTo>
                    <a:cubicBezTo>
                      <a:pt x="2769776" y="413602"/>
                      <a:pt x="2769776" y="692613"/>
                      <a:pt x="2769776" y="692613"/>
                    </a:cubicBezTo>
                    <a:lnTo>
                      <a:pt x="2501075" y="692613"/>
                    </a:lnTo>
                    <a:lnTo>
                      <a:pt x="2501075" y="413602"/>
                    </a:lnTo>
                    <a:lnTo>
                      <a:pt x="2560960" y="413602"/>
                    </a:lnTo>
                    <a:lnTo>
                      <a:pt x="2560960" y="388692"/>
                    </a:lnTo>
                    <a:cubicBezTo>
                      <a:pt x="2560960" y="366802"/>
                      <a:pt x="2578762" y="349000"/>
                      <a:pt x="2600656" y="349000"/>
                    </a:cubicBezTo>
                    <a:close/>
                    <a:moveTo>
                      <a:pt x="3359728" y="316283"/>
                    </a:moveTo>
                    <a:cubicBezTo>
                      <a:pt x="3395308" y="316283"/>
                      <a:pt x="3424152" y="345118"/>
                      <a:pt x="3424152" y="380687"/>
                    </a:cubicBezTo>
                    <a:cubicBezTo>
                      <a:pt x="3424152" y="416256"/>
                      <a:pt x="3395308" y="445090"/>
                      <a:pt x="3359728" y="445090"/>
                    </a:cubicBezTo>
                    <a:cubicBezTo>
                      <a:pt x="3324148" y="445090"/>
                      <a:pt x="3295304" y="416256"/>
                      <a:pt x="3295304" y="380687"/>
                    </a:cubicBezTo>
                    <a:cubicBezTo>
                      <a:pt x="3295304" y="345118"/>
                      <a:pt x="3324148" y="316283"/>
                      <a:pt x="3359728" y="316283"/>
                    </a:cubicBezTo>
                    <a:close/>
                    <a:moveTo>
                      <a:pt x="3116409" y="316283"/>
                    </a:moveTo>
                    <a:cubicBezTo>
                      <a:pt x="3116409" y="316283"/>
                      <a:pt x="3170649" y="316283"/>
                      <a:pt x="3170649" y="316283"/>
                    </a:cubicBezTo>
                    <a:cubicBezTo>
                      <a:pt x="3171209" y="337994"/>
                      <a:pt x="3180470" y="357537"/>
                      <a:pt x="3195120" y="371576"/>
                    </a:cubicBezTo>
                    <a:cubicBezTo>
                      <a:pt x="3154701" y="383618"/>
                      <a:pt x="3125148" y="421109"/>
                      <a:pt x="3125148" y="465366"/>
                    </a:cubicBezTo>
                    <a:lnTo>
                      <a:pt x="3125148" y="485955"/>
                    </a:lnTo>
                    <a:cubicBezTo>
                      <a:pt x="3071609" y="484006"/>
                      <a:pt x="3040721" y="468814"/>
                      <a:pt x="3038706" y="467792"/>
                    </a:cubicBezTo>
                    <a:lnTo>
                      <a:pt x="3034407" y="465634"/>
                    </a:lnTo>
                    <a:lnTo>
                      <a:pt x="3033922" y="465634"/>
                    </a:lnTo>
                    <a:lnTo>
                      <a:pt x="3033922" y="398761"/>
                    </a:lnTo>
                    <a:cubicBezTo>
                      <a:pt x="3033922" y="353295"/>
                      <a:pt x="3070938" y="316283"/>
                      <a:pt x="3116409" y="316283"/>
                    </a:cubicBezTo>
                    <a:close/>
                    <a:moveTo>
                      <a:pt x="3790258" y="289015"/>
                    </a:moveTo>
                    <a:cubicBezTo>
                      <a:pt x="3798881" y="289015"/>
                      <a:pt x="3805870" y="296012"/>
                      <a:pt x="3805870" y="304635"/>
                    </a:cubicBezTo>
                    <a:lnTo>
                      <a:pt x="3805870" y="422730"/>
                    </a:lnTo>
                    <a:cubicBezTo>
                      <a:pt x="3805870" y="431371"/>
                      <a:pt x="3798881" y="438339"/>
                      <a:pt x="3790258" y="438339"/>
                    </a:cubicBezTo>
                    <a:lnTo>
                      <a:pt x="3689416" y="438339"/>
                    </a:lnTo>
                    <a:cubicBezTo>
                      <a:pt x="3680775" y="438339"/>
                      <a:pt x="3673786" y="431371"/>
                      <a:pt x="3673786" y="422730"/>
                    </a:cubicBezTo>
                    <a:cubicBezTo>
                      <a:pt x="3673786" y="414116"/>
                      <a:pt x="3680775" y="407120"/>
                      <a:pt x="3689416" y="407120"/>
                    </a:cubicBezTo>
                    <a:lnTo>
                      <a:pt x="3774647" y="407120"/>
                    </a:lnTo>
                    <a:lnTo>
                      <a:pt x="3774647" y="304635"/>
                    </a:lnTo>
                    <a:cubicBezTo>
                      <a:pt x="3774647" y="296012"/>
                      <a:pt x="3781618" y="289015"/>
                      <a:pt x="3790258" y="289015"/>
                    </a:cubicBezTo>
                    <a:close/>
                    <a:moveTo>
                      <a:pt x="1719369" y="278109"/>
                    </a:moveTo>
                    <a:cubicBezTo>
                      <a:pt x="1724271" y="278109"/>
                      <a:pt x="1728227" y="282080"/>
                      <a:pt x="1728227" y="286976"/>
                    </a:cubicBezTo>
                    <a:lnTo>
                      <a:pt x="1728227" y="359827"/>
                    </a:lnTo>
                    <a:cubicBezTo>
                      <a:pt x="1728227" y="364717"/>
                      <a:pt x="1724271" y="368694"/>
                      <a:pt x="1719369" y="368694"/>
                    </a:cubicBezTo>
                    <a:lnTo>
                      <a:pt x="1666660" y="368694"/>
                    </a:lnTo>
                    <a:cubicBezTo>
                      <a:pt x="1661755" y="368694"/>
                      <a:pt x="1657783" y="364717"/>
                      <a:pt x="1657783" y="359827"/>
                    </a:cubicBezTo>
                    <a:cubicBezTo>
                      <a:pt x="1657783" y="354930"/>
                      <a:pt x="1661755" y="350959"/>
                      <a:pt x="1666660" y="350959"/>
                    </a:cubicBezTo>
                    <a:lnTo>
                      <a:pt x="1710515" y="350959"/>
                    </a:lnTo>
                    <a:lnTo>
                      <a:pt x="1710515" y="286976"/>
                    </a:lnTo>
                    <a:cubicBezTo>
                      <a:pt x="1710515" y="282080"/>
                      <a:pt x="1714471" y="278109"/>
                      <a:pt x="1719369" y="278109"/>
                    </a:cubicBezTo>
                    <a:close/>
                    <a:moveTo>
                      <a:pt x="1369040" y="267539"/>
                    </a:moveTo>
                    <a:cubicBezTo>
                      <a:pt x="1360931" y="267536"/>
                      <a:pt x="1352816" y="270629"/>
                      <a:pt x="1346606" y="276821"/>
                    </a:cubicBezTo>
                    <a:cubicBezTo>
                      <a:pt x="1334222" y="289208"/>
                      <a:pt x="1334257" y="309281"/>
                      <a:pt x="1346606" y="321650"/>
                    </a:cubicBezTo>
                    <a:cubicBezTo>
                      <a:pt x="1359026" y="334037"/>
                      <a:pt x="1379063" y="334037"/>
                      <a:pt x="1391448" y="321650"/>
                    </a:cubicBezTo>
                    <a:cubicBezTo>
                      <a:pt x="1403850" y="309264"/>
                      <a:pt x="1403850" y="289208"/>
                      <a:pt x="1391448" y="276821"/>
                    </a:cubicBezTo>
                    <a:cubicBezTo>
                      <a:pt x="1385256" y="270637"/>
                      <a:pt x="1377150" y="267540"/>
                      <a:pt x="1369040" y="267539"/>
                    </a:cubicBezTo>
                    <a:close/>
                    <a:moveTo>
                      <a:pt x="3790710" y="263937"/>
                    </a:moveTo>
                    <a:cubicBezTo>
                      <a:pt x="3708383" y="263937"/>
                      <a:pt x="3641386" y="330897"/>
                      <a:pt x="3641386" y="413244"/>
                    </a:cubicBezTo>
                    <a:cubicBezTo>
                      <a:pt x="3641386" y="495569"/>
                      <a:pt x="3708383" y="562546"/>
                      <a:pt x="3790710" y="562546"/>
                    </a:cubicBezTo>
                    <a:cubicBezTo>
                      <a:pt x="3873020" y="562546"/>
                      <a:pt x="3940016" y="495569"/>
                      <a:pt x="3940016" y="413244"/>
                    </a:cubicBezTo>
                    <a:cubicBezTo>
                      <a:pt x="3940016" y="330897"/>
                      <a:pt x="3873020" y="263937"/>
                      <a:pt x="3790710" y="263937"/>
                    </a:cubicBezTo>
                    <a:close/>
                    <a:moveTo>
                      <a:pt x="3330229" y="261752"/>
                    </a:moveTo>
                    <a:lnTo>
                      <a:pt x="3389544" y="261752"/>
                    </a:lnTo>
                    <a:cubicBezTo>
                      <a:pt x="3395812" y="261752"/>
                      <a:pt x="3401906" y="262414"/>
                      <a:pt x="3407792" y="263619"/>
                    </a:cubicBezTo>
                    <a:cubicBezTo>
                      <a:pt x="3398799" y="276077"/>
                      <a:pt x="3393455" y="291279"/>
                      <a:pt x="3393371" y="307729"/>
                    </a:cubicBezTo>
                    <a:cubicBezTo>
                      <a:pt x="3382447" y="301716"/>
                      <a:pt x="3369943" y="298316"/>
                      <a:pt x="3356658" y="298316"/>
                    </a:cubicBezTo>
                    <a:cubicBezTo>
                      <a:pt x="3345863" y="298316"/>
                      <a:pt x="3335605" y="300569"/>
                      <a:pt x="3326279" y="304606"/>
                    </a:cubicBezTo>
                    <a:cubicBezTo>
                      <a:pt x="3325609" y="289392"/>
                      <a:pt x="3320335" y="275288"/>
                      <a:pt x="3311915" y="263640"/>
                    </a:cubicBezTo>
                    <a:cubicBezTo>
                      <a:pt x="3317841" y="262414"/>
                      <a:pt x="3323940" y="261752"/>
                      <a:pt x="3330229" y="261752"/>
                    </a:cubicBezTo>
                    <a:close/>
                    <a:moveTo>
                      <a:pt x="1719835" y="253301"/>
                    </a:moveTo>
                    <a:cubicBezTo>
                      <a:pt x="1661869" y="253301"/>
                      <a:pt x="1614711" y="300464"/>
                      <a:pt x="1614711" y="358414"/>
                    </a:cubicBezTo>
                    <a:cubicBezTo>
                      <a:pt x="1614711" y="416381"/>
                      <a:pt x="1661869" y="463545"/>
                      <a:pt x="1719835" y="463545"/>
                    </a:cubicBezTo>
                    <a:cubicBezTo>
                      <a:pt x="1777786" y="463545"/>
                      <a:pt x="1824960" y="416381"/>
                      <a:pt x="1824960" y="358414"/>
                    </a:cubicBezTo>
                    <a:cubicBezTo>
                      <a:pt x="1824960" y="300464"/>
                      <a:pt x="1777786" y="253301"/>
                      <a:pt x="1719835" y="253301"/>
                    </a:cubicBezTo>
                    <a:close/>
                    <a:moveTo>
                      <a:pt x="3468805" y="250846"/>
                    </a:moveTo>
                    <a:cubicBezTo>
                      <a:pt x="3504376" y="250846"/>
                      <a:pt x="3533214" y="279679"/>
                      <a:pt x="3533214" y="315249"/>
                    </a:cubicBezTo>
                    <a:cubicBezTo>
                      <a:pt x="3533214" y="350845"/>
                      <a:pt x="3504376" y="379678"/>
                      <a:pt x="3468805" y="379678"/>
                    </a:cubicBezTo>
                    <a:cubicBezTo>
                      <a:pt x="3456210" y="379678"/>
                      <a:pt x="3444486" y="375980"/>
                      <a:pt x="3434534" y="369724"/>
                    </a:cubicBezTo>
                    <a:cubicBezTo>
                      <a:pt x="3431367" y="349128"/>
                      <a:pt x="3420335" y="331122"/>
                      <a:pt x="3404592" y="318882"/>
                    </a:cubicBezTo>
                    <a:cubicBezTo>
                      <a:pt x="3404526" y="317684"/>
                      <a:pt x="3404407" y="316472"/>
                      <a:pt x="3404407" y="315249"/>
                    </a:cubicBezTo>
                    <a:cubicBezTo>
                      <a:pt x="3404407" y="279679"/>
                      <a:pt x="3433228" y="250846"/>
                      <a:pt x="3468805" y="250846"/>
                    </a:cubicBezTo>
                    <a:close/>
                    <a:moveTo>
                      <a:pt x="3250757" y="250846"/>
                    </a:moveTo>
                    <a:cubicBezTo>
                      <a:pt x="3285990" y="250846"/>
                      <a:pt x="3314582" y="279164"/>
                      <a:pt x="3315089" y="314283"/>
                    </a:cubicBezTo>
                    <a:cubicBezTo>
                      <a:pt x="3294799" y="327030"/>
                      <a:pt x="3280548" y="348563"/>
                      <a:pt x="3277955" y="373572"/>
                    </a:cubicBezTo>
                    <a:cubicBezTo>
                      <a:pt x="3269687" y="377425"/>
                      <a:pt x="3260490" y="379678"/>
                      <a:pt x="3250757" y="379678"/>
                    </a:cubicBezTo>
                    <a:cubicBezTo>
                      <a:pt x="3215172" y="379678"/>
                      <a:pt x="3186341" y="350816"/>
                      <a:pt x="3186341" y="315249"/>
                    </a:cubicBezTo>
                    <a:cubicBezTo>
                      <a:pt x="3186341" y="279679"/>
                      <a:pt x="3215172" y="250846"/>
                      <a:pt x="3250757" y="250846"/>
                    </a:cubicBezTo>
                    <a:close/>
                    <a:moveTo>
                      <a:pt x="2241249" y="226153"/>
                    </a:moveTo>
                    <a:cubicBezTo>
                      <a:pt x="2238919" y="225972"/>
                      <a:pt x="2236529" y="226498"/>
                      <a:pt x="2234544" y="227957"/>
                    </a:cubicBezTo>
                    <a:lnTo>
                      <a:pt x="2118683" y="313370"/>
                    </a:lnTo>
                    <a:cubicBezTo>
                      <a:pt x="2118562" y="313450"/>
                      <a:pt x="2118602" y="313632"/>
                      <a:pt x="2118501" y="313733"/>
                    </a:cubicBezTo>
                    <a:cubicBezTo>
                      <a:pt x="2118339" y="313835"/>
                      <a:pt x="2118096" y="313978"/>
                      <a:pt x="2117954" y="314098"/>
                    </a:cubicBezTo>
                    <a:cubicBezTo>
                      <a:pt x="2117792" y="314200"/>
                      <a:pt x="2117731" y="314321"/>
                      <a:pt x="2117589" y="314443"/>
                    </a:cubicBezTo>
                    <a:cubicBezTo>
                      <a:pt x="2117468" y="314584"/>
                      <a:pt x="2117346" y="314686"/>
                      <a:pt x="2117225" y="314808"/>
                    </a:cubicBezTo>
                    <a:cubicBezTo>
                      <a:pt x="2117103" y="314949"/>
                      <a:pt x="2116982" y="315030"/>
                      <a:pt x="2116860" y="315173"/>
                    </a:cubicBezTo>
                    <a:cubicBezTo>
                      <a:pt x="2116779" y="315294"/>
                      <a:pt x="2116739" y="315435"/>
                      <a:pt x="2116678" y="315537"/>
                    </a:cubicBezTo>
                    <a:lnTo>
                      <a:pt x="2031099" y="431404"/>
                    </a:lnTo>
                    <a:cubicBezTo>
                      <a:pt x="2028162" y="435396"/>
                      <a:pt x="2028668" y="440950"/>
                      <a:pt x="2032193" y="444456"/>
                    </a:cubicBezTo>
                    <a:cubicBezTo>
                      <a:pt x="2034137" y="446401"/>
                      <a:pt x="2036689" y="447353"/>
                      <a:pt x="2039262" y="447353"/>
                    </a:cubicBezTo>
                    <a:cubicBezTo>
                      <a:pt x="2041348" y="447353"/>
                      <a:pt x="2043455" y="446684"/>
                      <a:pt x="2045237" y="445368"/>
                    </a:cubicBezTo>
                    <a:lnTo>
                      <a:pt x="2161098" y="359955"/>
                    </a:lnTo>
                    <a:cubicBezTo>
                      <a:pt x="2161219" y="359873"/>
                      <a:pt x="2161179" y="359873"/>
                      <a:pt x="2161280" y="359773"/>
                    </a:cubicBezTo>
                    <a:cubicBezTo>
                      <a:pt x="2161442" y="359673"/>
                      <a:pt x="2161705" y="359530"/>
                      <a:pt x="2161827" y="359408"/>
                    </a:cubicBezTo>
                    <a:cubicBezTo>
                      <a:pt x="2161989" y="359286"/>
                      <a:pt x="2162070" y="359186"/>
                      <a:pt x="2162192" y="359065"/>
                    </a:cubicBezTo>
                    <a:cubicBezTo>
                      <a:pt x="2162313" y="358921"/>
                      <a:pt x="2162435" y="358658"/>
                      <a:pt x="2162556" y="358517"/>
                    </a:cubicBezTo>
                    <a:cubicBezTo>
                      <a:pt x="2162678" y="358374"/>
                      <a:pt x="2162799" y="358293"/>
                      <a:pt x="2162921" y="358152"/>
                    </a:cubicBezTo>
                    <a:cubicBezTo>
                      <a:pt x="2163002" y="358031"/>
                      <a:pt x="2163022" y="357888"/>
                      <a:pt x="2163103" y="357788"/>
                    </a:cubicBezTo>
                    <a:lnTo>
                      <a:pt x="2248500" y="242100"/>
                    </a:lnTo>
                    <a:cubicBezTo>
                      <a:pt x="2251457" y="238109"/>
                      <a:pt x="2251093" y="232557"/>
                      <a:pt x="2247589" y="229052"/>
                    </a:cubicBezTo>
                    <a:cubicBezTo>
                      <a:pt x="2245826" y="227289"/>
                      <a:pt x="2243578" y="226335"/>
                      <a:pt x="2241249" y="226153"/>
                    </a:cubicBezTo>
                    <a:close/>
                    <a:moveTo>
                      <a:pt x="3790710" y="223579"/>
                    </a:moveTo>
                    <a:cubicBezTo>
                      <a:pt x="3895288" y="223579"/>
                      <a:pt x="3980372" y="308664"/>
                      <a:pt x="3980372" y="413244"/>
                    </a:cubicBezTo>
                    <a:cubicBezTo>
                      <a:pt x="3980372" y="517818"/>
                      <a:pt x="3895288" y="602904"/>
                      <a:pt x="3790710" y="602904"/>
                    </a:cubicBezTo>
                    <a:cubicBezTo>
                      <a:pt x="3686132" y="602904"/>
                      <a:pt x="3601048" y="517818"/>
                      <a:pt x="3601048" y="413244"/>
                    </a:cubicBezTo>
                    <a:cubicBezTo>
                      <a:pt x="3601048" y="308664"/>
                      <a:pt x="3686132" y="223579"/>
                      <a:pt x="3790710" y="223579"/>
                    </a:cubicBezTo>
                    <a:close/>
                    <a:moveTo>
                      <a:pt x="1333131" y="223579"/>
                    </a:moveTo>
                    <a:cubicBezTo>
                      <a:pt x="1362967" y="223579"/>
                      <a:pt x="1390920" y="235188"/>
                      <a:pt x="1412012" y="256247"/>
                    </a:cubicBezTo>
                    <a:cubicBezTo>
                      <a:pt x="1455534" y="299745"/>
                      <a:pt x="1455552" y="370505"/>
                      <a:pt x="1412012" y="414005"/>
                    </a:cubicBezTo>
                    <a:cubicBezTo>
                      <a:pt x="1390938" y="435098"/>
                      <a:pt x="1362967" y="446723"/>
                      <a:pt x="1333149" y="446723"/>
                    </a:cubicBezTo>
                    <a:cubicBezTo>
                      <a:pt x="1317897" y="446723"/>
                      <a:pt x="1303190" y="443631"/>
                      <a:pt x="1289539" y="437861"/>
                    </a:cubicBezTo>
                    <a:lnTo>
                      <a:pt x="1241249" y="486180"/>
                    </a:lnTo>
                    <a:cubicBezTo>
                      <a:pt x="1239244" y="488151"/>
                      <a:pt x="1236605" y="489203"/>
                      <a:pt x="1233738" y="489117"/>
                    </a:cubicBezTo>
                    <a:lnTo>
                      <a:pt x="1207438" y="488184"/>
                    </a:lnTo>
                    <a:lnTo>
                      <a:pt x="1208282" y="514563"/>
                    </a:lnTo>
                    <a:cubicBezTo>
                      <a:pt x="1208353" y="517345"/>
                      <a:pt x="1207367" y="520057"/>
                      <a:pt x="1205344" y="522043"/>
                    </a:cubicBezTo>
                    <a:cubicBezTo>
                      <a:pt x="1203392" y="524013"/>
                      <a:pt x="1200683" y="525084"/>
                      <a:pt x="1197903" y="524980"/>
                    </a:cubicBezTo>
                    <a:lnTo>
                      <a:pt x="1171498" y="524064"/>
                    </a:lnTo>
                    <a:lnTo>
                      <a:pt x="1172448" y="550428"/>
                    </a:lnTo>
                    <a:cubicBezTo>
                      <a:pt x="1172536" y="553225"/>
                      <a:pt x="1171463" y="555920"/>
                      <a:pt x="1169510" y="557889"/>
                    </a:cubicBezTo>
                    <a:cubicBezTo>
                      <a:pt x="1167505" y="559876"/>
                      <a:pt x="1165165" y="560947"/>
                      <a:pt x="1161998" y="560844"/>
                    </a:cubicBezTo>
                    <a:lnTo>
                      <a:pt x="1135663" y="559964"/>
                    </a:lnTo>
                    <a:lnTo>
                      <a:pt x="1136543" y="586290"/>
                    </a:lnTo>
                    <a:cubicBezTo>
                      <a:pt x="1136701" y="589226"/>
                      <a:pt x="1135452" y="592042"/>
                      <a:pt x="1133394" y="594030"/>
                    </a:cubicBezTo>
                    <a:cubicBezTo>
                      <a:pt x="1131441" y="595774"/>
                      <a:pt x="1129049" y="596724"/>
                      <a:pt x="1126498" y="596724"/>
                    </a:cubicBezTo>
                    <a:cubicBezTo>
                      <a:pt x="1126146" y="596724"/>
                      <a:pt x="1125777" y="596707"/>
                      <a:pt x="1125407" y="596689"/>
                    </a:cubicBezTo>
                    <a:lnTo>
                      <a:pt x="1084999" y="592199"/>
                    </a:lnTo>
                    <a:cubicBezTo>
                      <a:pt x="1079546" y="591594"/>
                      <a:pt x="1075570" y="586740"/>
                      <a:pt x="1076045" y="581264"/>
                    </a:cubicBezTo>
                    <a:lnTo>
                      <a:pt x="1080548" y="531925"/>
                    </a:lnTo>
                    <a:cubicBezTo>
                      <a:pt x="1080742" y="529610"/>
                      <a:pt x="1081762" y="527382"/>
                      <a:pt x="1083469" y="525705"/>
                    </a:cubicBezTo>
                    <a:lnTo>
                      <a:pt x="1230430" y="378762"/>
                    </a:lnTo>
                    <a:cubicBezTo>
                      <a:pt x="1224643" y="365132"/>
                      <a:pt x="1221599" y="350380"/>
                      <a:pt x="1221599" y="335125"/>
                    </a:cubicBezTo>
                    <a:cubicBezTo>
                      <a:pt x="1221599" y="305343"/>
                      <a:pt x="1233210" y="277322"/>
                      <a:pt x="1254250" y="256229"/>
                    </a:cubicBezTo>
                    <a:cubicBezTo>
                      <a:pt x="1275324" y="235188"/>
                      <a:pt x="1303331" y="223579"/>
                      <a:pt x="1333131" y="223579"/>
                    </a:cubicBezTo>
                    <a:close/>
                    <a:moveTo>
                      <a:pt x="2398143" y="190869"/>
                    </a:moveTo>
                    <a:lnTo>
                      <a:pt x="2398143" y="220214"/>
                    </a:lnTo>
                    <a:lnTo>
                      <a:pt x="2456323" y="220214"/>
                    </a:lnTo>
                    <a:cubicBezTo>
                      <a:pt x="2464411" y="220214"/>
                      <a:pt x="2470991" y="213650"/>
                      <a:pt x="2470991" y="205548"/>
                    </a:cubicBezTo>
                    <a:cubicBezTo>
                      <a:pt x="2470991" y="197422"/>
                      <a:pt x="2464411" y="190869"/>
                      <a:pt x="2456323" y="190869"/>
                    </a:cubicBezTo>
                    <a:close/>
                    <a:moveTo>
                      <a:pt x="3147145" y="185407"/>
                    </a:moveTo>
                    <a:cubicBezTo>
                      <a:pt x="3182379" y="185407"/>
                      <a:pt x="3210972" y="213732"/>
                      <a:pt x="3211479" y="248819"/>
                    </a:cubicBezTo>
                    <a:cubicBezTo>
                      <a:pt x="3191189" y="261569"/>
                      <a:pt x="3176937" y="283095"/>
                      <a:pt x="3174344" y="308112"/>
                    </a:cubicBezTo>
                    <a:cubicBezTo>
                      <a:pt x="3166076" y="311987"/>
                      <a:pt x="3156879" y="314211"/>
                      <a:pt x="3147145" y="314211"/>
                    </a:cubicBezTo>
                    <a:cubicBezTo>
                      <a:pt x="3111560" y="314211"/>
                      <a:pt x="3082728" y="285378"/>
                      <a:pt x="3082728" y="249816"/>
                    </a:cubicBezTo>
                    <a:cubicBezTo>
                      <a:pt x="3082728" y="214240"/>
                      <a:pt x="3111560" y="185407"/>
                      <a:pt x="3147145" y="185407"/>
                    </a:cubicBezTo>
                    <a:close/>
                    <a:moveTo>
                      <a:pt x="2161827" y="172292"/>
                    </a:moveTo>
                    <a:cubicBezTo>
                      <a:pt x="2156318" y="172292"/>
                      <a:pt x="2151861" y="176729"/>
                      <a:pt x="2151861" y="182263"/>
                    </a:cubicBezTo>
                    <a:lnTo>
                      <a:pt x="2151861" y="195515"/>
                    </a:lnTo>
                    <a:lnTo>
                      <a:pt x="2130107" y="175028"/>
                    </a:lnTo>
                    <a:cubicBezTo>
                      <a:pt x="2127190" y="172272"/>
                      <a:pt x="2122896" y="171421"/>
                      <a:pt x="2119230" y="173021"/>
                    </a:cubicBezTo>
                    <a:cubicBezTo>
                      <a:pt x="2115543" y="174602"/>
                      <a:pt x="2113234" y="178271"/>
                      <a:pt x="2113234" y="182263"/>
                    </a:cubicBezTo>
                    <a:cubicBezTo>
                      <a:pt x="2113234" y="182263"/>
                      <a:pt x="2113234" y="218716"/>
                      <a:pt x="2113234" y="218716"/>
                    </a:cubicBezTo>
                    <a:cubicBezTo>
                      <a:pt x="2113234" y="224248"/>
                      <a:pt x="2117670" y="228687"/>
                      <a:pt x="2123220" y="228687"/>
                    </a:cubicBezTo>
                    <a:cubicBezTo>
                      <a:pt x="2128750" y="228687"/>
                      <a:pt x="2133368" y="224248"/>
                      <a:pt x="2133368" y="218716"/>
                    </a:cubicBezTo>
                    <a:lnTo>
                      <a:pt x="2133368" y="205484"/>
                    </a:lnTo>
                    <a:lnTo>
                      <a:pt x="2154940" y="225972"/>
                    </a:lnTo>
                    <a:cubicBezTo>
                      <a:pt x="2156844" y="227754"/>
                      <a:pt x="2159315" y="228687"/>
                      <a:pt x="2161827" y="228687"/>
                    </a:cubicBezTo>
                    <a:cubicBezTo>
                      <a:pt x="2163164" y="228687"/>
                      <a:pt x="2164541" y="228524"/>
                      <a:pt x="2165817" y="227957"/>
                    </a:cubicBezTo>
                    <a:cubicBezTo>
                      <a:pt x="2169484" y="226376"/>
                      <a:pt x="2171975" y="222728"/>
                      <a:pt x="2171975" y="218716"/>
                    </a:cubicBezTo>
                    <a:lnTo>
                      <a:pt x="2171975" y="182263"/>
                    </a:lnTo>
                    <a:cubicBezTo>
                      <a:pt x="2171995" y="176729"/>
                      <a:pt x="2167397" y="172292"/>
                      <a:pt x="2161827" y="172292"/>
                    </a:cubicBezTo>
                    <a:close/>
                    <a:moveTo>
                      <a:pt x="2834518" y="163602"/>
                    </a:moveTo>
                    <a:lnTo>
                      <a:pt x="2884554" y="163602"/>
                    </a:lnTo>
                    <a:cubicBezTo>
                      <a:pt x="2885378" y="163602"/>
                      <a:pt x="2886189" y="164217"/>
                      <a:pt x="2886189" y="165041"/>
                    </a:cubicBezTo>
                    <a:lnTo>
                      <a:pt x="2886189" y="293597"/>
                    </a:lnTo>
                    <a:lnTo>
                      <a:pt x="2908132" y="293597"/>
                    </a:lnTo>
                    <a:cubicBezTo>
                      <a:pt x="2908971" y="293597"/>
                      <a:pt x="2909767" y="294212"/>
                      <a:pt x="2909767" y="295050"/>
                    </a:cubicBezTo>
                    <a:lnTo>
                      <a:pt x="2909767" y="314994"/>
                    </a:lnTo>
                    <a:cubicBezTo>
                      <a:pt x="2909767" y="315834"/>
                      <a:pt x="2908971" y="316629"/>
                      <a:pt x="2908132" y="316629"/>
                    </a:cubicBezTo>
                    <a:lnTo>
                      <a:pt x="2834881" y="316629"/>
                    </a:lnTo>
                    <a:cubicBezTo>
                      <a:pt x="2834057" y="316629"/>
                      <a:pt x="2833246" y="315834"/>
                      <a:pt x="2833246" y="314994"/>
                    </a:cubicBezTo>
                    <a:lnTo>
                      <a:pt x="2833246" y="295050"/>
                    </a:lnTo>
                    <a:cubicBezTo>
                      <a:pt x="2833246" y="294212"/>
                      <a:pt x="2834057" y="293597"/>
                      <a:pt x="2834881" y="293597"/>
                    </a:cubicBezTo>
                    <a:lnTo>
                      <a:pt x="2855916" y="293597"/>
                    </a:lnTo>
                    <a:lnTo>
                      <a:pt x="2855916" y="186984"/>
                    </a:lnTo>
                    <a:lnTo>
                      <a:pt x="2834518" y="186984"/>
                    </a:lnTo>
                    <a:cubicBezTo>
                      <a:pt x="2833693" y="186984"/>
                      <a:pt x="2833064" y="186355"/>
                      <a:pt x="2833064" y="185532"/>
                    </a:cubicBezTo>
                    <a:lnTo>
                      <a:pt x="2833064" y="165041"/>
                    </a:lnTo>
                    <a:cubicBezTo>
                      <a:pt x="2833064" y="164203"/>
                      <a:pt x="2833693" y="163602"/>
                      <a:pt x="2834518" y="163602"/>
                    </a:cubicBezTo>
                    <a:close/>
                    <a:moveTo>
                      <a:pt x="1871415" y="159843"/>
                    </a:moveTo>
                    <a:cubicBezTo>
                      <a:pt x="1875372" y="162709"/>
                      <a:pt x="1876248" y="168260"/>
                      <a:pt x="1873370" y="172230"/>
                    </a:cubicBezTo>
                    <a:lnTo>
                      <a:pt x="1866206" y="182116"/>
                    </a:lnTo>
                    <a:cubicBezTo>
                      <a:pt x="1876748" y="192485"/>
                      <a:pt x="1883584" y="205956"/>
                      <a:pt x="1885680" y="220859"/>
                    </a:cubicBezTo>
                    <a:cubicBezTo>
                      <a:pt x="1888213" y="238797"/>
                      <a:pt x="1883615" y="256637"/>
                      <a:pt x="1872729" y="271091"/>
                    </a:cubicBezTo>
                    <a:cubicBezTo>
                      <a:pt x="1870992" y="273407"/>
                      <a:pt x="1868318" y="274640"/>
                      <a:pt x="1865627" y="274640"/>
                    </a:cubicBezTo>
                    <a:cubicBezTo>
                      <a:pt x="1863797" y="274640"/>
                      <a:pt x="1861905" y="274057"/>
                      <a:pt x="1860325" y="272858"/>
                    </a:cubicBezTo>
                    <a:lnTo>
                      <a:pt x="1821503" y="243649"/>
                    </a:lnTo>
                    <a:lnTo>
                      <a:pt x="1814136" y="253801"/>
                    </a:lnTo>
                    <a:cubicBezTo>
                      <a:pt x="1842635" y="279676"/>
                      <a:pt x="1860560" y="316986"/>
                      <a:pt x="1860560" y="358414"/>
                    </a:cubicBezTo>
                    <a:cubicBezTo>
                      <a:pt x="1860560" y="402810"/>
                      <a:pt x="1839960" y="442471"/>
                      <a:pt x="1807833" y="468379"/>
                    </a:cubicBezTo>
                    <a:lnTo>
                      <a:pt x="1821785" y="505039"/>
                    </a:lnTo>
                    <a:cubicBezTo>
                      <a:pt x="1823521" y="509623"/>
                      <a:pt x="1821206" y="514742"/>
                      <a:pt x="1816639" y="516494"/>
                    </a:cubicBezTo>
                    <a:cubicBezTo>
                      <a:pt x="1815591" y="516877"/>
                      <a:pt x="1814527" y="517059"/>
                      <a:pt x="1813480" y="517059"/>
                    </a:cubicBezTo>
                    <a:cubicBezTo>
                      <a:pt x="1809913" y="517059"/>
                      <a:pt x="1806550" y="514892"/>
                      <a:pt x="1805205" y="511341"/>
                    </a:cubicBezTo>
                    <a:lnTo>
                      <a:pt x="1792896" y="478948"/>
                    </a:lnTo>
                    <a:cubicBezTo>
                      <a:pt x="1771436" y="492103"/>
                      <a:pt x="1746238" y="499687"/>
                      <a:pt x="1719272" y="499687"/>
                    </a:cubicBezTo>
                    <a:cubicBezTo>
                      <a:pt x="1692354" y="499687"/>
                      <a:pt x="1667140" y="492103"/>
                      <a:pt x="1645696" y="478948"/>
                    </a:cubicBezTo>
                    <a:lnTo>
                      <a:pt x="1633386" y="511341"/>
                    </a:lnTo>
                    <a:cubicBezTo>
                      <a:pt x="1632041" y="514892"/>
                      <a:pt x="1628678" y="517059"/>
                      <a:pt x="1625081" y="517059"/>
                    </a:cubicBezTo>
                    <a:cubicBezTo>
                      <a:pt x="1624033" y="517059"/>
                      <a:pt x="1622985" y="516877"/>
                      <a:pt x="1621952" y="516476"/>
                    </a:cubicBezTo>
                    <a:cubicBezTo>
                      <a:pt x="1617354" y="514742"/>
                      <a:pt x="1615070" y="509623"/>
                      <a:pt x="1616822" y="505039"/>
                    </a:cubicBezTo>
                    <a:lnTo>
                      <a:pt x="1630743" y="468379"/>
                    </a:lnTo>
                    <a:cubicBezTo>
                      <a:pt x="1598616" y="442456"/>
                      <a:pt x="1578016" y="402810"/>
                      <a:pt x="1578016" y="358414"/>
                    </a:cubicBezTo>
                    <a:cubicBezTo>
                      <a:pt x="1578016" y="316736"/>
                      <a:pt x="1596176" y="279243"/>
                      <a:pt x="1624971" y="253351"/>
                    </a:cubicBezTo>
                    <a:lnTo>
                      <a:pt x="1617557" y="243299"/>
                    </a:lnTo>
                    <a:lnTo>
                      <a:pt x="1578266" y="272858"/>
                    </a:lnTo>
                    <a:cubicBezTo>
                      <a:pt x="1576687" y="274057"/>
                      <a:pt x="1574794" y="274640"/>
                      <a:pt x="1572948" y="274640"/>
                    </a:cubicBezTo>
                    <a:cubicBezTo>
                      <a:pt x="1570258" y="274640"/>
                      <a:pt x="1567583" y="273407"/>
                      <a:pt x="1565847" y="271091"/>
                    </a:cubicBezTo>
                    <a:cubicBezTo>
                      <a:pt x="1554961" y="256637"/>
                      <a:pt x="1550362" y="238797"/>
                      <a:pt x="1552881" y="220859"/>
                    </a:cubicBezTo>
                    <a:cubicBezTo>
                      <a:pt x="1555008" y="205921"/>
                      <a:pt x="1561859" y="192435"/>
                      <a:pt x="1572448" y="182048"/>
                    </a:cubicBezTo>
                    <a:lnTo>
                      <a:pt x="1565237" y="172280"/>
                    </a:lnTo>
                    <a:cubicBezTo>
                      <a:pt x="1562312" y="168327"/>
                      <a:pt x="1563173" y="162776"/>
                      <a:pt x="1567114" y="159875"/>
                    </a:cubicBezTo>
                    <a:cubicBezTo>
                      <a:pt x="1571056" y="156957"/>
                      <a:pt x="1576608" y="157808"/>
                      <a:pt x="1579518" y="161760"/>
                    </a:cubicBezTo>
                    <a:lnTo>
                      <a:pt x="1586588" y="171346"/>
                    </a:lnTo>
                    <a:cubicBezTo>
                      <a:pt x="1596739" y="165560"/>
                      <a:pt x="1608141" y="162526"/>
                      <a:pt x="1619982" y="162526"/>
                    </a:cubicBezTo>
                    <a:cubicBezTo>
                      <a:pt x="1641504" y="162526"/>
                      <a:pt x="1661259" y="172395"/>
                      <a:pt x="1674194" y="189567"/>
                    </a:cubicBezTo>
                    <a:cubicBezTo>
                      <a:pt x="1675633" y="191452"/>
                      <a:pt x="1676212" y="193818"/>
                      <a:pt x="1675899" y="196135"/>
                    </a:cubicBezTo>
                    <a:cubicBezTo>
                      <a:pt x="1675555" y="198470"/>
                      <a:pt x="1674335" y="200570"/>
                      <a:pt x="1672458" y="201987"/>
                    </a:cubicBezTo>
                    <a:lnTo>
                      <a:pt x="1631713" y="232629"/>
                    </a:lnTo>
                    <a:lnTo>
                      <a:pt x="1638876" y="242348"/>
                    </a:lnTo>
                    <a:cubicBezTo>
                      <a:pt x="1661728" y="226477"/>
                      <a:pt x="1689413" y="217159"/>
                      <a:pt x="1719304" y="217159"/>
                    </a:cubicBezTo>
                    <a:cubicBezTo>
                      <a:pt x="1749397" y="217159"/>
                      <a:pt x="1777317" y="226645"/>
                      <a:pt x="1800247" y="242748"/>
                    </a:cubicBezTo>
                    <a:lnTo>
                      <a:pt x="1807333" y="232997"/>
                    </a:lnTo>
                    <a:lnTo>
                      <a:pt x="1766133" y="201987"/>
                    </a:lnTo>
                    <a:cubicBezTo>
                      <a:pt x="1764257" y="200570"/>
                      <a:pt x="1763005" y="198470"/>
                      <a:pt x="1762677" y="196135"/>
                    </a:cubicBezTo>
                    <a:cubicBezTo>
                      <a:pt x="1762364" y="193818"/>
                      <a:pt x="1762958" y="191452"/>
                      <a:pt x="1764382" y="189567"/>
                    </a:cubicBezTo>
                    <a:cubicBezTo>
                      <a:pt x="1777317" y="172395"/>
                      <a:pt x="1797072" y="162526"/>
                      <a:pt x="1818610" y="162526"/>
                    </a:cubicBezTo>
                    <a:cubicBezTo>
                      <a:pt x="1830482" y="162526"/>
                      <a:pt x="1841900" y="165577"/>
                      <a:pt x="1852051" y="171396"/>
                    </a:cubicBezTo>
                    <a:lnTo>
                      <a:pt x="1859027" y="161810"/>
                    </a:lnTo>
                    <a:cubicBezTo>
                      <a:pt x="1861905" y="157841"/>
                      <a:pt x="1867442" y="156957"/>
                      <a:pt x="1871415" y="159843"/>
                    </a:cubicBezTo>
                    <a:close/>
                    <a:moveTo>
                      <a:pt x="2139890" y="152718"/>
                    </a:moveTo>
                    <a:cubicBezTo>
                      <a:pt x="2241370" y="152718"/>
                      <a:pt x="2323931" y="235294"/>
                      <a:pt x="2323931" y="336752"/>
                    </a:cubicBezTo>
                    <a:cubicBezTo>
                      <a:pt x="2323931" y="438214"/>
                      <a:pt x="2241370" y="520605"/>
                      <a:pt x="2139890" y="520605"/>
                    </a:cubicBezTo>
                    <a:cubicBezTo>
                      <a:pt x="2038431" y="520605"/>
                      <a:pt x="1955850" y="438214"/>
                      <a:pt x="1955850" y="336752"/>
                    </a:cubicBezTo>
                    <a:cubicBezTo>
                      <a:pt x="1955850" y="235294"/>
                      <a:pt x="2038431" y="152718"/>
                      <a:pt x="2139890" y="152718"/>
                    </a:cubicBezTo>
                    <a:close/>
                    <a:moveTo>
                      <a:pt x="2398143" y="136647"/>
                    </a:moveTo>
                    <a:lnTo>
                      <a:pt x="2398143" y="166017"/>
                    </a:lnTo>
                    <a:lnTo>
                      <a:pt x="2456323" y="166017"/>
                    </a:lnTo>
                    <a:cubicBezTo>
                      <a:pt x="2464411" y="166017"/>
                      <a:pt x="2470991" y="159439"/>
                      <a:pt x="2470991" y="151326"/>
                    </a:cubicBezTo>
                    <a:cubicBezTo>
                      <a:pt x="2470991" y="143225"/>
                      <a:pt x="2464411" y="136647"/>
                      <a:pt x="2456323" y="136647"/>
                    </a:cubicBezTo>
                    <a:close/>
                    <a:moveTo>
                      <a:pt x="2141896" y="134581"/>
                    </a:moveTo>
                    <a:cubicBezTo>
                      <a:pt x="2032294" y="134581"/>
                      <a:pt x="1943170" y="223722"/>
                      <a:pt x="1943170" y="333308"/>
                    </a:cubicBezTo>
                    <a:cubicBezTo>
                      <a:pt x="1943170" y="442894"/>
                      <a:pt x="2032294" y="532036"/>
                      <a:pt x="2141896" y="532036"/>
                    </a:cubicBezTo>
                    <a:cubicBezTo>
                      <a:pt x="2251478" y="532036"/>
                      <a:pt x="2340783" y="442894"/>
                      <a:pt x="2340783" y="333308"/>
                    </a:cubicBezTo>
                    <a:cubicBezTo>
                      <a:pt x="2340783" y="223722"/>
                      <a:pt x="2251478" y="134581"/>
                      <a:pt x="2141896" y="134581"/>
                    </a:cubicBezTo>
                    <a:close/>
                    <a:moveTo>
                      <a:pt x="2565111" y="120848"/>
                    </a:moveTo>
                    <a:cubicBezTo>
                      <a:pt x="2533303" y="120848"/>
                      <a:pt x="2507516" y="146637"/>
                      <a:pt x="2507516" y="178443"/>
                    </a:cubicBezTo>
                    <a:cubicBezTo>
                      <a:pt x="2507516" y="210250"/>
                      <a:pt x="2533303" y="236027"/>
                      <a:pt x="2565111" y="236027"/>
                    </a:cubicBezTo>
                    <a:cubicBezTo>
                      <a:pt x="2596906" y="236027"/>
                      <a:pt x="2622693" y="210250"/>
                      <a:pt x="2622693" y="178443"/>
                    </a:cubicBezTo>
                    <a:cubicBezTo>
                      <a:pt x="2622693" y="146637"/>
                      <a:pt x="2596906" y="120848"/>
                      <a:pt x="2565111" y="120848"/>
                    </a:cubicBezTo>
                    <a:close/>
                    <a:moveTo>
                      <a:pt x="3359683" y="119968"/>
                    </a:moveTo>
                    <a:cubicBezTo>
                      <a:pt x="3398300" y="119968"/>
                      <a:pt x="3429605" y="151266"/>
                      <a:pt x="3429605" y="189876"/>
                    </a:cubicBezTo>
                    <a:cubicBezTo>
                      <a:pt x="3429605" y="228485"/>
                      <a:pt x="3398300" y="259782"/>
                      <a:pt x="3359683" y="259782"/>
                    </a:cubicBezTo>
                    <a:cubicBezTo>
                      <a:pt x="3321066" y="259782"/>
                      <a:pt x="3289761" y="228485"/>
                      <a:pt x="3289761" y="189876"/>
                    </a:cubicBezTo>
                    <a:cubicBezTo>
                      <a:pt x="3289761" y="151266"/>
                      <a:pt x="3321066" y="119968"/>
                      <a:pt x="3359683" y="119968"/>
                    </a:cubicBezTo>
                    <a:close/>
                    <a:moveTo>
                      <a:pt x="2141896" y="114459"/>
                    </a:moveTo>
                    <a:cubicBezTo>
                      <a:pt x="2262537" y="114459"/>
                      <a:pt x="2360735" y="212659"/>
                      <a:pt x="2360735" y="333308"/>
                    </a:cubicBezTo>
                    <a:cubicBezTo>
                      <a:pt x="2360735" y="453959"/>
                      <a:pt x="2262537" y="552156"/>
                      <a:pt x="2141896" y="552156"/>
                    </a:cubicBezTo>
                    <a:cubicBezTo>
                      <a:pt x="2021235" y="552156"/>
                      <a:pt x="1923219" y="453959"/>
                      <a:pt x="1923219" y="333308"/>
                    </a:cubicBezTo>
                    <a:cubicBezTo>
                      <a:pt x="1923219" y="212659"/>
                      <a:pt x="2021235" y="114459"/>
                      <a:pt x="2141896" y="114459"/>
                    </a:cubicBezTo>
                    <a:close/>
                    <a:moveTo>
                      <a:pt x="2866971" y="103586"/>
                    </a:moveTo>
                    <a:cubicBezTo>
                      <a:pt x="2879676" y="103586"/>
                      <a:pt x="2889991" y="113901"/>
                      <a:pt x="2889991" y="126606"/>
                    </a:cubicBezTo>
                    <a:cubicBezTo>
                      <a:pt x="2889991" y="139311"/>
                      <a:pt x="2879676" y="149639"/>
                      <a:pt x="2866971" y="149639"/>
                    </a:cubicBezTo>
                    <a:cubicBezTo>
                      <a:pt x="2854267" y="149639"/>
                      <a:pt x="2843938" y="139311"/>
                      <a:pt x="2843938" y="126606"/>
                    </a:cubicBezTo>
                    <a:cubicBezTo>
                      <a:pt x="2843938" y="113901"/>
                      <a:pt x="2854267" y="103586"/>
                      <a:pt x="2866971" y="103586"/>
                    </a:cubicBezTo>
                    <a:close/>
                    <a:moveTo>
                      <a:pt x="2869515" y="74753"/>
                    </a:moveTo>
                    <a:cubicBezTo>
                      <a:pt x="2794419" y="74753"/>
                      <a:pt x="2733342" y="135788"/>
                      <a:pt x="2733342" y="210928"/>
                    </a:cubicBezTo>
                    <a:cubicBezTo>
                      <a:pt x="2733342" y="286021"/>
                      <a:pt x="2794419" y="347086"/>
                      <a:pt x="2869515" y="347086"/>
                    </a:cubicBezTo>
                    <a:cubicBezTo>
                      <a:pt x="2944639" y="347086"/>
                      <a:pt x="3005674" y="286021"/>
                      <a:pt x="3005674" y="210928"/>
                    </a:cubicBezTo>
                    <a:cubicBezTo>
                      <a:pt x="3005674" y="135788"/>
                      <a:pt x="2944639" y="74753"/>
                      <a:pt x="2869515" y="74753"/>
                    </a:cubicBezTo>
                    <a:close/>
                    <a:moveTo>
                      <a:pt x="2869515" y="60063"/>
                    </a:moveTo>
                    <a:cubicBezTo>
                      <a:pt x="2952759" y="60063"/>
                      <a:pt x="3020545" y="127683"/>
                      <a:pt x="3020545" y="210928"/>
                    </a:cubicBezTo>
                    <a:cubicBezTo>
                      <a:pt x="3020545" y="294155"/>
                      <a:pt x="2952759" y="361955"/>
                      <a:pt x="2869515" y="361955"/>
                    </a:cubicBezTo>
                    <a:cubicBezTo>
                      <a:pt x="2786285" y="361955"/>
                      <a:pt x="2718653" y="294155"/>
                      <a:pt x="2718653" y="210928"/>
                    </a:cubicBezTo>
                    <a:cubicBezTo>
                      <a:pt x="2718653" y="127683"/>
                      <a:pt x="2786285" y="60063"/>
                      <a:pt x="2869515" y="60063"/>
                    </a:cubicBezTo>
                    <a:close/>
                    <a:moveTo>
                      <a:pt x="2400210" y="0"/>
                    </a:moveTo>
                    <a:cubicBezTo>
                      <a:pt x="2410309" y="0"/>
                      <a:pt x="2418792" y="7035"/>
                      <a:pt x="2421021" y="16451"/>
                    </a:cubicBezTo>
                    <a:lnTo>
                      <a:pt x="2597301" y="75532"/>
                    </a:lnTo>
                    <a:lnTo>
                      <a:pt x="2636830" y="75532"/>
                    </a:lnTo>
                    <a:cubicBezTo>
                      <a:pt x="2650016" y="75532"/>
                      <a:pt x="2660714" y="86227"/>
                      <a:pt x="2660714" y="99420"/>
                    </a:cubicBezTo>
                    <a:lnTo>
                      <a:pt x="2660714" y="257452"/>
                    </a:lnTo>
                    <a:cubicBezTo>
                      <a:pt x="2660714" y="270648"/>
                      <a:pt x="2650016" y="281340"/>
                      <a:pt x="2636830" y="281340"/>
                    </a:cubicBezTo>
                    <a:lnTo>
                      <a:pt x="2390980" y="281340"/>
                    </a:lnTo>
                    <a:cubicBezTo>
                      <a:pt x="2377794" y="281340"/>
                      <a:pt x="2367096" y="270648"/>
                      <a:pt x="2367096" y="257452"/>
                    </a:cubicBezTo>
                    <a:lnTo>
                      <a:pt x="2367096" y="99420"/>
                    </a:lnTo>
                    <a:cubicBezTo>
                      <a:pt x="2367096" y="86227"/>
                      <a:pt x="2377794" y="75532"/>
                      <a:pt x="2390980" y="75532"/>
                    </a:cubicBezTo>
                    <a:lnTo>
                      <a:pt x="2526207" y="75532"/>
                    </a:lnTo>
                    <a:lnTo>
                      <a:pt x="2413830" y="37878"/>
                    </a:lnTo>
                    <a:cubicBezTo>
                      <a:pt x="2410119" y="40938"/>
                      <a:pt x="2405389" y="42787"/>
                      <a:pt x="2400210" y="42787"/>
                    </a:cubicBezTo>
                    <a:cubicBezTo>
                      <a:pt x="2388424" y="42787"/>
                      <a:pt x="2378814" y="33189"/>
                      <a:pt x="2378814" y="21389"/>
                    </a:cubicBezTo>
                    <a:cubicBezTo>
                      <a:pt x="2378814" y="9599"/>
                      <a:pt x="2388424" y="0"/>
                      <a:pt x="240021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grpSp>
            <p:nvGrpSpPr>
              <p:cNvPr id="31" name="íşļiḓé">
                <a:extLst>
                  <a:ext uri="{FF2B5EF4-FFF2-40B4-BE49-F238E27FC236}">
                    <a16:creationId xmlns:a16="http://schemas.microsoft.com/office/drawing/2014/main" id="{B52EF6C8-1D2E-4E7D-B893-6280143FE917}"/>
                  </a:ext>
                </a:extLst>
              </p:cNvPr>
              <p:cNvGrpSpPr/>
              <p:nvPr/>
            </p:nvGrpSpPr>
            <p:grpSpPr>
              <a:xfrm>
                <a:off x="7935800" y="3193299"/>
                <a:ext cx="2370915" cy="1394235"/>
                <a:chOff x="4648056" y="1691405"/>
                <a:chExt cx="2283884" cy="1314451"/>
              </a:xfrm>
            </p:grpSpPr>
            <p:sp>
              <p:nvSpPr>
                <p:cNvPr id="32" name="ïṧḻíḑe">
                  <a:extLst>
                    <a:ext uri="{FF2B5EF4-FFF2-40B4-BE49-F238E27FC236}">
                      <a16:creationId xmlns:a16="http://schemas.microsoft.com/office/drawing/2014/main" id="{B67856D0-F2B6-4EB0-8579-AADF52DE465A}"/>
                    </a:ext>
                  </a:extLst>
                </p:cNvPr>
                <p:cNvSpPr/>
                <p:nvPr/>
              </p:nvSpPr>
              <p:spPr bwMode="auto">
                <a:xfrm>
                  <a:off x="5518006" y="1708338"/>
                  <a:ext cx="1413934" cy="1297518"/>
                </a:xfrm>
                <a:custGeom>
                  <a:avLst/>
                  <a:gdLst/>
                  <a:ahLst/>
                  <a:cxnLst>
                    <a:cxn ang="0">
                      <a:pos x="668" y="44"/>
                    </a:cxn>
                    <a:cxn ang="0">
                      <a:pos x="29" y="613"/>
                    </a:cxn>
                    <a:cxn ang="0">
                      <a:pos x="0" y="563"/>
                    </a:cxn>
                    <a:cxn ang="0">
                      <a:pos x="645" y="0"/>
                    </a:cxn>
                    <a:cxn ang="0">
                      <a:pos x="668" y="44"/>
                    </a:cxn>
                  </a:cxnLst>
                  <a:rect l="0" t="0" r="r" b="b"/>
                  <a:pathLst>
                    <a:path w="668" h="613">
                      <a:moveTo>
                        <a:pt x="668" y="44"/>
                      </a:moveTo>
                      <a:lnTo>
                        <a:pt x="29" y="613"/>
                      </a:lnTo>
                      <a:lnTo>
                        <a:pt x="0" y="563"/>
                      </a:lnTo>
                      <a:lnTo>
                        <a:pt x="645" y="0"/>
                      </a:lnTo>
                      <a:lnTo>
                        <a:pt x="668" y="4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3" name="íṩļïḋè">
                  <a:extLst>
                    <a:ext uri="{FF2B5EF4-FFF2-40B4-BE49-F238E27FC236}">
                      <a16:creationId xmlns:a16="http://schemas.microsoft.com/office/drawing/2014/main" id="{82732E0C-4A2A-4649-8C1B-C81C9423E53B}"/>
                    </a:ext>
                  </a:extLst>
                </p:cNvPr>
                <p:cNvSpPr/>
                <p:nvPr/>
              </p:nvSpPr>
              <p:spPr bwMode="auto">
                <a:xfrm>
                  <a:off x="4648056" y="1691405"/>
                  <a:ext cx="2235201" cy="1208618"/>
                </a:xfrm>
                <a:custGeom>
                  <a:avLst/>
                  <a:gdLst/>
                  <a:ahLst/>
                  <a:cxnLst>
                    <a:cxn ang="0">
                      <a:pos x="565" y="0"/>
                    </a:cxn>
                    <a:cxn ang="0">
                      <a:pos x="1056" y="8"/>
                    </a:cxn>
                    <a:cxn ang="0">
                      <a:pos x="411" y="571"/>
                    </a:cxn>
                    <a:cxn ang="0">
                      <a:pos x="0" y="463"/>
                    </a:cxn>
                    <a:cxn ang="0">
                      <a:pos x="565" y="0"/>
                    </a:cxn>
                  </a:cxnLst>
                  <a:rect l="0" t="0" r="r" b="b"/>
                  <a:pathLst>
                    <a:path w="1056" h="571">
                      <a:moveTo>
                        <a:pt x="565" y="0"/>
                      </a:moveTo>
                      <a:lnTo>
                        <a:pt x="1056" y="8"/>
                      </a:lnTo>
                      <a:lnTo>
                        <a:pt x="411" y="571"/>
                      </a:lnTo>
                      <a:lnTo>
                        <a:pt x="0" y="463"/>
                      </a:lnTo>
                      <a:lnTo>
                        <a:pt x="565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iṥļîdé">
                  <a:extLst>
                    <a:ext uri="{FF2B5EF4-FFF2-40B4-BE49-F238E27FC236}">
                      <a16:creationId xmlns:a16="http://schemas.microsoft.com/office/drawing/2014/main" id="{F0C18F68-46FF-4FEE-839B-22801AB1B75D}"/>
                    </a:ext>
                  </a:extLst>
                </p:cNvPr>
                <p:cNvSpPr/>
                <p:nvPr/>
              </p:nvSpPr>
              <p:spPr bwMode="auto">
                <a:xfrm>
                  <a:off x="4648056" y="2671423"/>
                  <a:ext cx="931334" cy="334433"/>
                </a:xfrm>
                <a:custGeom>
                  <a:avLst/>
                  <a:gdLst/>
                  <a:ahLst/>
                  <a:cxnLst>
                    <a:cxn ang="0">
                      <a:pos x="411" y="108"/>
                    </a:cxn>
                    <a:cxn ang="0">
                      <a:pos x="440" y="158"/>
                    </a:cxn>
                    <a:cxn ang="0">
                      <a:pos x="30" y="49"/>
                    </a:cxn>
                    <a:cxn ang="0">
                      <a:pos x="0" y="0"/>
                    </a:cxn>
                    <a:cxn ang="0">
                      <a:pos x="411" y="108"/>
                    </a:cxn>
                  </a:cxnLst>
                  <a:rect l="0" t="0" r="r" b="b"/>
                  <a:pathLst>
                    <a:path w="440" h="158">
                      <a:moveTo>
                        <a:pt x="411" y="108"/>
                      </a:moveTo>
                      <a:lnTo>
                        <a:pt x="440" y="158"/>
                      </a:lnTo>
                      <a:lnTo>
                        <a:pt x="30" y="49"/>
                      </a:lnTo>
                      <a:lnTo>
                        <a:pt x="0" y="0"/>
                      </a:lnTo>
                      <a:lnTo>
                        <a:pt x="411" y="108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</p:grpSp>
        <p:sp>
          <p:nvSpPr>
            <p:cNvPr id="7" name="işlídê">
              <a:extLst>
                <a:ext uri="{FF2B5EF4-FFF2-40B4-BE49-F238E27FC236}">
                  <a16:creationId xmlns:a16="http://schemas.microsoft.com/office/drawing/2014/main" id="{6905035F-727E-4D01-8278-5E981F504001}"/>
                </a:ext>
              </a:extLst>
            </p:cNvPr>
            <p:cNvSpPr/>
            <p:nvPr/>
          </p:nvSpPr>
          <p:spPr>
            <a:xfrm>
              <a:off x="8911645" y="5541645"/>
              <a:ext cx="2426842" cy="444672"/>
            </a:xfrm>
            <a:prstGeom prst="ribbon2">
              <a:avLst>
                <a:gd name="adj1" fmla="val 16667"/>
                <a:gd name="adj2" fmla="val 5628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1400" b="1" i="1" dirty="0"/>
                <a:t>Text</a:t>
              </a:r>
              <a:endParaRPr lang="zh-CN" altLang="en-US" sz="1400" b="1" i="1" dirty="0"/>
            </a:p>
          </p:txBody>
        </p:sp>
        <p:sp>
          <p:nvSpPr>
            <p:cNvPr id="8" name="ísļïḑè">
              <a:extLst>
                <a:ext uri="{FF2B5EF4-FFF2-40B4-BE49-F238E27FC236}">
                  <a16:creationId xmlns:a16="http://schemas.microsoft.com/office/drawing/2014/main" id="{479265C8-4979-4C4E-9EF4-6ED1C4ED1D0D}"/>
                </a:ext>
              </a:extLst>
            </p:cNvPr>
            <p:cNvSpPr txBox="1"/>
            <p:nvPr/>
          </p:nvSpPr>
          <p:spPr>
            <a:xfrm>
              <a:off x="673102" y="1546798"/>
              <a:ext cx="5206875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sp>
          <p:nvSpPr>
            <p:cNvPr id="9" name="îşľïḓè">
              <a:extLst>
                <a:ext uri="{FF2B5EF4-FFF2-40B4-BE49-F238E27FC236}">
                  <a16:creationId xmlns:a16="http://schemas.microsoft.com/office/drawing/2014/main" id="{7063782A-8A4B-4C74-B7BB-7A9B1AAC816C}"/>
                </a:ext>
              </a:extLst>
            </p:cNvPr>
            <p:cNvSpPr txBox="1"/>
            <p:nvPr/>
          </p:nvSpPr>
          <p:spPr>
            <a:xfrm>
              <a:off x="673101" y="2398959"/>
              <a:ext cx="5206876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7A8AFA08-3B19-4215-9457-9FCD974B5956}"/>
                </a:ext>
              </a:extLst>
            </p:cNvPr>
            <p:cNvCxnSpPr/>
            <p:nvPr/>
          </p:nvCxnSpPr>
          <p:spPr>
            <a:xfrm>
              <a:off x="669925" y="3558050"/>
              <a:ext cx="654568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iŝliḓè">
              <a:extLst>
                <a:ext uri="{FF2B5EF4-FFF2-40B4-BE49-F238E27FC236}">
                  <a16:creationId xmlns:a16="http://schemas.microsoft.com/office/drawing/2014/main" id="{61669C3B-1BC0-4DB3-AEF1-CD9A450D5B93}"/>
                </a:ext>
              </a:extLst>
            </p:cNvPr>
            <p:cNvGrpSpPr/>
            <p:nvPr/>
          </p:nvGrpSpPr>
          <p:grpSpPr>
            <a:xfrm>
              <a:off x="673100" y="5087376"/>
              <a:ext cx="2114322" cy="908538"/>
              <a:chOff x="-342900" y="4659981"/>
              <a:chExt cx="2195910" cy="908538"/>
            </a:xfrm>
          </p:grpSpPr>
          <p:sp>
            <p:nvSpPr>
              <p:cNvPr id="23" name="ïŝlîḍe">
                <a:extLst>
                  <a:ext uri="{FF2B5EF4-FFF2-40B4-BE49-F238E27FC236}">
                    <a16:creationId xmlns:a16="http://schemas.microsoft.com/office/drawing/2014/main" id="{51B1D9C9-8CF6-48DD-991D-2FC258E75AED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24" name="išľîḓe">
                <a:extLst>
                  <a:ext uri="{FF2B5EF4-FFF2-40B4-BE49-F238E27FC236}">
                    <a16:creationId xmlns:a16="http://schemas.microsoft.com/office/drawing/2014/main" id="{0FB69319-B8BD-477F-ADCD-0AC60725427D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  <p:grpSp>
          <p:nvGrpSpPr>
            <p:cNvPr id="12" name="iṩľîḓè">
              <a:extLst>
                <a:ext uri="{FF2B5EF4-FFF2-40B4-BE49-F238E27FC236}">
                  <a16:creationId xmlns:a16="http://schemas.microsoft.com/office/drawing/2014/main" id="{6DADBBB6-D0B3-4E9D-9594-05D4C84A916B}"/>
                </a:ext>
              </a:extLst>
            </p:cNvPr>
            <p:cNvGrpSpPr/>
            <p:nvPr/>
          </p:nvGrpSpPr>
          <p:grpSpPr>
            <a:xfrm>
              <a:off x="3108211" y="5087376"/>
              <a:ext cx="2114322" cy="908538"/>
              <a:chOff x="-342900" y="4659981"/>
              <a:chExt cx="2195910" cy="908538"/>
            </a:xfrm>
          </p:grpSpPr>
          <p:sp>
            <p:nvSpPr>
              <p:cNvPr id="21" name="ïSļíďé">
                <a:extLst>
                  <a:ext uri="{FF2B5EF4-FFF2-40B4-BE49-F238E27FC236}">
                    <a16:creationId xmlns:a16="http://schemas.microsoft.com/office/drawing/2014/main" id="{A016E7F3-EA23-45E0-AA62-B13D8EF6DBD7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22" name="îṣḷidé">
                <a:extLst>
                  <a:ext uri="{FF2B5EF4-FFF2-40B4-BE49-F238E27FC236}">
                    <a16:creationId xmlns:a16="http://schemas.microsoft.com/office/drawing/2014/main" id="{14E9A2AF-3BB3-4805-ACC0-33E60858FB91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  <p:grpSp>
          <p:nvGrpSpPr>
            <p:cNvPr id="13" name="işľiḑe">
              <a:extLst>
                <a:ext uri="{FF2B5EF4-FFF2-40B4-BE49-F238E27FC236}">
                  <a16:creationId xmlns:a16="http://schemas.microsoft.com/office/drawing/2014/main" id="{376654CC-2567-4ABC-AFD0-61727BBC3254}"/>
                </a:ext>
              </a:extLst>
            </p:cNvPr>
            <p:cNvGrpSpPr/>
            <p:nvPr/>
          </p:nvGrpSpPr>
          <p:grpSpPr>
            <a:xfrm>
              <a:off x="5543322" y="5087376"/>
              <a:ext cx="2114322" cy="908538"/>
              <a:chOff x="-342900" y="4659981"/>
              <a:chExt cx="2195910" cy="908538"/>
            </a:xfrm>
          </p:grpSpPr>
          <p:sp>
            <p:nvSpPr>
              <p:cNvPr id="19" name="îṩḷíḋè">
                <a:extLst>
                  <a:ext uri="{FF2B5EF4-FFF2-40B4-BE49-F238E27FC236}">
                    <a16:creationId xmlns:a16="http://schemas.microsoft.com/office/drawing/2014/main" id="{BA101264-7B62-44C3-9F52-A7354B4C2300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20" name="i$ḻiḓè">
                <a:extLst>
                  <a:ext uri="{FF2B5EF4-FFF2-40B4-BE49-F238E27FC236}">
                    <a16:creationId xmlns:a16="http://schemas.microsoft.com/office/drawing/2014/main" id="{DF87591C-74DE-4A45-B072-C43E448EA6EC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  <p:sp>
          <p:nvSpPr>
            <p:cNvPr id="14" name="íṩļiḋe">
              <a:extLst>
                <a:ext uri="{FF2B5EF4-FFF2-40B4-BE49-F238E27FC236}">
                  <a16:creationId xmlns:a16="http://schemas.microsoft.com/office/drawing/2014/main" id="{916B9BA8-C9AB-4DA4-B7DD-359001AA4F8E}"/>
                </a:ext>
              </a:extLst>
            </p:cNvPr>
            <p:cNvSpPr/>
            <p:nvPr/>
          </p:nvSpPr>
          <p:spPr bwMode="auto">
            <a:xfrm>
              <a:off x="1551349" y="4601949"/>
              <a:ext cx="357824" cy="309873"/>
            </a:xfrm>
            <a:custGeom>
              <a:avLst/>
              <a:gdLst>
                <a:gd name="connsiteX0" fmla="*/ 332825 w 599014"/>
                <a:gd name="connsiteY0" fmla="*/ 323318 h 518742"/>
                <a:gd name="connsiteX1" fmla="*/ 480885 w 599014"/>
                <a:gd name="connsiteY1" fmla="*/ 323318 h 518742"/>
                <a:gd name="connsiteX2" fmla="*/ 508708 w 599014"/>
                <a:gd name="connsiteY2" fmla="*/ 351111 h 518742"/>
                <a:gd name="connsiteX3" fmla="*/ 480885 w 599014"/>
                <a:gd name="connsiteY3" fmla="*/ 378903 h 518742"/>
                <a:gd name="connsiteX4" fmla="*/ 332825 w 599014"/>
                <a:gd name="connsiteY4" fmla="*/ 378903 h 518742"/>
                <a:gd name="connsiteX5" fmla="*/ 305002 w 599014"/>
                <a:gd name="connsiteY5" fmla="*/ 351111 h 518742"/>
                <a:gd name="connsiteX6" fmla="*/ 332825 w 599014"/>
                <a:gd name="connsiteY6" fmla="*/ 323318 h 518742"/>
                <a:gd name="connsiteX7" fmla="*/ 332825 w 599014"/>
                <a:gd name="connsiteY7" fmla="*/ 230145 h 518742"/>
                <a:gd name="connsiteX8" fmla="*/ 480885 w 599014"/>
                <a:gd name="connsiteY8" fmla="*/ 230145 h 518742"/>
                <a:gd name="connsiteX9" fmla="*/ 508708 w 599014"/>
                <a:gd name="connsiteY9" fmla="*/ 257937 h 518742"/>
                <a:gd name="connsiteX10" fmla="*/ 480885 w 599014"/>
                <a:gd name="connsiteY10" fmla="*/ 285730 h 518742"/>
                <a:gd name="connsiteX11" fmla="*/ 332825 w 599014"/>
                <a:gd name="connsiteY11" fmla="*/ 285730 h 518742"/>
                <a:gd name="connsiteX12" fmla="*/ 305002 w 599014"/>
                <a:gd name="connsiteY12" fmla="*/ 257937 h 518742"/>
                <a:gd name="connsiteX13" fmla="*/ 332825 w 599014"/>
                <a:gd name="connsiteY13" fmla="*/ 230145 h 518742"/>
                <a:gd name="connsiteX14" fmla="*/ 24843 w 599014"/>
                <a:gd name="connsiteY14" fmla="*/ 151784 h 518742"/>
                <a:gd name="connsiteX15" fmla="*/ 183839 w 599014"/>
                <a:gd name="connsiteY15" fmla="*/ 151784 h 518742"/>
                <a:gd name="connsiteX16" fmla="*/ 207688 w 599014"/>
                <a:gd name="connsiteY16" fmla="*/ 176583 h 518742"/>
                <a:gd name="connsiteX17" fmla="*/ 207688 w 599014"/>
                <a:gd name="connsiteY17" fmla="*/ 329348 h 518742"/>
                <a:gd name="connsiteX18" fmla="*/ 182845 w 599014"/>
                <a:gd name="connsiteY18" fmla="*/ 354147 h 518742"/>
                <a:gd name="connsiteX19" fmla="*/ 163964 w 599014"/>
                <a:gd name="connsiteY19" fmla="*/ 344227 h 518742"/>
                <a:gd name="connsiteX20" fmla="*/ 155021 w 599014"/>
                <a:gd name="connsiteY20" fmla="*/ 494016 h 518742"/>
                <a:gd name="connsiteX21" fmla="*/ 129184 w 599014"/>
                <a:gd name="connsiteY21" fmla="*/ 516831 h 518742"/>
                <a:gd name="connsiteX22" fmla="*/ 78504 w 599014"/>
                <a:gd name="connsiteY22" fmla="*/ 516831 h 518742"/>
                <a:gd name="connsiteX23" fmla="*/ 53661 w 599014"/>
                <a:gd name="connsiteY23" fmla="*/ 494016 h 518742"/>
                <a:gd name="connsiteX24" fmla="*/ 43724 w 599014"/>
                <a:gd name="connsiteY24" fmla="*/ 345219 h 518742"/>
                <a:gd name="connsiteX25" fmla="*/ 24843 w 599014"/>
                <a:gd name="connsiteY25" fmla="*/ 354147 h 518742"/>
                <a:gd name="connsiteX26" fmla="*/ 994 w 599014"/>
                <a:gd name="connsiteY26" fmla="*/ 329348 h 518742"/>
                <a:gd name="connsiteX27" fmla="*/ 0 w 599014"/>
                <a:gd name="connsiteY27" fmla="*/ 176583 h 518742"/>
                <a:gd name="connsiteX28" fmla="*/ 24843 w 599014"/>
                <a:gd name="connsiteY28" fmla="*/ 151784 h 518742"/>
                <a:gd name="connsiteX29" fmla="*/ 332825 w 599014"/>
                <a:gd name="connsiteY29" fmla="*/ 137928 h 518742"/>
                <a:gd name="connsiteX30" fmla="*/ 480885 w 599014"/>
                <a:gd name="connsiteY30" fmla="*/ 137928 h 518742"/>
                <a:gd name="connsiteX31" fmla="*/ 508708 w 599014"/>
                <a:gd name="connsiteY31" fmla="*/ 165721 h 518742"/>
                <a:gd name="connsiteX32" fmla="*/ 480885 w 599014"/>
                <a:gd name="connsiteY32" fmla="*/ 193513 h 518742"/>
                <a:gd name="connsiteX33" fmla="*/ 332825 w 599014"/>
                <a:gd name="connsiteY33" fmla="*/ 193513 h 518742"/>
                <a:gd name="connsiteX34" fmla="*/ 305002 w 599014"/>
                <a:gd name="connsiteY34" fmla="*/ 165721 h 518742"/>
                <a:gd name="connsiteX35" fmla="*/ 332825 w 599014"/>
                <a:gd name="connsiteY35" fmla="*/ 137928 h 518742"/>
                <a:gd name="connsiteX36" fmla="*/ 347698 w 599014"/>
                <a:gd name="connsiteY36" fmla="*/ 55512 h 518742"/>
                <a:gd name="connsiteX37" fmla="*/ 347698 w 599014"/>
                <a:gd name="connsiteY37" fmla="*/ 61464 h 518742"/>
                <a:gd name="connsiteX38" fmla="*/ 283131 w 599014"/>
                <a:gd name="connsiteY38" fmla="*/ 124947 h 518742"/>
                <a:gd name="connsiteX39" fmla="*/ 276178 w 599014"/>
                <a:gd name="connsiteY39" fmla="*/ 124947 h 518742"/>
                <a:gd name="connsiteX40" fmla="*/ 276178 w 599014"/>
                <a:gd name="connsiteY40" fmla="*/ 456251 h 518742"/>
                <a:gd name="connsiteX41" fmla="*/ 283131 w 599014"/>
                <a:gd name="connsiteY41" fmla="*/ 463194 h 518742"/>
                <a:gd name="connsiteX42" fmla="*/ 536433 w 599014"/>
                <a:gd name="connsiteY42" fmla="*/ 463194 h 518742"/>
                <a:gd name="connsiteX43" fmla="*/ 543387 w 599014"/>
                <a:gd name="connsiteY43" fmla="*/ 456251 h 518742"/>
                <a:gd name="connsiteX44" fmla="*/ 542394 w 599014"/>
                <a:gd name="connsiteY44" fmla="*/ 62455 h 518742"/>
                <a:gd name="connsiteX45" fmla="*/ 536433 w 599014"/>
                <a:gd name="connsiteY45" fmla="*/ 55512 h 518742"/>
                <a:gd name="connsiteX46" fmla="*/ 337765 w 599014"/>
                <a:gd name="connsiteY46" fmla="*/ 956 h 518742"/>
                <a:gd name="connsiteX47" fmla="*/ 537427 w 599014"/>
                <a:gd name="connsiteY47" fmla="*/ 956 h 518742"/>
                <a:gd name="connsiteX48" fmla="*/ 599014 w 599014"/>
                <a:gd name="connsiteY48" fmla="*/ 62455 h 518742"/>
                <a:gd name="connsiteX49" fmla="*/ 599014 w 599014"/>
                <a:gd name="connsiteY49" fmla="*/ 456251 h 518742"/>
                <a:gd name="connsiteX50" fmla="*/ 537427 w 599014"/>
                <a:gd name="connsiteY50" fmla="*/ 518742 h 518742"/>
                <a:gd name="connsiteX51" fmla="*/ 283131 w 599014"/>
                <a:gd name="connsiteY51" fmla="*/ 518742 h 518742"/>
                <a:gd name="connsiteX52" fmla="*/ 221544 w 599014"/>
                <a:gd name="connsiteY52" fmla="*/ 456251 h 518742"/>
                <a:gd name="connsiteX53" fmla="*/ 221544 w 599014"/>
                <a:gd name="connsiteY53" fmla="*/ 117011 h 518742"/>
                <a:gd name="connsiteX54" fmla="*/ 237437 w 599014"/>
                <a:gd name="connsiteY54" fmla="*/ 79318 h 518742"/>
                <a:gd name="connsiteX55" fmla="*/ 298031 w 599014"/>
                <a:gd name="connsiteY55" fmla="*/ 17819 h 518742"/>
                <a:gd name="connsiteX56" fmla="*/ 301011 w 599014"/>
                <a:gd name="connsiteY56" fmla="*/ 15835 h 518742"/>
                <a:gd name="connsiteX57" fmla="*/ 337765 w 599014"/>
                <a:gd name="connsiteY57" fmla="*/ 956 h 518742"/>
                <a:gd name="connsiteX58" fmla="*/ 104322 w 599014"/>
                <a:gd name="connsiteY58" fmla="*/ 0 h 518742"/>
                <a:gd name="connsiteX59" fmla="*/ 171853 w 599014"/>
                <a:gd name="connsiteY59" fmla="*/ 67929 h 518742"/>
                <a:gd name="connsiteX60" fmla="*/ 104322 w 599014"/>
                <a:gd name="connsiteY60" fmla="*/ 135858 h 518742"/>
                <a:gd name="connsiteX61" fmla="*/ 36791 w 599014"/>
                <a:gd name="connsiteY61" fmla="*/ 67929 h 518742"/>
                <a:gd name="connsiteX62" fmla="*/ 104322 w 599014"/>
                <a:gd name="connsiteY62" fmla="*/ 0 h 51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599014" h="518742">
                  <a:moveTo>
                    <a:pt x="332825" y="323318"/>
                  </a:moveTo>
                  <a:lnTo>
                    <a:pt x="480885" y="323318"/>
                  </a:lnTo>
                  <a:cubicBezTo>
                    <a:pt x="495790" y="323318"/>
                    <a:pt x="507714" y="335229"/>
                    <a:pt x="508708" y="351111"/>
                  </a:cubicBezTo>
                  <a:cubicBezTo>
                    <a:pt x="508708" y="365999"/>
                    <a:pt x="495790" y="378903"/>
                    <a:pt x="480885" y="378903"/>
                  </a:cubicBezTo>
                  <a:lnTo>
                    <a:pt x="332825" y="378903"/>
                  </a:lnTo>
                  <a:cubicBezTo>
                    <a:pt x="317920" y="378903"/>
                    <a:pt x="305002" y="365999"/>
                    <a:pt x="305002" y="351111"/>
                  </a:cubicBezTo>
                  <a:cubicBezTo>
                    <a:pt x="305002" y="335229"/>
                    <a:pt x="317920" y="323318"/>
                    <a:pt x="332825" y="323318"/>
                  </a:cubicBezTo>
                  <a:close/>
                  <a:moveTo>
                    <a:pt x="332825" y="230145"/>
                  </a:moveTo>
                  <a:lnTo>
                    <a:pt x="480885" y="230145"/>
                  </a:lnTo>
                  <a:cubicBezTo>
                    <a:pt x="495790" y="230145"/>
                    <a:pt x="508708" y="243049"/>
                    <a:pt x="508708" y="257937"/>
                  </a:cubicBezTo>
                  <a:cubicBezTo>
                    <a:pt x="508708" y="273819"/>
                    <a:pt x="495790" y="285730"/>
                    <a:pt x="480885" y="285730"/>
                  </a:cubicBezTo>
                  <a:lnTo>
                    <a:pt x="332825" y="285730"/>
                  </a:lnTo>
                  <a:cubicBezTo>
                    <a:pt x="317920" y="285730"/>
                    <a:pt x="305002" y="273819"/>
                    <a:pt x="305002" y="257937"/>
                  </a:cubicBezTo>
                  <a:cubicBezTo>
                    <a:pt x="305002" y="243049"/>
                    <a:pt x="317920" y="230145"/>
                    <a:pt x="332825" y="230145"/>
                  </a:cubicBezTo>
                  <a:close/>
                  <a:moveTo>
                    <a:pt x="24843" y="151784"/>
                  </a:moveTo>
                  <a:cubicBezTo>
                    <a:pt x="34780" y="151784"/>
                    <a:pt x="183839" y="151784"/>
                    <a:pt x="183839" y="151784"/>
                  </a:cubicBezTo>
                  <a:cubicBezTo>
                    <a:pt x="196757" y="151784"/>
                    <a:pt x="207688" y="163688"/>
                    <a:pt x="207688" y="176583"/>
                  </a:cubicBezTo>
                  <a:lnTo>
                    <a:pt x="207688" y="329348"/>
                  </a:lnTo>
                  <a:cubicBezTo>
                    <a:pt x="207688" y="342243"/>
                    <a:pt x="196757" y="354147"/>
                    <a:pt x="182845" y="354147"/>
                  </a:cubicBezTo>
                  <a:cubicBezTo>
                    <a:pt x="175889" y="354147"/>
                    <a:pt x="168933" y="350179"/>
                    <a:pt x="163964" y="344227"/>
                  </a:cubicBezTo>
                  <a:lnTo>
                    <a:pt x="155021" y="494016"/>
                  </a:lnTo>
                  <a:cubicBezTo>
                    <a:pt x="154027" y="506911"/>
                    <a:pt x="143096" y="516831"/>
                    <a:pt x="129184" y="516831"/>
                  </a:cubicBezTo>
                  <a:lnTo>
                    <a:pt x="78504" y="516831"/>
                  </a:lnTo>
                  <a:cubicBezTo>
                    <a:pt x="65586" y="516831"/>
                    <a:pt x="54655" y="506911"/>
                    <a:pt x="53661" y="494016"/>
                  </a:cubicBezTo>
                  <a:lnTo>
                    <a:pt x="43724" y="345219"/>
                  </a:lnTo>
                  <a:cubicBezTo>
                    <a:pt x="39749" y="350179"/>
                    <a:pt x="32793" y="354147"/>
                    <a:pt x="24843" y="354147"/>
                  </a:cubicBezTo>
                  <a:cubicBezTo>
                    <a:pt x="11925" y="354147"/>
                    <a:pt x="994" y="343235"/>
                    <a:pt x="994" y="329348"/>
                  </a:cubicBezTo>
                  <a:lnTo>
                    <a:pt x="0" y="176583"/>
                  </a:lnTo>
                  <a:cubicBezTo>
                    <a:pt x="0" y="162696"/>
                    <a:pt x="10931" y="151784"/>
                    <a:pt x="24843" y="151784"/>
                  </a:cubicBezTo>
                  <a:close/>
                  <a:moveTo>
                    <a:pt x="332825" y="137928"/>
                  </a:moveTo>
                  <a:lnTo>
                    <a:pt x="480885" y="137928"/>
                  </a:lnTo>
                  <a:cubicBezTo>
                    <a:pt x="495790" y="137928"/>
                    <a:pt x="508708" y="149839"/>
                    <a:pt x="508708" y="165721"/>
                  </a:cubicBezTo>
                  <a:cubicBezTo>
                    <a:pt x="508708" y="180609"/>
                    <a:pt x="495790" y="193513"/>
                    <a:pt x="480885" y="193513"/>
                  </a:cubicBezTo>
                  <a:lnTo>
                    <a:pt x="332825" y="193513"/>
                  </a:lnTo>
                  <a:cubicBezTo>
                    <a:pt x="317920" y="193513"/>
                    <a:pt x="305002" y="180609"/>
                    <a:pt x="305002" y="165721"/>
                  </a:cubicBezTo>
                  <a:cubicBezTo>
                    <a:pt x="305002" y="149839"/>
                    <a:pt x="317920" y="137928"/>
                    <a:pt x="332825" y="137928"/>
                  </a:cubicBezTo>
                  <a:close/>
                  <a:moveTo>
                    <a:pt x="347698" y="55512"/>
                  </a:moveTo>
                  <a:lnTo>
                    <a:pt x="347698" y="61464"/>
                  </a:lnTo>
                  <a:cubicBezTo>
                    <a:pt x="347698" y="96181"/>
                    <a:pt x="318892" y="124947"/>
                    <a:pt x="283131" y="124947"/>
                  </a:cubicBezTo>
                  <a:lnTo>
                    <a:pt x="276178" y="124947"/>
                  </a:lnTo>
                  <a:lnTo>
                    <a:pt x="276178" y="456251"/>
                  </a:lnTo>
                  <a:cubicBezTo>
                    <a:pt x="276178" y="460218"/>
                    <a:pt x="279158" y="463194"/>
                    <a:pt x="283131" y="463194"/>
                  </a:cubicBezTo>
                  <a:lnTo>
                    <a:pt x="536433" y="463194"/>
                  </a:lnTo>
                  <a:cubicBezTo>
                    <a:pt x="540407" y="463194"/>
                    <a:pt x="543387" y="460218"/>
                    <a:pt x="543387" y="456251"/>
                  </a:cubicBezTo>
                  <a:lnTo>
                    <a:pt x="542394" y="62455"/>
                  </a:lnTo>
                  <a:cubicBezTo>
                    <a:pt x="542394" y="58488"/>
                    <a:pt x="540407" y="55512"/>
                    <a:pt x="536433" y="55512"/>
                  </a:cubicBezTo>
                  <a:close/>
                  <a:moveTo>
                    <a:pt x="337765" y="956"/>
                  </a:moveTo>
                  <a:lnTo>
                    <a:pt x="537427" y="956"/>
                  </a:lnTo>
                  <a:cubicBezTo>
                    <a:pt x="571200" y="956"/>
                    <a:pt x="599014" y="27738"/>
                    <a:pt x="599014" y="62455"/>
                  </a:cubicBezTo>
                  <a:lnTo>
                    <a:pt x="599014" y="456251"/>
                  </a:lnTo>
                  <a:cubicBezTo>
                    <a:pt x="599014" y="489976"/>
                    <a:pt x="571200" y="518742"/>
                    <a:pt x="537427" y="518742"/>
                  </a:cubicBezTo>
                  <a:lnTo>
                    <a:pt x="283131" y="518742"/>
                  </a:lnTo>
                  <a:cubicBezTo>
                    <a:pt x="249358" y="518742"/>
                    <a:pt x="221544" y="489976"/>
                    <a:pt x="221544" y="456251"/>
                  </a:cubicBezTo>
                  <a:lnTo>
                    <a:pt x="221544" y="117011"/>
                  </a:lnTo>
                  <a:cubicBezTo>
                    <a:pt x="221544" y="103125"/>
                    <a:pt x="226511" y="89238"/>
                    <a:pt x="237437" y="79318"/>
                  </a:cubicBezTo>
                  <a:cubicBezTo>
                    <a:pt x="257304" y="58488"/>
                    <a:pt x="278164" y="38649"/>
                    <a:pt x="298031" y="17819"/>
                  </a:cubicBezTo>
                  <a:cubicBezTo>
                    <a:pt x="298031" y="17819"/>
                    <a:pt x="299025" y="16827"/>
                    <a:pt x="301011" y="15835"/>
                  </a:cubicBezTo>
                  <a:cubicBezTo>
                    <a:pt x="310945" y="5916"/>
                    <a:pt x="323858" y="956"/>
                    <a:pt x="337765" y="956"/>
                  </a:cubicBezTo>
                  <a:close/>
                  <a:moveTo>
                    <a:pt x="104322" y="0"/>
                  </a:moveTo>
                  <a:cubicBezTo>
                    <a:pt x="141618" y="0"/>
                    <a:pt x="171853" y="30413"/>
                    <a:pt x="171853" y="67929"/>
                  </a:cubicBezTo>
                  <a:cubicBezTo>
                    <a:pt x="171853" y="105445"/>
                    <a:pt x="141618" y="135858"/>
                    <a:pt x="104322" y="135858"/>
                  </a:cubicBezTo>
                  <a:cubicBezTo>
                    <a:pt x="67026" y="135858"/>
                    <a:pt x="36791" y="105445"/>
                    <a:pt x="36791" y="67929"/>
                  </a:cubicBezTo>
                  <a:cubicBezTo>
                    <a:pt x="36791" y="30413"/>
                    <a:pt x="67026" y="0"/>
                    <a:pt x="104322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5" name="íṣľîďé">
              <a:extLst>
                <a:ext uri="{FF2B5EF4-FFF2-40B4-BE49-F238E27FC236}">
                  <a16:creationId xmlns:a16="http://schemas.microsoft.com/office/drawing/2014/main" id="{8938CBCD-830A-467B-8231-B9021A48D280}"/>
                </a:ext>
              </a:extLst>
            </p:cNvPr>
            <p:cNvSpPr/>
            <p:nvPr/>
          </p:nvSpPr>
          <p:spPr bwMode="auto">
            <a:xfrm>
              <a:off x="4003406" y="4577973"/>
              <a:ext cx="323933" cy="357824"/>
            </a:xfrm>
            <a:custGeom>
              <a:avLst/>
              <a:gdLst>
                <a:gd name="connsiteX0" fmla="*/ 485820 w 551045"/>
                <a:gd name="connsiteY0" fmla="*/ 430096 h 608697"/>
                <a:gd name="connsiteX1" fmla="*/ 550987 w 551045"/>
                <a:gd name="connsiteY1" fmla="*/ 492317 h 608697"/>
                <a:gd name="connsiteX2" fmla="*/ 551045 w 551045"/>
                <a:gd name="connsiteY2" fmla="*/ 492490 h 608697"/>
                <a:gd name="connsiteX3" fmla="*/ 550987 w 551045"/>
                <a:gd name="connsiteY3" fmla="*/ 493813 h 608697"/>
                <a:gd name="connsiteX4" fmla="*/ 551045 w 551045"/>
                <a:gd name="connsiteY4" fmla="*/ 495193 h 608697"/>
                <a:gd name="connsiteX5" fmla="*/ 485820 w 551045"/>
                <a:gd name="connsiteY5" fmla="*/ 560289 h 608697"/>
                <a:gd name="connsiteX6" fmla="*/ 421862 w 551045"/>
                <a:gd name="connsiteY6" fmla="*/ 507902 h 608697"/>
                <a:gd name="connsiteX7" fmla="*/ 420134 w 551045"/>
                <a:gd name="connsiteY7" fmla="*/ 494560 h 608697"/>
                <a:gd name="connsiteX8" fmla="*/ 422611 w 551045"/>
                <a:gd name="connsiteY8" fmla="*/ 479034 h 608697"/>
                <a:gd name="connsiteX9" fmla="*/ 485820 w 551045"/>
                <a:gd name="connsiteY9" fmla="*/ 430096 h 608697"/>
                <a:gd name="connsiteX10" fmla="*/ 485137 w 551045"/>
                <a:gd name="connsiteY10" fmla="*/ 236253 h 608697"/>
                <a:gd name="connsiteX11" fmla="*/ 551045 w 551045"/>
                <a:gd name="connsiteY11" fmla="*/ 302055 h 608697"/>
                <a:gd name="connsiteX12" fmla="*/ 485137 w 551045"/>
                <a:gd name="connsiteY12" fmla="*/ 367857 h 608697"/>
                <a:gd name="connsiteX13" fmla="*/ 419229 w 551045"/>
                <a:gd name="connsiteY13" fmla="*/ 302055 h 608697"/>
                <a:gd name="connsiteX14" fmla="*/ 485137 w 551045"/>
                <a:gd name="connsiteY14" fmla="*/ 236253 h 608697"/>
                <a:gd name="connsiteX15" fmla="*/ 45513 w 551045"/>
                <a:gd name="connsiteY15" fmla="*/ 160819 h 608697"/>
                <a:gd name="connsiteX16" fmla="*/ 62048 w 551045"/>
                <a:gd name="connsiteY16" fmla="*/ 160819 h 608697"/>
                <a:gd name="connsiteX17" fmla="*/ 78583 w 551045"/>
                <a:gd name="connsiteY17" fmla="*/ 243365 h 608697"/>
                <a:gd name="connsiteX18" fmla="*/ 98228 w 551045"/>
                <a:gd name="connsiteY18" fmla="*/ 243365 h 608697"/>
                <a:gd name="connsiteX19" fmla="*/ 103356 w 551045"/>
                <a:gd name="connsiteY19" fmla="*/ 187625 h 608697"/>
                <a:gd name="connsiteX20" fmla="*/ 102722 w 551045"/>
                <a:gd name="connsiteY20" fmla="*/ 184634 h 608697"/>
                <a:gd name="connsiteX21" fmla="*/ 94368 w 551045"/>
                <a:gd name="connsiteY21" fmla="*/ 163293 h 608697"/>
                <a:gd name="connsiteX22" fmla="*/ 93331 w 551045"/>
                <a:gd name="connsiteY22" fmla="*/ 161107 h 608697"/>
                <a:gd name="connsiteX23" fmla="*/ 93389 w 551045"/>
                <a:gd name="connsiteY23" fmla="*/ 161107 h 608697"/>
                <a:gd name="connsiteX24" fmla="*/ 93274 w 551045"/>
                <a:gd name="connsiteY24" fmla="*/ 160819 h 608697"/>
                <a:gd name="connsiteX25" fmla="*/ 137347 w 551045"/>
                <a:gd name="connsiteY25" fmla="*/ 160819 h 608697"/>
                <a:gd name="connsiteX26" fmla="*/ 137232 w 551045"/>
                <a:gd name="connsiteY26" fmla="*/ 161107 h 608697"/>
                <a:gd name="connsiteX27" fmla="*/ 137404 w 551045"/>
                <a:gd name="connsiteY27" fmla="*/ 161107 h 608697"/>
                <a:gd name="connsiteX28" fmla="*/ 136367 w 551045"/>
                <a:gd name="connsiteY28" fmla="*/ 163293 h 608697"/>
                <a:gd name="connsiteX29" fmla="*/ 127322 w 551045"/>
                <a:gd name="connsiteY29" fmla="*/ 187913 h 608697"/>
                <a:gd name="connsiteX30" fmla="*/ 132450 w 551045"/>
                <a:gd name="connsiteY30" fmla="*/ 243365 h 608697"/>
                <a:gd name="connsiteX31" fmla="*/ 152038 w 551045"/>
                <a:gd name="connsiteY31" fmla="*/ 243365 h 608697"/>
                <a:gd name="connsiteX32" fmla="*/ 168630 w 551045"/>
                <a:gd name="connsiteY32" fmla="*/ 160819 h 608697"/>
                <a:gd name="connsiteX33" fmla="*/ 185165 w 551045"/>
                <a:gd name="connsiteY33" fmla="*/ 160819 h 608697"/>
                <a:gd name="connsiteX34" fmla="*/ 230678 w 551045"/>
                <a:gd name="connsiteY34" fmla="*/ 206263 h 608697"/>
                <a:gd name="connsiteX35" fmla="*/ 230678 w 551045"/>
                <a:gd name="connsiteY35" fmla="*/ 338682 h 608697"/>
                <a:gd name="connsiteX36" fmla="*/ 185165 w 551045"/>
                <a:gd name="connsiteY36" fmla="*/ 384125 h 608697"/>
                <a:gd name="connsiteX37" fmla="*/ 179346 w 551045"/>
                <a:gd name="connsiteY37" fmla="*/ 384125 h 608697"/>
                <a:gd name="connsiteX38" fmla="*/ 179346 w 551045"/>
                <a:gd name="connsiteY38" fmla="*/ 576599 h 608697"/>
                <a:gd name="connsiteX39" fmla="*/ 147256 w 551045"/>
                <a:gd name="connsiteY39" fmla="*/ 608697 h 608697"/>
                <a:gd name="connsiteX40" fmla="*/ 115339 w 551045"/>
                <a:gd name="connsiteY40" fmla="*/ 580223 h 608697"/>
                <a:gd name="connsiteX41" fmla="*/ 83422 w 551045"/>
                <a:gd name="connsiteY41" fmla="*/ 608697 h 608697"/>
                <a:gd name="connsiteX42" fmla="*/ 51332 w 551045"/>
                <a:gd name="connsiteY42" fmla="*/ 576599 h 608697"/>
                <a:gd name="connsiteX43" fmla="*/ 51332 w 551045"/>
                <a:gd name="connsiteY43" fmla="*/ 384125 h 608697"/>
                <a:gd name="connsiteX44" fmla="*/ 45513 w 551045"/>
                <a:gd name="connsiteY44" fmla="*/ 384125 h 608697"/>
                <a:gd name="connsiteX45" fmla="*/ 0 w 551045"/>
                <a:gd name="connsiteY45" fmla="*/ 338682 h 608697"/>
                <a:gd name="connsiteX46" fmla="*/ 0 w 551045"/>
                <a:gd name="connsiteY46" fmla="*/ 206263 h 608697"/>
                <a:gd name="connsiteX47" fmla="*/ 45513 w 551045"/>
                <a:gd name="connsiteY47" fmla="*/ 160819 h 608697"/>
                <a:gd name="connsiteX48" fmla="*/ 400710 w 551045"/>
                <a:gd name="connsiteY48" fmla="*/ 89618 h 608697"/>
                <a:gd name="connsiteX49" fmla="*/ 400710 w 551045"/>
                <a:gd name="connsiteY49" fmla="*/ 134086 h 608697"/>
                <a:gd name="connsiteX50" fmla="*/ 355362 w 551045"/>
                <a:gd name="connsiteY50" fmla="*/ 179359 h 608697"/>
                <a:gd name="connsiteX51" fmla="*/ 355362 w 551045"/>
                <a:gd name="connsiteY51" fmla="*/ 279857 h 608697"/>
                <a:gd name="connsiteX52" fmla="*/ 401517 w 551045"/>
                <a:gd name="connsiteY52" fmla="*/ 279857 h 608697"/>
                <a:gd name="connsiteX53" fmla="*/ 401517 w 551045"/>
                <a:gd name="connsiteY53" fmla="*/ 324325 h 608697"/>
                <a:gd name="connsiteX54" fmla="*/ 355362 w 551045"/>
                <a:gd name="connsiteY54" fmla="*/ 324325 h 608697"/>
                <a:gd name="connsiteX55" fmla="*/ 355362 w 551045"/>
                <a:gd name="connsiteY55" fmla="*/ 424823 h 608697"/>
                <a:gd name="connsiteX56" fmla="*/ 400710 w 551045"/>
                <a:gd name="connsiteY56" fmla="*/ 470038 h 608697"/>
                <a:gd name="connsiteX57" fmla="*/ 400710 w 551045"/>
                <a:gd name="connsiteY57" fmla="*/ 514563 h 608697"/>
                <a:gd name="connsiteX58" fmla="*/ 310820 w 551045"/>
                <a:gd name="connsiteY58" fmla="*/ 424823 h 608697"/>
                <a:gd name="connsiteX59" fmla="*/ 310820 w 551045"/>
                <a:gd name="connsiteY59" fmla="*/ 324325 h 608697"/>
                <a:gd name="connsiteX60" fmla="*/ 270830 w 551045"/>
                <a:gd name="connsiteY60" fmla="*/ 324325 h 608697"/>
                <a:gd name="connsiteX61" fmla="*/ 270830 w 551045"/>
                <a:gd name="connsiteY61" fmla="*/ 279857 h 608697"/>
                <a:gd name="connsiteX62" fmla="*/ 310820 w 551045"/>
                <a:gd name="connsiteY62" fmla="*/ 279857 h 608697"/>
                <a:gd name="connsiteX63" fmla="*/ 310820 w 551045"/>
                <a:gd name="connsiteY63" fmla="*/ 179359 h 608697"/>
                <a:gd name="connsiteX64" fmla="*/ 400710 w 551045"/>
                <a:gd name="connsiteY64" fmla="*/ 89618 h 608697"/>
                <a:gd name="connsiteX65" fmla="*/ 487441 w 551045"/>
                <a:gd name="connsiteY65" fmla="*/ 44033 h 608697"/>
                <a:gd name="connsiteX66" fmla="*/ 487729 w 551045"/>
                <a:gd name="connsiteY66" fmla="*/ 44148 h 608697"/>
                <a:gd name="connsiteX67" fmla="*/ 550282 w 551045"/>
                <a:gd name="connsiteY67" fmla="*/ 107206 h 608697"/>
                <a:gd name="connsiteX68" fmla="*/ 550340 w 551045"/>
                <a:gd name="connsiteY68" fmla="*/ 107897 h 608697"/>
                <a:gd name="connsiteX69" fmla="*/ 550340 w 551045"/>
                <a:gd name="connsiteY69" fmla="*/ 108760 h 608697"/>
                <a:gd name="connsiteX70" fmla="*/ 550340 w 551045"/>
                <a:gd name="connsiteY70" fmla="*/ 109220 h 608697"/>
                <a:gd name="connsiteX71" fmla="*/ 550340 w 551045"/>
                <a:gd name="connsiteY71" fmla="*/ 109680 h 608697"/>
                <a:gd name="connsiteX72" fmla="*/ 550282 w 551045"/>
                <a:gd name="connsiteY72" fmla="*/ 111867 h 608697"/>
                <a:gd name="connsiteX73" fmla="*/ 550167 w 551045"/>
                <a:gd name="connsiteY73" fmla="*/ 113420 h 608697"/>
                <a:gd name="connsiteX74" fmla="*/ 550167 w 551045"/>
                <a:gd name="connsiteY74" fmla="*/ 113938 h 608697"/>
                <a:gd name="connsiteX75" fmla="*/ 485137 w 551045"/>
                <a:gd name="connsiteY75" fmla="*/ 174349 h 608697"/>
                <a:gd name="connsiteX76" fmla="*/ 484158 w 551045"/>
                <a:gd name="connsiteY76" fmla="*/ 174292 h 608697"/>
                <a:gd name="connsiteX77" fmla="*/ 467685 w 551045"/>
                <a:gd name="connsiteY77" fmla="*/ 171933 h 608697"/>
                <a:gd name="connsiteX78" fmla="*/ 419993 w 551045"/>
                <a:gd name="connsiteY78" fmla="*/ 110428 h 608697"/>
                <a:gd name="connsiteX79" fmla="*/ 419935 w 551045"/>
                <a:gd name="connsiteY79" fmla="*/ 110083 h 608697"/>
                <a:gd name="connsiteX80" fmla="*/ 419993 w 551045"/>
                <a:gd name="connsiteY80" fmla="*/ 109680 h 608697"/>
                <a:gd name="connsiteX81" fmla="*/ 419935 w 551045"/>
                <a:gd name="connsiteY81" fmla="*/ 109220 h 608697"/>
                <a:gd name="connsiteX82" fmla="*/ 419993 w 551045"/>
                <a:gd name="connsiteY82" fmla="*/ 108530 h 608697"/>
                <a:gd name="connsiteX83" fmla="*/ 419993 w 551045"/>
                <a:gd name="connsiteY83" fmla="*/ 106516 h 608697"/>
                <a:gd name="connsiteX84" fmla="*/ 485137 w 551045"/>
                <a:gd name="connsiteY84" fmla="*/ 44090 h 608697"/>
                <a:gd name="connsiteX85" fmla="*/ 486001 w 551045"/>
                <a:gd name="connsiteY85" fmla="*/ 44090 h 608697"/>
                <a:gd name="connsiteX86" fmla="*/ 487441 w 551045"/>
                <a:gd name="connsiteY86" fmla="*/ 44033 h 608697"/>
                <a:gd name="connsiteX87" fmla="*/ 114993 w 551045"/>
                <a:gd name="connsiteY87" fmla="*/ 748 h 608697"/>
                <a:gd name="connsiteX88" fmla="*/ 115281 w 551045"/>
                <a:gd name="connsiteY88" fmla="*/ 748 h 608697"/>
                <a:gd name="connsiteX89" fmla="*/ 115569 w 551045"/>
                <a:gd name="connsiteY89" fmla="*/ 748 h 608697"/>
                <a:gd name="connsiteX90" fmla="*/ 179403 w 551045"/>
                <a:gd name="connsiteY90" fmla="*/ 50176 h 608697"/>
                <a:gd name="connsiteX91" fmla="*/ 181534 w 551045"/>
                <a:gd name="connsiteY91" fmla="*/ 66863 h 608697"/>
                <a:gd name="connsiteX92" fmla="*/ 115685 w 551045"/>
                <a:gd name="connsiteY92" fmla="*/ 132634 h 608697"/>
                <a:gd name="connsiteX93" fmla="*/ 115397 w 551045"/>
                <a:gd name="connsiteY93" fmla="*/ 132634 h 608697"/>
                <a:gd name="connsiteX94" fmla="*/ 115109 w 551045"/>
                <a:gd name="connsiteY94" fmla="*/ 132634 h 608697"/>
                <a:gd name="connsiteX95" fmla="*/ 51275 w 551045"/>
                <a:gd name="connsiteY95" fmla="*/ 83262 h 608697"/>
                <a:gd name="connsiteX96" fmla="*/ 49144 w 551045"/>
                <a:gd name="connsiteY96" fmla="*/ 66575 h 608697"/>
                <a:gd name="connsiteX97" fmla="*/ 114993 w 551045"/>
                <a:gd name="connsiteY97" fmla="*/ 748 h 608697"/>
                <a:gd name="connsiteX98" fmla="*/ 114958 w 551045"/>
                <a:gd name="connsiteY98" fmla="*/ 423 h 608697"/>
                <a:gd name="connsiteX99" fmla="*/ 48690 w 551045"/>
                <a:gd name="connsiteY99" fmla="*/ 66575 h 608697"/>
                <a:gd name="connsiteX100" fmla="*/ 50822 w 551045"/>
                <a:gd name="connsiteY100" fmla="*/ 83372 h 608697"/>
                <a:gd name="connsiteX101" fmla="*/ 115073 w 551045"/>
                <a:gd name="connsiteY101" fmla="*/ 133015 h 608697"/>
                <a:gd name="connsiteX102" fmla="*/ 115361 w 551045"/>
                <a:gd name="connsiteY102" fmla="*/ 133015 h 608697"/>
                <a:gd name="connsiteX103" fmla="*/ 115649 w 551045"/>
                <a:gd name="connsiteY103" fmla="*/ 133015 h 608697"/>
                <a:gd name="connsiteX104" fmla="*/ 181917 w 551045"/>
                <a:gd name="connsiteY104" fmla="*/ 66863 h 608697"/>
                <a:gd name="connsiteX105" fmla="*/ 179785 w 551045"/>
                <a:gd name="connsiteY105" fmla="*/ 50066 h 608697"/>
                <a:gd name="connsiteX106" fmla="*/ 115534 w 551045"/>
                <a:gd name="connsiteY106" fmla="*/ 423 h 608697"/>
                <a:gd name="connsiteX107" fmla="*/ 115246 w 551045"/>
                <a:gd name="connsiteY107" fmla="*/ 423 h 608697"/>
                <a:gd name="connsiteX108" fmla="*/ 114958 w 551045"/>
                <a:gd name="connsiteY108" fmla="*/ 423 h 608697"/>
                <a:gd name="connsiteX109" fmla="*/ 114993 w 551045"/>
                <a:gd name="connsiteY109" fmla="*/ 0 h 608697"/>
                <a:gd name="connsiteX110" fmla="*/ 115281 w 551045"/>
                <a:gd name="connsiteY110" fmla="*/ 0 h 608697"/>
                <a:gd name="connsiteX111" fmla="*/ 115569 w 551045"/>
                <a:gd name="connsiteY111" fmla="*/ 0 h 608697"/>
                <a:gd name="connsiteX112" fmla="*/ 180152 w 551045"/>
                <a:gd name="connsiteY112" fmla="*/ 49946 h 608697"/>
                <a:gd name="connsiteX113" fmla="*/ 182341 w 551045"/>
                <a:gd name="connsiteY113" fmla="*/ 66863 h 608697"/>
                <a:gd name="connsiteX114" fmla="*/ 115685 w 551045"/>
                <a:gd name="connsiteY114" fmla="*/ 133439 h 608697"/>
                <a:gd name="connsiteX115" fmla="*/ 115397 w 551045"/>
                <a:gd name="connsiteY115" fmla="*/ 133439 h 608697"/>
                <a:gd name="connsiteX116" fmla="*/ 115109 w 551045"/>
                <a:gd name="connsiteY116" fmla="*/ 133439 h 608697"/>
                <a:gd name="connsiteX117" fmla="*/ 50526 w 551045"/>
                <a:gd name="connsiteY117" fmla="*/ 83493 h 608697"/>
                <a:gd name="connsiteX118" fmla="*/ 48337 w 551045"/>
                <a:gd name="connsiteY118" fmla="*/ 66575 h 608697"/>
                <a:gd name="connsiteX119" fmla="*/ 114993 w 551045"/>
                <a:gd name="connsiteY119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51045" h="608697">
                  <a:moveTo>
                    <a:pt x="485820" y="430096"/>
                  </a:moveTo>
                  <a:cubicBezTo>
                    <a:pt x="520910" y="430096"/>
                    <a:pt x="549489" y="457699"/>
                    <a:pt x="550987" y="492317"/>
                  </a:cubicBezTo>
                  <a:cubicBezTo>
                    <a:pt x="550987" y="492375"/>
                    <a:pt x="551045" y="492432"/>
                    <a:pt x="551045" y="492490"/>
                  </a:cubicBezTo>
                  <a:cubicBezTo>
                    <a:pt x="551045" y="492950"/>
                    <a:pt x="551045" y="493353"/>
                    <a:pt x="550987" y="493813"/>
                  </a:cubicBezTo>
                  <a:cubicBezTo>
                    <a:pt x="551045" y="494273"/>
                    <a:pt x="551045" y="494733"/>
                    <a:pt x="551045" y="495193"/>
                  </a:cubicBezTo>
                  <a:cubicBezTo>
                    <a:pt x="551045" y="531134"/>
                    <a:pt x="521832" y="560289"/>
                    <a:pt x="485820" y="560289"/>
                  </a:cubicBezTo>
                  <a:cubicBezTo>
                    <a:pt x="454129" y="560289"/>
                    <a:pt x="427739" y="537747"/>
                    <a:pt x="421862" y="507902"/>
                  </a:cubicBezTo>
                  <a:cubicBezTo>
                    <a:pt x="420710" y="503474"/>
                    <a:pt x="420076" y="499046"/>
                    <a:pt x="420134" y="494560"/>
                  </a:cubicBezTo>
                  <a:cubicBezTo>
                    <a:pt x="420134" y="489385"/>
                    <a:pt x="421056" y="484152"/>
                    <a:pt x="422611" y="479034"/>
                  </a:cubicBezTo>
                  <a:cubicBezTo>
                    <a:pt x="429814" y="450913"/>
                    <a:pt x="455397" y="430096"/>
                    <a:pt x="485820" y="430096"/>
                  </a:cubicBezTo>
                  <a:close/>
                  <a:moveTo>
                    <a:pt x="485137" y="236253"/>
                  </a:moveTo>
                  <a:cubicBezTo>
                    <a:pt x="521537" y="236253"/>
                    <a:pt x="551045" y="265714"/>
                    <a:pt x="551045" y="302055"/>
                  </a:cubicBezTo>
                  <a:cubicBezTo>
                    <a:pt x="551045" y="338396"/>
                    <a:pt x="521537" y="367857"/>
                    <a:pt x="485137" y="367857"/>
                  </a:cubicBezTo>
                  <a:cubicBezTo>
                    <a:pt x="448737" y="367857"/>
                    <a:pt x="419229" y="338396"/>
                    <a:pt x="419229" y="302055"/>
                  </a:cubicBezTo>
                  <a:cubicBezTo>
                    <a:pt x="419229" y="265714"/>
                    <a:pt x="448737" y="236253"/>
                    <a:pt x="485137" y="236253"/>
                  </a:cubicBezTo>
                  <a:close/>
                  <a:moveTo>
                    <a:pt x="45513" y="160819"/>
                  </a:moveTo>
                  <a:lnTo>
                    <a:pt x="62048" y="160819"/>
                  </a:lnTo>
                  <a:lnTo>
                    <a:pt x="78583" y="243365"/>
                  </a:lnTo>
                  <a:lnTo>
                    <a:pt x="98228" y="243365"/>
                  </a:lnTo>
                  <a:lnTo>
                    <a:pt x="103356" y="187625"/>
                  </a:lnTo>
                  <a:cubicBezTo>
                    <a:pt x="103183" y="186647"/>
                    <a:pt x="102952" y="185612"/>
                    <a:pt x="102722" y="184634"/>
                  </a:cubicBezTo>
                  <a:cubicBezTo>
                    <a:pt x="100936" y="177386"/>
                    <a:pt x="97767" y="170483"/>
                    <a:pt x="94368" y="163293"/>
                  </a:cubicBezTo>
                  <a:cubicBezTo>
                    <a:pt x="94368" y="163293"/>
                    <a:pt x="93677" y="161855"/>
                    <a:pt x="93331" y="161107"/>
                  </a:cubicBezTo>
                  <a:lnTo>
                    <a:pt x="93389" y="161107"/>
                  </a:lnTo>
                  <a:cubicBezTo>
                    <a:pt x="93331" y="160992"/>
                    <a:pt x="93274" y="160877"/>
                    <a:pt x="93274" y="160819"/>
                  </a:cubicBezTo>
                  <a:lnTo>
                    <a:pt x="137347" y="160819"/>
                  </a:lnTo>
                  <a:cubicBezTo>
                    <a:pt x="137289" y="160877"/>
                    <a:pt x="137232" y="160992"/>
                    <a:pt x="137232" y="161107"/>
                  </a:cubicBezTo>
                  <a:lnTo>
                    <a:pt x="137404" y="161107"/>
                  </a:lnTo>
                  <a:cubicBezTo>
                    <a:pt x="137059" y="161855"/>
                    <a:pt x="136367" y="163293"/>
                    <a:pt x="136367" y="163293"/>
                  </a:cubicBezTo>
                  <a:cubicBezTo>
                    <a:pt x="132507" y="171576"/>
                    <a:pt x="128820" y="179514"/>
                    <a:pt x="127322" y="187913"/>
                  </a:cubicBezTo>
                  <a:lnTo>
                    <a:pt x="132450" y="243365"/>
                  </a:lnTo>
                  <a:lnTo>
                    <a:pt x="152038" y="243365"/>
                  </a:lnTo>
                  <a:lnTo>
                    <a:pt x="168630" y="160819"/>
                  </a:lnTo>
                  <a:lnTo>
                    <a:pt x="185165" y="160819"/>
                  </a:lnTo>
                  <a:cubicBezTo>
                    <a:pt x="210283" y="160819"/>
                    <a:pt x="230678" y="181125"/>
                    <a:pt x="230678" y="206263"/>
                  </a:cubicBezTo>
                  <a:lnTo>
                    <a:pt x="230678" y="338682"/>
                  </a:lnTo>
                  <a:cubicBezTo>
                    <a:pt x="230678" y="363820"/>
                    <a:pt x="210283" y="384125"/>
                    <a:pt x="185165" y="384125"/>
                  </a:cubicBezTo>
                  <a:lnTo>
                    <a:pt x="179346" y="384125"/>
                  </a:lnTo>
                  <a:lnTo>
                    <a:pt x="179346" y="576599"/>
                  </a:lnTo>
                  <a:cubicBezTo>
                    <a:pt x="179346" y="594316"/>
                    <a:pt x="165000" y="608697"/>
                    <a:pt x="147256" y="608697"/>
                  </a:cubicBezTo>
                  <a:cubicBezTo>
                    <a:pt x="130721" y="608697"/>
                    <a:pt x="117125" y="596215"/>
                    <a:pt x="115339" y="580223"/>
                  </a:cubicBezTo>
                  <a:cubicBezTo>
                    <a:pt x="113553" y="596215"/>
                    <a:pt x="99957" y="608697"/>
                    <a:pt x="83422" y="608697"/>
                  </a:cubicBezTo>
                  <a:cubicBezTo>
                    <a:pt x="65678" y="608697"/>
                    <a:pt x="51332" y="594316"/>
                    <a:pt x="51332" y="576599"/>
                  </a:cubicBezTo>
                  <a:lnTo>
                    <a:pt x="51332" y="384125"/>
                  </a:lnTo>
                  <a:lnTo>
                    <a:pt x="45513" y="384125"/>
                  </a:lnTo>
                  <a:cubicBezTo>
                    <a:pt x="20395" y="384125"/>
                    <a:pt x="0" y="363820"/>
                    <a:pt x="0" y="338682"/>
                  </a:cubicBezTo>
                  <a:lnTo>
                    <a:pt x="0" y="206263"/>
                  </a:lnTo>
                  <a:cubicBezTo>
                    <a:pt x="0" y="181125"/>
                    <a:pt x="20395" y="160819"/>
                    <a:pt x="45513" y="160819"/>
                  </a:cubicBezTo>
                  <a:close/>
                  <a:moveTo>
                    <a:pt x="400710" y="89618"/>
                  </a:moveTo>
                  <a:lnTo>
                    <a:pt x="400710" y="134086"/>
                  </a:lnTo>
                  <a:cubicBezTo>
                    <a:pt x="375702" y="134086"/>
                    <a:pt x="355362" y="154393"/>
                    <a:pt x="355362" y="179359"/>
                  </a:cubicBezTo>
                  <a:lnTo>
                    <a:pt x="355362" y="279857"/>
                  </a:lnTo>
                  <a:lnTo>
                    <a:pt x="401517" y="279857"/>
                  </a:lnTo>
                  <a:lnTo>
                    <a:pt x="401517" y="324325"/>
                  </a:lnTo>
                  <a:lnTo>
                    <a:pt x="355362" y="324325"/>
                  </a:lnTo>
                  <a:lnTo>
                    <a:pt x="355362" y="424823"/>
                  </a:lnTo>
                  <a:cubicBezTo>
                    <a:pt x="355362" y="449731"/>
                    <a:pt x="375702" y="470038"/>
                    <a:pt x="400710" y="470038"/>
                  </a:cubicBezTo>
                  <a:lnTo>
                    <a:pt x="400710" y="514563"/>
                  </a:lnTo>
                  <a:cubicBezTo>
                    <a:pt x="351155" y="514563"/>
                    <a:pt x="310820" y="474295"/>
                    <a:pt x="310820" y="424823"/>
                  </a:cubicBezTo>
                  <a:lnTo>
                    <a:pt x="310820" y="324325"/>
                  </a:lnTo>
                  <a:lnTo>
                    <a:pt x="270830" y="324325"/>
                  </a:lnTo>
                  <a:lnTo>
                    <a:pt x="270830" y="279857"/>
                  </a:lnTo>
                  <a:lnTo>
                    <a:pt x="310820" y="279857"/>
                  </a:lnTo>
                  <a:lnTo>
                    <a:pt x="310820" y="179359"/>
                  </a:lnTo>
                  <a:cubicBezTo>
                    <a:pt x="310820" y="129886"/>
                    <a:pt x="351155" y="89618"/>
                    <a:pt x="400710" y="89618"/>
                  </a:cubicBezTo>
                  <a:close/>
                  <a:moveTo>
                    <a:pt x="487441" y="44033"/>
                  </a:moveTo>
                  <a:cubicBezTo>
                    <a:pt x="487557" y="44090"/>
                    <a:pt x="487614" y="44090"/>
                    <a:pt x="487729" y="44148"/>
                  </a:cubicBezTo>
                  <a:cubicBezTo>
                    <a:pt x="521828" y="45471"/>
                    <a:pt x="549246" y="73030"/>
                    <a:pt x="550282" y="107206"/>
                  </a:cubicBezTo>
                  <a:cubicBezTo>
                    <a:pt x="550282" y="107436"/>
                    <a:pt x="550282" y="107667"/>
                    <a:pt x="550340" y="107897"/>
                  </a:cubicBezTo>
                  <a:cubicBezTo>
                    <a:pt x="550340" y="108184"/>
                    <a:pt x="550340" y="108472"/>
                    <a:pt x="550340" y="108760"/>
                  </a:cubicBezTo>
                  <a:cubicBezTo>
                    <a:pt x="550340" y="108875"/>
                    <a:pt x="550340" y="109047"/>
                    <a:pt x="550340" y="109220"/>
                  </a:cubicBezTo>
                  <a:cubicBezTo>
                    <a:pt x="550340" y="109393"/>
                    <a:pt x="550340" y="109508"/>
                    <a:pt x="550340" y="109680"/>
                  </a:cubicBezTo>
                  <a:cubicBezTo>
                    <a:pt x="550340" y="110371"/>
                    <a:pt x="550282" y="111119"/>
                    <a:pt x="550282" y="111867"/>
                  </a:cubicBezTo>
                  <a:cubicBezTo>
                    <a:pt x="550225" y="112384"/>
                    <a:pt x="550225" y="112902"/>
                    <a:pt x="550167" y="113420"/>
                  </a:cubicBezTo>
                  <a:cubicBezTo>
                    <a:pt x="550167" y="113593"/>
                    <a:pt x="550167" y="113765"/>
                    <a:pt x="550167" y="113938"/>
                  </a:cubicBezTo>
                  <a:cubicBezTo>
                    <a:pt x="547748" y="147653"/>
                    <a:pt x="519582" y="174349"/>
                    <a:pt x="485137" y="174349"/>
                  </a:cubicBezTo>
                  <a:cubicBezTo>
                    <a:pt x="484792" y="174349"/>
                    <a:pt x="484446" y="174292"/>
                    <a:pt x="484158" y="174292"/>
                  </a:cubicBezTo>
                  <a:cubicBezTo>
                    <a:pt x="478629" y="174579"/>
                    <a:pt x="473099" y="173716"/>
                    <a:pt x="467685" y="171933"/>
                  </a:cubicBezTo>
                  <a:cubicBezTo>
                    <a:pt x="440556" y="164396"/>
                    <a:pt x="420511" y="139828"/>
                    <a:pt x="419993" y="110428"/>
                  </a:cubicBezTo>
                  <a:cubicBezTo>
                    <a:pt x="419993" y="110313"/>
                    <a:pt x="419935" y="110198"/>
                    <a:pt x="419935" y="110083"/>
                  </a:cubicBezTo>
                  <a:cubicBezTo>
                    <a:pt x="419935" y="109910"/>
                    <a:pt x="419935" y="109795"/>
                    <a:pt x="419993" y="109680"/>
                  </a:cubicBezTo>
                  <a:cubicBezTo>
                    <a:pt x="419993" y="109508"/>
                    <a:pt x="419935" y="109335"/>
                    <a:pt x="419935" y="109220"/>
                  </a:cubicBezTo>
                  <a:cubicBezTo>
                    <a:pt x="419935" y="108990"/>
                    <a:pt x="419935" y="108760"/>
                    <a:pt x="419993" y="108530"/>
                  </a:cubicBezTo>
                  <a:cubicBezTo>
                    <a:pt x="419993" y="107839"/>
                    <a:pt x="419993" y="107206"/>
                    <a:pt x="419993" y="106516"/>
                  </a:cubicBezTo>
                  <a:cubicBezTo>
                    <a:pt x="421433" y="71822"/>
                    <a:pt x="450059" y="44090"/>
                    <a:pt x="485137" y="44090"/>
                  </a:cubicBezTo>
                  <a:cubicBezTo>
                    <a:pt x="485425" y="44090"/>
                    <a:pt x="485713" y="44090"/>
                    <a:pt x="486001" y="44090"/>
                  </a:cubicBezTo>
                  <a:cubicBezTo>
                    <a:pt x="486462" y="44090"/>
                    <a:pt x="486981" y="44033"/>
                    <a:pt x="487441" y="44033"/>
                  </a:cubicBezTo>
                  <a:close/>
                  <a:moveTo>
                    <a:pt x="114993" y="748"/>
                  </a:moveTo>
                  <a:lnTo>
                    <a:pt x="115281" y="748"/>
                  </a:lnTo>
                  <a:lnTo>
                    <a:pt x="115569" y="748"/>
                  </a:lnTo>
                  <a:cubicBezTo>
                    <a:pt x="145700" y="748"/>
                    <a:pt x="171913" y="21060"/>
                    <a:pt x="179403" y="50176"/>
                  </a:cubicBezTo>
                  <a:cubicBezTo>
                    <a:pt x="180843" y="55585"/>
                    <a:pt x="181534" y="61224"/>
                    <a:pt x="181534" y="66863"/>
                  </a:cubicBezTo>
                  <a:cubicBezTo>
                    <a:pt x="181534" y="103115"/>
                    <a:pt x="151980" y="132634"/>
                    <a:pt x="115685" y="132634"/>
                  </a:cubicBezTo>
                  <a:lnTo>
                    <a:pt x="115397" y="132634"/>
                  </a:lnTo>
                  <a:lnTo>
                    <a:pt x="115109" y="132634"/>
                  </a:lnTo>
                  <a:cubicBezTo>
                    <a:pt x="84978" y="132634"/>
                    <a:pt x="58765" y="112321"/>
                    <a:pt x="51275" y="83262"/>
                  </a:cubicBezTo>
                  <a:cubicBezTo>
                    <a:pt x="49835" y="77854"/>
                    <a:pt x="49144" y="72214"/>
                    <a:pt x="49144" y="66575"/>
                  </a:cubicBezTo>
                  <a:cubicBezTo>
                    <a:pt x="49144" y="30267"/>
                    <a:pt x="78698" y="748"/>
                    <a:pt x="114993" y="748"/>
                  </a:cubicBezTo>
                  <a:close/>
                  <a:moveTo>
                    <a:pt x="114958" y="423"/>
                  </a:moveTo>
                  <a:cubicBezTo>
                    <a:pt x="78366" y="423"/>
                    <a:pt x="48690" y="30047"/>
                    <a:pt x="48690" y="66575"/>
                  </a:cubicBezTo>
                  <a:cubicBezTo>
                    <a:pt x="48690" y="72385"/>
                    <a:pt x="49439" y="78022"/>
                    <a:pt x="50822" y="83372"/>
                  </a:cubicBezTo>
                  <a:cubicBezTo>
                    <a:pt x="58198" y="111904"/>
                    <a:pt x="84129" y="133015"/>
                    <a:pt x="115073" y="133015"/>
                  </a:cubicBezTo>
                  <a:cubicBezTo>
                    <a:pt x="115131" y="133015"/>
                    <a:pt x="115246" y="133015"/>
                    <a:pt x="115361" y="133015"/>
                  </a:cubicBezTo>
                  <a:cubicBezTo>
                    <a:pt x="115419" y="133015"/>
                    <a:pt x="115534" y="133015"/>
                    <a:pt x="115649" y="133015"/>
                  </a:cubicBezTo>
                  <a:cubicBezTo>
                    <a:pt x="152241" y="133015"/>
                    <a:pt x="181917" y="103391"/>
                    <a:pt x="181917" y="66863"/>
                  </a:cubicBezTo>
                  <a:cubicBezTo>
                    <a:pt x="181917" y="61053"/>
                    <a:pt x="181168" y="55415"/>
                    <a:pt x="179785" y="50066"/>
                  </a:cubicBezTo>
                  <a:cubicBezTo>
                    <a:pt x="172409" y="21534"/>
                    <a:pt x="146478" y="423"/>
                    <a:pt x="115534" y="423"/>
                  </a:cubicBezTo>
                  <a:cubicBezTo>
                    <a:pt x="115476" y="423"/>
                    <a:pt x="115361" y="423"/>
                    <a:pt x="115246" y="423"/>
                  </a:cubicBezTo>
                  <a:cubicBezTo>
                    <a:pt x="115188" y="423"/>
                    <a:pt x="115073" y="423"/>
                    <a:pt x="114958" y="423"/>
                  </a:cubicBezTo>
                  <a:close/>
                  <a:moveTo>
                    <a:pt x="114993" y="0"/>
                  </a:moveTo>
                  <a:lnTo>
                    <a:pt x="115281" y="0"/>
                  </a:lnTo>
                  <a:lnTo>
                    <a:pt x="115569" y="0"/>
                  </a:lnTo>
                  <a:cubicBezTo>
                    <a:pt x="146046" y="0"/>
                    <a:pt x="172605" y="20542"/>
                    <a:pt x="180152" y="49946"/>
                  </a:cubicBezTo>
                  <a:cubicBezTo>
                    <a:pt x="181592" y="55470"/>
                    <a:pt x="182341" y="61109"/>
                    <a:pt x="182341" y="66863"/>
                  </a:cubicBezTo>
                  <a:cubicBezTo>
                    <a:pt x="182341" y="103575"/>
                    <a:pt x="152441" y="133439"/>
                    <a:pt x="115685" y="133439"/>
                  </a:cubicBezTo>
                  <a:lnTo>
                    <a:pt x="115397" y="133439"/>
                  </a:lnTo>
                  <a:lnTo>
                    <a:pt x="115109" y="133439"/>
                  </a:lnTo>
                  <a:cubicBezTo>
                    <a:pt x="84632" y="133439"/>
                    <a:pt x="58073" y="112897"/>
                    <a:pt x="50526" y="83493"/>
                  </a:cubicBezTo>
                  <a:cubicBezTo>
                    <a:pt x="49086" y="77969"/>
                    <a:pt x="48337" y="72272"/>
                    <a:pt x="48337" y="66575"/>
                  </a:cubicBezTo>
                  <a:cubicBezTo>
                    <a:pt x="48337" y="29864"/>
                    <a:pt x="78237" y="0"/>
                    <a:pt x="114993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6" name="îś1îḋe">
              <a:extLst>
                <a:ext uri="{FF2B5EF4-FFF2-40B4-BE49-F238E27FC236}">
                  <a16:creationId xmlns:a16="http://schemas.microsoft.com/office/drawing/2014/main" id="{66FB4B61-DBB3-4C38-BF7D-D9E13DB43A5B}"/>
                </a:ext>
              </a:extLst>
            </p:cNvPr>
            <p:cNvSpPr/>
            <p:nvPr/>
          </p:nvSpPr>
          <p:spPr bwMode="auto">
            <a:xfrm>
              <a:off x="6421571" y="4634441"/>
              <a:ext cx="357824" cy="244890"/>
            </a:xfrm>
            <a:custGeom>
              <a:avLst/>
              <a:gdLst>
                <a:gd name="connsiteX0" fmla="*/ 250445 w 587641"/>
                <a:gd name="connsiteY0" fmla="*/ 380520 h 402175"/>
                <a:gd name="connsiteX1" fmla="*/ 244764 w 587641"/>
                <a:gd name="connsiteY1" fmla="*/ 385676 h 402175"/>
                <a:gd name="connsiteX2" fmla="*/ 250445 w 587641"/>
                <a:gd name="connsiteY2" fmla="*/ 391347 h 402175"/>
                <a:gd name="connsiteX3" fmla="*/ 337196 w 587641"/>
                <a:gd name="connsiteY3" fmla="*/ 391347 h 402175"/>
                <a:gd name="connsiteX4" fmla="*/ 342877 w 587641"/>
                <a:gd name="connsiteY4" fmla="*/ 385676 h 402175"/>
                <a:gd name="connsiteX5" fmla="*/ 337196 w 587641"/>
                <a:gd name="connsiteY5" fmla="*/ 380520 h 402175"/>
                <a:gd name="connsiteX6" fmla="*/ 220494 w 587641"/>
                <a:gd name="connsiteY6" fmla="*/ 349583 h 402175"/>
                <a:gd name="connsiteX7" fmla="*/ 203970 w 587641"/>
                <a:gd name="connsiteY7" fmla="*/ 369692 h 402175"/>
                <a:gd name="connsiteX8" fmla="*/ 383671 w 587641"/>
                <a:gd name="connsiteY8" fmla="*/ 369692 h 402175"/>
                <a:gd name="connsiteX9" fmla="*/ 367147 w 587641"/>
                <a:gd name="connsiteY9" fmla="*/ 349583 h 402175"/>
                <a:gd name="connsiteX10" fmla="*/ 333608 w 587641"/>
                <a:gd name="connsiteY10" fmla="*/ 138920 h 402175"/>
                <a:gd name="connsiteX11" fmla="*/ 306245 w 587641"/>
                <a:gd name="connsiteY11" fmla="*/ 150522 h 402175"/>
                <a:gd name="connsiteX12" fmla="*/ 306245 w 587641"/>
                <a:gd name="connsiteY12" fmla="*/ 205180 h 402175"/>
                <a:gd name="connsiteX13" fmla="*/ 358390 w 587641"/>
                <a:gd name="connsiteY13" fmla="*/ 207243 h 402175"/>
                <a:gd name="connsiteX14" fmla="*/ 363553 w 587641"/>
                <a:gd name="connsiteY14" fmla="*/ 202087 h 402175"/>
                <a:gd name="connsiteX15" fmla="*/ 360971 w 587641"/>
                <a:gd name="connsiteY15" fmla="*/ 150522 h 402175"/>
                <a:gd name="connsiteX16" fmla="*/ 333608 w 587641"/>
                <a:gd name="connsiteY16" fmla="*/ 138920 h 402175"/>
                <a:gd name="connsiteX17" fmla="*/ 333866 w 587641"/>
                <a:gd name="connsiteY17" fmla="*/ 133119 h 402175"/>
                <a:gd name="connsiteX18" fmla="*/ 365618 w 587641"/>
                <a:gd name="connsiteY18" fmla="*/ 145881 h 402175"/>
                <a:gd name="connsiteX19" fmla="*/ 368199 w 587641"/>
                <a:gd name="connsiteY19" fmla="*/ 205696 h 402175"/>
                <a:gd name="connsiteX20" fmla="*/ 375427 w 587641"/>
                <a:gd name="connsiteY20" fmla="*/ 212915 h 402175"/>
                <a:gd name="connsiteX21" fmla="*/ 377492 w 587641"/>
                <a:gd name="connsiteY21" fmla="*/ 210852 h 402175"/>
                <a:gd name="connsiteX22" fmla="*/ 419827 w 587641"/>
                <a:gd name="connsiteY22" fmla="*/ 253135 h 402175"/>
                <a:gd name="connsiteX23" fmla="*/ 409501 w 587641"/>
                <a:gd name="connsiteY23" fmla="*/ 263448 h 402175"/>
                <a:gd name="connsiteX24" fmla="*/ 367166 w 587641"/>
                <a:gd name="connsiteY24" fmla="*/ 221165 h 402175"/>
                <a:gd name="connsiteX25" fmla="*/ 369232 w 587641"/>
                <a:gd name="connsiteY25" fmla="*/ 219103 h 402175"/>
                <a:gd name="connsiteX26" fmla="*/ 362004 w 587641"/>
                <a:gd name="connsiteY26" fmla="*/ 211884 h 402175"/>
                <a:gd name="connsiteX27" fmla="*/ 302115 w 587641"/>
                <a:gd name="connsiteY27" fmla="*/ 209306 h 402175"/>
                <a:gd name="connsiteX28" fmla="*/ 302115 w 587641"/>
                <a:gd name="connsiteY28" fmla="*/ 145881 h 402175"/>
                <a:gd name="connsiteX29" fmla="*/ 333866 w 587641"/>
                <a:gd name="connsiteY29" fmla="*/ 133119 h 402175"/>
                <a:gd name="connsiteX30" fmla="*/ 283493 w 587641"/>
                <a:gd name="connsiteY30" fmla="*/ 46905 h 402175"/>
                <a:gd name="connsiteX31" fmla="*/ 341328 w 587641"/>
                <a:gd name="connsiteY31" fmla="*/ 76807 h 402175"/>
                <a:gd name="connsiteX32" fmla="*/ 354238 w 587641"/>
                <a:gd name="connsiteY32" fmla="*/ 75260 h 402175"/>
                <a:gd name="connsiteX33" fmla="*/ 410524 w 587641"/>
                <a:gd name="connsiteY33" fmla="*/ 131456 h 402175"/>
                <a:gd name="connsiteX34" fmla="*/ 409491 w 587641"/>
                <a:gd name="connsiteY34" fmla="*/ 139705 h 402175"/>
                <a:gd name="connsiteX35" fmla="*/ 410524 w 587641"/>
                <a:gd name="connsiteY35" fmla="*/ 139189 h 402175"/>
                <a:gd name="connsiteX36" fmla="*/ 444605 w 587641"/>
                <a:gd name="connsiteY36" fmla="*/ 173732 h 402175"/>
                <a:gd name="connsiteX37" fmla="*/ 410524 w 587641"/>
                <a:gd name="connsiteY37" fmla="*/ 207758 h 402175"/>
                <a:gd name="connsiteX38" fmla="*/ 391934 w 587641"/>
                <a:gd name="connsiteY38" fmla="*/ 207758 h 402175"/>
                <a:gd name="connsiteX39" fmla="*/ 385221 w 587641"/>
                <a:gd name="connsiteY39" fmla="*/ 201056 h 402175"/>
                <a:gd name="connsiteX40" fmla="*/ 373860 w 587641"/>
                <a:gd name="connsiteY40" fmla="*/ 137643 h 402175"/>
                <a:gd name="connsiteX41" fmla="*/ 293304 w 587641"/>
                <a:gd name="connsiteY41" fmla="*/ 137643 h 402175"/>
                <a:gd name="connsiteX42" fmla="*/ 276780 w 587641"/>
                <a:gd name="connsiteY42" fmla="*/ 177856 h 402175"/>
                <a:gd name="connsiteX43" fmla="*/ 285558 w 587641"/>
                <a:gd name="connsiteY43" fmla="*/ 207758 h 402175"/>
                <a:gd name="connsiteX44" fmla="*/ 199322 w 587641"/>
                <a:gd name="connsiteY44" fmla="*/ 207758 h 402175"/>
                <a:gd name="connsiteX45" fmla="*/ 143036 w 587641"/>
                <a:gd name="connsiteY45" fmla="*/ 151563 h 402175"/>
                <a:gd name="connsiteX46" fmla="*/ 199322 w 587641"/>
                <a:gd name="connsiteY46" fmla="*/ 95367 h 402175"/>
                <a:gd name="connsiteX47" fmla="*/ 215846 w 587641"/>
                <a:gd name="connsiteY47" fmla="*/ 97945 h 402175"/>
                <a:gd name="connsiteX48" fmla="*/ 283493 w 587641"/>
                <a:gd name="connsiteY48" fmla="*/ 46905 h 402175"/>
                <a:gd name="connsiteX49" fmla="*/ 103792 w 587641"/>
                <a:gd name="connsiteY49" fmla="*/ 19593 h 402175"/>
                <a:gd name="connsiteX50" fmla="*/ 85203 w 587641"/>
                <a:gd name="connsiteY50" fmla="*/ 38671 h 402175"/>
                <a:gd name="connsiteX51" fmla="*/ 85203 w 587641"/>
                <a:gd name="connsiteY51" fmla="*/ 266054 h 402175"/>
                <a:gd name="connsiteX52" fmla="*/ 103792 w 587641"/>
                <a:gd name="connsiteY52" fmla="*/ 284616 h 402175"/>
                <a:gd name="connsiteX53" fmla="*/ 483849 w 587641"/>
                <a:gd name="connsiteY53" fmla="*/ 284616 h 402175"/>
                <a:gd name="connsiteX54" fmla="*/ 502438 w 587641"/>
                <a:gd name="connsiteY54" fmla="*/ 266054 h 402175"/>
                <a:gd name="connsiteX55" fmla="*/ 502438 w 587641"/>
                <a:gd name="connsiteY55" fmla="*/ 38671 h 402175"/>
                <a:gd name="connsiteX56" fmla="*/ 483849 w 587641"/>
                <a:gd name="connsiteY56" fmla="*/ 19593 h 402175"/>
                <a:gd name="connsiteX57" fmla="*/ 76424 w 587641"/>
                <a:gd name="connsiteY57" fmla="*/ 0 h 402175"/>
                <a:gd name="connsiteX58" fmla="*/ 511217 w 587641"/>
                <a:gd name="connsiteY58" fmla="*/ 0 h 402175"/>
                <a:gd name="connsiteX59" fmla="*/ 533421 w 587641"/>
                <a:gd name="connsiteY59" fmla="*/ 21655 h 402175"/>
                <a:gd name="connsiteX60" fmla="*/ 533421 w 587641"/>
                <a:gd name="connsiteY60" fmla="*/ 152105 h 402175"/>
                <a:gd name="connsiteX61" fmla="*/ 533421 w 587641"/>
                <a:gd name="connsiteY61" fmla="*/ 282554 h 402175"/>
                <a:gd name="connsiteX62" fmla="*/ 533421 w 587641"/>
                <a:gd name="connsiteY62" fmla="*/ 304209 h 402175"/>
                <a:gd name="connsiteX63" fmla="*/ 587641 w 587641"/>
                <a:gd name="connsiteY63" fmla="*/ 369692 h 402175"/>
                <a:gd name="connsiteX64" fmla="*/ 555109 w 587641"/>
                <a:gd name="connsiteY64" fmla="*/ 402175 h 402175"/>
                <a:gd name="connsiteX65" fmla="*/ 32532 w 587641"/>
                <a:gd name="connsiteY65" fmla="*/ 402175 h 402175"/>
                <a:gd name="connsiteX66" fmla="*/ 0 w 587641"/>
                <a:gd name="connsiteY66" fmla="*/ 369692 h 402175"/>
                <a:gd name="connsiteX67" fmla="*/ 54220 w 587641"/>
                <a:gd name="connsiteY67" fmla="*/ 304209 h 402175"/>
                <a:gd name="connsiteX68" fmla="*/ 54220 w 587641"/>
                <a:gd name="connsiteY68" fmla="*/ 282554 h 402175"/>
                <a:gd name="connsiteX69" fmla="*/ 54220 w 587641"/>
                <a:gd name="connsiteY69" fmla="*/ 152105 h 402175"/>
                <a:gd name="connsiteX70" fmla="*/ 54220 w 587641"/>
                <a:gd name="connsiteY70" fmla="*/ 21655 h 402175"/>
                <a:gd name="connsiteX71" fmla="*/ 76424 w 587641"/>
                <a:gd name="connsiteY71" fmla="*/ 0 h 40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87641" h="402175">
                  <a:moveTo>
                    <a:pt x="250445" y="380520"/>
                  </a:moveTo>
                  <a:cubicBezTo>
                    <a:pt x="247346" y="380520"/>
                    <a:pt x="244764" y="382582"/>
                    <a:pt x="244764" y="385676"/>
                  </a:cubicBezTo>
                  <a:cubicBezTo>
                    <a:pt x="244764" y="388769"/>
                    <a:pt x="247346" y="391347"/>
                    <a:pt x="250445" y="391347"/>
                  </a:cubicBezTo>
                  <a:lnTo>
                    <a:pt x="337196" y="391347"/>
                  </a:lnTo>
                  <a:cubicBezTo>
                    <a:pt x="340295" y="391347"/>
                    <a:pt x="342877" y="388769"/>
                    <a:pt x="342877" y="385676"/>
                  </a:cubicBezTo>
                  <a:cubicBezTo>
                    <a:pt x="342877" y="382582"/>
                    <a:pt x="340295" y="380520"/>
                    <a:pt x="337196" y="380520"/>
                  </a:cubicBezTo>
                  <a:close/>
                  <a:moveTo>
                    <a:pt x="220494" y="349583"/>
                  </a:moveTo>
                  <a:lnTo>
                    <a:pt x="203970" y="369692"/>
                  </a:lnTo>
                  <a:lnTo>
                    <a:pt x="383671" y="369692"/>
                  </a:lnTo>
                  <a:lnTo>
                    <a:pt x="367147" y="349583"/>
                  </a:lnTo>
                  <a:close/>
                  <a:moveTo>
                    <a:pt x="333608" y="138920"/>
                  </a:moveTo>
                  <a:cubicBezTo>
                    <a:pt x="323670" y="138920"/>
                    <a:pt x="313731" y="142788"/>
                    <a:pt x="306245" y="150522"/>
                  </a:cubicBezTo>
                  <a:cubicBezTo>
                    <a:pt x="291273" y="165476"/>
                    <a:pt x="291273" y="189711"/>
                    <a:pt x="306245" y="205180"/>
                  </a:cubicBezTo>
                  <a:cubicBezTo>
                    <a:pt x="320701" y="219103"/>
                    <a:pt x="342901" y="219618"/>
                    <a:pt x="358390" y="207243"/>
                  </a:cubicBezTo>
                  <a:lnTo>
                    <a:pt x="363553" y="202087"/>
                  </a:lnTo>
                  <a:cubicBezTo>
                    <a:pt x="375943" y="187133"/>
                    <a:pt x="375427" y="164445"/>
                    <a:pt x="360971" y="150522"/>
                  </a:cubicBezTo>
                  <a:cubicBezTo>
                    <a:pt x="353485" y="142788"/>
                    <a:pt x="343547" y="138920"/>
                    <a:pt x="333608" y="138920"/>
                  </a:cubicBezTo>
                  <a:close/>
                  <a:moveTo>
                    <a:pt x="333866" y="133119"/>
                  </a:moveTo>
                  <a:cubicBezTo>
                    <a:pt x="345354" y="133119"/>
                    <a:pt x="356841" y="137373"/>
                    <a:pt x="365618" y="145881"/>
                  </a:cubicBezTo>
                  <a:cubicBezTo>
                    <a:pt x="381622" y="162382"/>
                    <a:pt x="382655" y="188164"/>
                    <a:pt x="368199" y="205696"/>
                  </a:cubicBezTo>
                  <a:lnTo>
                    <a:pt x="375427" y="212915"/>
                  </a:lnTo>
                  <a:lnTo>
                    <a:pt x="377492" y="210852"/>
                  </a:lnTo>
                  <a:lnTo>
                    <a:pt x="419827" y="253135"/>
                  </a:lnTo>
                  <a:lnTo>
                    <a:pt x="409501" y="263448"/>
                  </a:lnTo>
                  <a:lnTo>
                    <a:pt x="367166" y="221165"/>
                  </a:lnTo>
                  <a:lnTo>
                    <a:pt x="369232" y="219103"/>
                  </a:lnTo>
                  <a:lnTo>
                    <a:pt x="362004" y="211884"/>
                  </a:lnTo>
                  <a:cubicBezTo>
                    <a:pt x="344450" y="226322"/>
                    <a:pt x="318636" y="225290"/>
                    <a:pt x="302115" y="209306"/>
                  </a:cubicBezTo>
                  <a:cubicBezTo>
                    <a:pt x="285078" y="191774"/>
                    <a:pt x="285078" y="163413"/>
                    <a:pt x="302115" y="145881"/>
                  </a:cubicBezTo>
                  <a:cubicBezTo>
                    <a:pt x="310892" y="137373"/>
                    <a:pt x="322379" y="133119"/>
                    <a:pt x="333866" y="133119"/>
                  </a:cubicBezTo>
                  <a:close/>
                  <a:moveTo>
                    <a:pt x="283493" y="46905"/>
                  </a:moveTo>
                  <a:cubicBezTo>
                    <a:pt x="307247" y="46905"/>
                    <a:pt x="328418" y="58763"/>
                    <a:pt x="341328" y="76807"/>
                  </a:cubicBezTo>
                  <a:cubicBezTo>
                    <a:pt x="345459" y="75776"/>
                    <a:pt x="349590" y="75260"/>
                    <a:pt x="354238" y="75260"/>
                  </a:cubicBezTo>
                  <a:cubicBezTo>
                    <a:pt x="385221" y="75260"/>
                    <a:pt x="410524" y="100523"/>
                    <a:pt x="410524" y="131456"/>
                  </a:cubicBezTo>
                  <a:cubicBezTo>
                    <a:pt x="410524" y="134034"/>
                    <a:pt x="410007" y="137127"/>
                    <a:pt x="409491" y="139705"/>
                  </a:cubicBezTo>
                  <a:cubicBezTo>
                    <a:pt x="410007" y="139705"/>
                    <a:pt x="410007" y="139189"/>
                    <a:pt x="410524" y="139189"/>
                  </a:cubicBezTo>
                  <a:cubicBezTo>
                    <a:pt x="429113" y="139189"/>
                    <a:pt x="444605" y="154656"/>
                    <a:pt x="444605" y="173732"/>
                  </a:cubicBezTo>
                  <a:cubicBezTo>
                    <a:pt x="444605" y="192291"/>
                    <a:pt x="429113" y="207758"/>
                    <a:pt x="410524" y="207758"/>
                  </a:cubicBezTo>
                  <a:lnTo>
                    <a:pt x="391934" y="207758"/>
                  </a:lnTo>
                  <a:lnTo>
                    <a:pt x="385221" y="201056"/>
                  </a:lnTo>
                  <a:cubicBezTo>
                    <a:pt x="395032" y="179918"/>
                    <a:pt x="391417" y="154656"/>
                    <a:pt x="373860" y="137643"/>
                  </a:cubicBezTo>
                  <a:cubicBezTo>
                    <a:pt x="352688" y="115989"/>
                    <a:pt x="314992" y="115989"/>
                    <a:pt x="293304" y="137643"/>
                  </a:cubicBezTo>
                  <a:cubicBezTo>
                    <a:pt x="282460" y="147954"/>
                    <a:pt x="276780" y="162389"/>
                    <a:pt x="276780" y="177856"/>
                  </a:cubicBezTo>
                  <a:cubicBezTo>
                    <a:pt x="276780" y="188683"/>
                    <a:pt x="279878" y="198994"/>
                    <a:pt x="285558" y="207758"/>
                  </a:cubicBezTo>
                  <a:lnTo>
                    <a:pt x="199322" y="207758"/>
                  </a:lnTo>
                  <a:cubicBezTo>
                    <a:pt x="168339" y="207758"/>
                    <a:pt x="143036" y="182496"/>
                    <a:pt x="143036" y="151563"/>
                  </a:cubicBezTo>
                  <a:cubicBezTo>
                    <a:pt x="143036" y="120629"/>
                    <a:pt x="168339" y="95367"/>
                    <a:pt x="199322" y="95367"/>
                  </a:cubicBezTo>
                  <a:cubicBezTo>
                    <a:pt x="205002" y="95367"/>
                    <a:pt x="210682" y="96398"/>
                    <a:pt x="215846" y="97945"/>
                  </a:cubicBezTo>
                  <a:cubicBezTo>
                    <a:pt x="224108" y="68558"/>
                    <a:pt x="250961" y="46905"/>
                    <a:pt x="283493" y="46905"/>
                  </a:cubicBezTo>
                  <a:close/>
                  <a:moveTo>
                    <a:pt x="103792" y="19593"/>
                  </a:moveTo>
                  <a:cubicBezTo>
                    <a:pt x="93465" y="19593"/>
                    <a:pt x="85203" y="27843"/>
                    <a:pt x="85203" y="38671"/>
                  </a:cubicBezTo>
                  <a:lnTo>
                    <a:pt x="85203" y="266054"/>
                  </a:lnTo>
                  <a:cubicBezTo>
                    <a:pt x="85203" y="276367"/>
                    <a:pt x="93465" y="284616"/>
                    <a:pt x="103792" y="284616"/>
                  </a:cubicBezTo>
                  <a:lnTo>
                    <a:pt x="483849" y="284616"/>
                  </a:lnTo>
                  <a:cubicBezTo>
                    <a:pt x="494176" y="284616"/>
                    <a:pt x="502438" y="276367"/>
                    <a:pt x="502438" y="266054"/>
                  </a:cubicBezTo>
                  <a:lnTo>
                    <a:pt x="502438" y="38671"/>
                  </a:lnTo>
                  <a:cubicBezTo>
                    <a:pt x="502438" y="28358"/>
                    <a:pt x="494176" y="19593"/>
                    <a:pt x="483849" y="19593"/>
                  </a:cubicBezTo>
                  <a:close/>
                  <a:moveTo>
                    <a:pt x="76424" y="0"/>
                  </a:moveTo>
                  <a:lnTo>
                    <a:pt x="511217" y="0"/>
                  </a:lnTo>
                  <a:cubicBezTo>
                    <a:pt x="523610" y="0"/>
                    <a:pt x="533421" y="9796"/>
                    <a:pt x="533421" y="21655"/>
                  </a:cubicBezTo>
                  <a:lnTo>
                    <a:pt x="533421" y="152105"/>
                  </a:lnTo>
                  <a:lnTo>
                    <a:pt x="533421" y="282554"/>
                  </a:lnTo>
                  <a:lnTo>
                    <a:pt x="533421" y="304209"/>
                  </a:lnTo>
                  <a:lnTo>
                    <a:pt x="587641" y="369692"/>
                  </a:lnTo>
                  <a:cubicBezTo>
                    <a:pt x="587641" y="387222"/>
                    <a:pt x="573182" y="402175"/>
                    <a:pt x="555109" y="402175"/>
                  </a:cubicBezTo>
                  <a:lnTo>
                    <a:pt x="32532" y="402175"/>
                  </a:lnTo>
                  <a:cubicBezTo>
                    <a:pt x="14459" y="402175"/>
                    <a:pt x="0" y="387738"/>
                    <a:pt x="0" y="369692"/>
                  </a:cubicBezTo>
                  <a:lnTo>
                    <a:pt x="54220" y="304209"/>
                  </a:lnTo>
                  <a:lnTo>
                    <a:pt x="54220" y="282554"/>
                  </a:lnTo>
                  <a:lnTo>
                    <a:pt x="54220" y="152105"/>
                  </a:lnTo>
                  <a:lnTo>
                    <a:pt x="54220" y="21655"/>
                  </a:lnTo>
                  <a:cubicBezTo>
                    <a:pt x="54220" y="9796"/>
                    <a:pt x="64031" y="0"/>
                    <a:pt x="76424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52FB4B03-4EF7-484F-B1A3-D00A5694DAC0}"/>
                </a:ext>
              </a:extLst>
            </p:cNvPr>
            <p:cNvCxnSpPr>
              <a:cxnSpLocks/>
            </p:cNvCxnSpPr>
            <p:nvPr/>
          </p:nvCxnSpPr>
          <p:spPr>
            <a:xfrm>
              <a:off x="2947817" y="4787709"/>
              <a:ext cx="0" cy="13268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C47957CA-B500-4813-8A71-4B3F1BC1109C}"/>
                </a:ext>
              </a:extLst>
            </p:cNvPr>
            <p:cNvCxnSpPr>
              <a:cxnSpLocks/>
            </p:cNvCxnSpPr>
            <p:nvPr/>
          </p:nvCxnSpPr>
          <p:spPr>
            <a:xfrm>
              <a:off x="5382928" y="4787709"/>
              <a:ext cx="0" cy="13268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75837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>
            <a:extLst>
              <a:ext uri="{FF2B5EF4-FFF2-40B4-BE49-F238E27FC236}">
                <a16:creationId xmlns:a16="http://schemas.microsoft.com/office/drawing/2014/main" id="{A4719E1E-6A37-46AA-B7D5-E54F50161CCF}"/>
              </a:ext>
            </a:extLst>
          </p:cNvPr>
          <p:cNvGrpSpPr/>
          <p:nvPr/>
        </p:nvGrpSpPr>
        <p:grpSpPr>
          <a:xfrm>
            <a:off x="673102" y="1879603"/>
            <a:ext cx="5041900" cy="2550655"/>
            <a:chOff x="673100" y="1892300"/>
            <a:chExt cx="5041900" cy="2550655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876F5292-EA25-4F64-83ED-8A37EC056F46}"/>
                </a:ext>
              </a:extLst>
            </p:cNvPr>
            <p:cNvSpPr/>
            <p:nvPr/>
          </p:nvSpPr>
          <p:spPr>
            <a:xfrm>
              <a:off x="673100" y="1892300"/>
              <a:ext cx="4191000" cy="1104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941D61AC-CDDB-4EC1-BAE9-CAED5E5822AA}"/>
                </a:ext>
              </a:extLst>
            </p:cNvPr>
            <p:cNvSpPr/>
            <p:nvPr/>
          </p:nvSpPr>
          <p:spPr>
            <a:xfrm>
              <a:off x="673100" y="3098800"/>
              <a:ext cx="5041900" cy="660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B1BEA94C-497D-4241-A123-FA7419036B5F}"/>
                </a:ext>
              </a:extLst>
            </p:cNvPr>
            <p:cNvSpPr/>
            <p:nvPr/>
          </p:nvSpPr>
          <p:spPr>
            <a:xfrm>
              <a:off x="673100" y="3782555"/>
              <a:ext cx="1562100" cy="660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800" dirty="0">
                <a:solidFill>
                  <a:schemeClr val="bg1"/>
                </a:solidFill>
              </a:rPr>
              <a:t>Thanks</a:t>
            </a:r>
            <a:br>
              <a:rPr lang="en-US" altLang="zh-CN" dirty="0">
                <a:solidFill>
                  <a:schemeClr val="bg1"/>
                </a:solidFill>
              </a:rPr>
            </a:br>
            <a:r>
              <a:rPr lang="en-US" altLang="zh-CN" dirty="0">
                <a:solidFill>
                  <a:schemeClr val="bg1"/>
                </a:solidFill>
              </a:rPr>
              <a:t>And Your Slogan Here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73102" y="5823231"/>
            <a:ext cx="1562099" cy="310871"/>
          </a:xfrm>
          <a:solidFill>
            <a:schemeClr val="accent1"/>
          </a:solidFill>
        </p:spPr>
        <p:txBody>
          <a:bodyPr>
            <a:normAutofit fontScale="92500"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Designed by iSlide</a:t>
            </a:r>
            <a:endParaRPr lang="en-US" altLang="en-US" dirty="0">
              <a:solidFill>
                <a:schemeClr val="bg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3" y="5526961"/>
            <a:ext cx="2032000" cy="296271"/>
          </a:xfrm>
          <a:solidFill>
            <a:schemeClr val="accent1"/>
          </a:solidFill>
        </p:spPr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B233EC-3A33-41ED-A696-D2DA646F4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F7F6562-FDF7-4D44-8BB4-BCF8B98AF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FFBDFB4-012A-4FEC-AFAA-9443A1B1C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0645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800D631-716F-4F47-93E7-D47ED80D5D00}"/>
              </a:ext>
            </a:extLst>
          </p:cNvPr>
          <p:cNvGrpSpPr>
            <a:grpSpLocks noChangeAspect="1"/>
          </p:cNvGrpSpPr>
          <p:nvPr/>
        </p:nvGrpSpPr>
        <p:grpSpPr>
          <a:xfrm>
            <a:off x="736826" y="1613693"/>
            <a:ext cx="10783662" cy="4386538"/>
            <a:chOff x="736826" y="1613693"/>
            <a:chExt cx="10783662" cy="4386538"/>
          </a:xfrm>
        </p:grpSpPr>
        <p:grpSp>
          <p:nvGrpSpPr>
            <p:cNvPr id="6" name="ïṩlíḓé">
              <a:extLst>
                <a:ext uri="{FF2B5EF4-FFF2-40B4-BE49-F238E27FC236}">
                  <a16:creationId xmlns:a16="http://schemas.microsoft.com/office/drawing/2014/main" id="{AB1DB323-A8C5-47A2-B355-66B8BD035FAD}"/>
                </a:ext>
              </a:extLst>
            </p:cNvPr>
            <p:cNvGrpSpPr/>
            <p:nvPr/>
          </p:nvGrpSpPr>
          <p:grpSpPr>
            <a:xfrm flipH="1">
              <a:off x="5918693" y="2584705"/>
              <a:ext cx="5427624" cy="3415526"/>
              <a:chOff x="1047976" y="1996877"/>
              <a:chExt cx="5427624" cy="3415526"/>
            </a:xfrm>
            <a:solidFill>
              <a:schemeClr val="bg1">
                <a:lumMod val="85000"/>
              </a:schemeClr>
            </a:solidFill>
          </p:grpSpPr>
          <p:sp>
            <p:nvSpPr>
              <p:cNvPr id="24" name="iṩḷïḓe">
                <a:extLst>
                  <a:ext uri="{FF2B5EF4-FFF2-40B4-BE49-F238E27FC236}">
                    <a16:creationId xmlns:a16="http://schemas.microsoft.com/office/drawing/2014/main" id="{3E3DAE87-9707-4F3F-8DCC-1F991C56AC32}"/>
                  </a:ext>
                </a:extLst>
              </p:cNvPr>
              <p:cNvSpPr/>
              <p:nvPr/>
            </p:nvSpPr>
            <p:spPr>
              <a:xfrm rot="1582721">
                <a:off x="4768544" y="1996877"/>
                <a:ext cx="1707056" cy="2560577"/>
              </a:xfrm>
              <a:custGeom>
                <a:avLst/>
                <a:gdLst/>
                <a:ahLst/>
                <a:cxnLst/>
                <a:rect l="l" t="t" r="r" b="b"/>
                <a:pathLst>
                  <a:path w="130629" h="195943">
                    <a:moveTo>
                      <a:pt x="65315" y="36739"/>
                    </a:moveTo>
                    <a:cubicBezTo>
                      <a:pt x="69567" y="36739"/>
                      <a:pt x="73798" y="37419"/>
                      <a:pt x="78007" y="38780"/>
                    </a:cubicBezTo>
                    <a:cubicBezTo>
                      <a:pt x="82217" y="40141"/>
                      <a:pt x="85917" y="42437"/>
                      <a:pt x="89106" y="45669"/>
                    </a:cubicBezTo>
                    <a:cubicBezTo>
                      <a:pt x="92295" y="48901"/>
                      <a:pt x="93890" y="52728"/>
                      <a:pt x="93890" y="57150"/>
                    </a:cubicBezTo>
                    <a:cubicBezTo>
                      <a:pt x="93890" y="58255"/>
                      <a:pt x="93486" y="59212"/>
                      <a:pt x="92678" y="60020"/>
                    </a:cubicBezTo>
                    <a:cubicBezTo>
                      <a:pt x="91870" y="60828"/>
                      <a:pt x="90913" y="61232"/>
                      <a:pt x="89807" y="61232"/>
                    </a:cubicBezTo>
                    <a:cubicBezTo>
                      <a:pt x="88702" y="61232"/>
                      <a:pt x="87745" y="60828"/>
                      <a:pt x="86937" y="60020"/>
                    </a:cubicBezTo>
                    <a:cubicBezTo>
                      <a:pt x="86129" y="59212"/>
                      <a:pt x="85725" y="58255"/>
                      <a:pt x="85725" y="57150"/>
                    </a:cubicBezTo>
                    <a:cubicBezTo>
                      <a:pt x="85725" y="53238"/>
                      <a:pt x="83429" y="50219"/>
                      <a:pt x="78837" y="48093"/>
                    </a:cubicBezTo>
                    <a:cubicBezTo>
                      <a:pt x="74244" y="45966"/>
                      <a:pt x="69737" y="44903"/>
                      <a:pt x="65315" y="44903"/>
                    </a:cubicBezTo>
                    <a:cubicBezTo>
                      <a:pt x="64209" y="44903"/>
                      <a:pt x="63252" y="44499"/>
                      <a:pt x="62444" y="43692"/>
                    </a:cubicBezTo>
                    <a:cubicBezTo>
                      <a:pt x="61636" y="42884"/>
                      <a:pt x="61232" y="41927"/>
                      <a:pt x="61232" y="40821"/>
                    </a:cubicBezTo>
                    <a:cubicBezTo>
                      <a:pt x="61232" y="39716"/>
                      <a:pt x="61636" y="38759"/>
                      <a:pt x="62444" y="37951"/>
                    </a:cubicBezTo>
                    <a:cubicBezTo>
                      <a:pt x="63252" y="37143"/>
                      <a:pt x="64209" y="36739"/>
                      <a:pt x="65315" y="36739"/>
                    </a:cubicBezTo>
                    <a:close/>
                    <a:moveTo>
                      <a:pt x="65315" y="16328"/>
                    </a:moveTo>
                    <a:cubicBezTo>
                      <a:pt x="59446" y="16328"/>
                      <a:pt x="53642" y="17285"/>
                      <a:pt x="47902" y="19199"/>
                    </a:cubicBezTo>
                    <a:cubicBezTo>
                      <a:pt x="42161" y="21112"/>
                      <a:pt x="36931" y="23749"/>
                      <a:pt x="32211" y="27108"/>
                    </a:cubicBezTo>
                    <a:cubicBezTo>
                      <a:pt x="27491" y="30467"/>
                      <a:pt x="23664" y="34783"/>
                      <a:pt x="20730" y="40056"/>
                    </a:cubicBezTo>
                    <a:cubicBezTo>
                      <a:pt x="17796" y="45329"/>
                      <a:pt x="16329" y="51027"/>
                      <a:pt x="16329" y="57150"/>
                    </a:cubicBezTo>
                    <a:cubicBezTo>
                      <a:pt x="16329" y="65739"/>
                      <a:pt x="19220" y="73393"/>
                      <a:pt x="25003" y="80112"/>
                    </a:cubicBezTo>
                    <a:cubicBezTo>
                      <a:pt x="25854" y="81047"/>
                      <a:pt x="27151" y="82451"/>
                      <a:pt x="28894" y="84322"/>
                    </a:cubicBezTo>
                    <a:cubicBezTo>
                      <a:pt x="30638" y="86193"/>
                      <a:pt x="31935" y="87596"/>
                      <a:pt x="32785" y="88531"/>
                    </a:cubicBezTo>
                    <a:cubicBezTo>
                      <a:pt x="43671" y="101543"/>
                      <a:pt x="49666" y="114215"/>
                      <a:pt x="50772" y="126546"/>
                    </a:cubicBezTo>
                    <a:lnTo>
                      <a:pt x="79857" y="126546"/>
                    </a:lnTo>
                    <a:cubicBezTo>
                      <a:pt x="80963" y="114215"/>
                      <a:pt x="86958" y="101543"/>
                      <a:pt x="97844" y="88531"/>
                    </a:cubicBezTo>
                    <a:cubicBezTo>
                      <a:pt x="98695" y="87596"/>
                      <a:pt x="99991" y="86193"/>
                      <a:pt x="101735" y="84322"/>
                    </a:cubicBezTo>
                    <a:cubicBezTo>
                      <a:pt x="103478" y="82451"/>
                      <a:pt x="104775" y="81047"/>
                      <a:pt x="105626" y="80112"/>
                    </a:cubicBezTo>
                    <a:cubicBezTo>
                      <a:pt x="111409" y="73393"/>
                      <a:pt x="114300" y="65739"/>
                      <a:pt x="114300" y="57150"/>
                    </a:cubicBezTo>
                    <a:cubicBezTo>
                      <a:pt x="114300" y="51027"/>
                      <a:pt x="112833" y="45329"/>
                      <a:pt x="109899" y="40056"/>
                    </a:cubicBezTo>
                    <a:cubicBezTo>
                      <a:pt x="106965" y="34783"/>
                      <a:pt x="103138" y="30467"/>
                      <a:pt x="98418" y="27108"/>
                    </a:cubicBezTo>
                    <a:cubicBezTo>
                      <a:pt x="93698" y="23749"/>
                      <a:pt x="88468" y="21112"/>
                      <a:pt x="82727" y="19199"/>
                    </a:cubicBezTo>
                    <a:cubicBezTo>
                      <a:pt x="76987" y="17285"/>
                      <a:pt x="71183" y="16328"/>
                      <a:pt x="65315" y="16328"/>
                    </a:cubicBezTo>
                    <a:close/>
                    <a:moveTo>
                      <a:pt x="65315" y="0"/>
                    </a:moveTo>
                    <a:cubicBezTo>
                      <a:pt x="73394" y="0"/>
                      <a:pt x="81324" y="1382"/>
                      <a:pt x="89106" y="4146"/>
                    </a:cubicBezTo>
                    <a:cubicBezTo>
                      <a:pt x="96887" y="6910"/>
                      <a:pt x="103861" y="10694"/>
                      <a:pt x="110027" y="15499"/>
                    </a:cubicBezTo>
                    <a:cubicBezTo>
                      <a:pt x="116192" y="20304"/>
                      <a:pt x="121168" y="26342"/>
                      <a:pt x="124952" y="33614"/>
                    </a:cubicBezTo>
                    <a:cubicBezTo>
                      <a:pt x="128737" y="40885"/>
                      <a:pt x="130629" y="48730"/>
                      <a:pt x="130629" y="57150"/>
                    </a:cubicBezTo>
                    <a:cubicBezTo>
                      <a:pt x="130629" y="70332"/>
                      <a:pt x="126249" y="81728"/>
                      <a:pt x="117489" y="91338"/>
                    </a:cubicBezTo>
                    <a:cubicBezTo>
                      <a:pt x="113662" y="95505"/>
                      <a:pt x="110495" y="99204"/>
                      <a:pt x="107986" y="102436"/>
                    </a:cubicBezTo>
                    <a:cubicBezTo>
                      <a:pt x="105477" y="105668"/>
                      <a:pt x="102947" y="109729"/>
                      <a:pt x="100395" y="114619"/>
                    </a:cubicBezTo>
                    <a:cubicBezTo>
                      <a:pt x="97844" y="119509"/>
                      <a:pt x="96398" y="124080"/>
                      <a:pt x="96058" y="128332"/>
                    </a:cubicBezTo>
                    <a:cubicBezTo>
                      <a:pt x="100055" y="130713"/>
                      <a:pt x="102054" y="134200"/>
                      <a:pt x="102054" y="138793"/>
                    </a:cubicBezTo>
                    <a:cubicBezTo>
                      <a:pt x="102054" y="141939"/>
                      <a:pt x="100991" y="144661"/>
                      <a:pt x="98865" y="146957"/>
                    </a:cubicBezTo>
                    <a:cubicBezTo>
                      <a:pt x="100991" y="149253"/>
                      <a:pt x="102054" y="151975"/>
                      <a:pt x="102054" y="155121"/>
                    </a:cubicBezTo>
                    <a:cubicBezTo>
                      <a:pt x="102054" y="159544"/>
                      <a:pt x="100140" y="162988"/>
                      <a:pt x="96313" y="165454"/>
                    </a:cubicBezTo>
                    <a:cubicBezTo>
                      <a:pt x="97419" y="167410"/>
                      <a:pt x="97972" y="169409"/>
                      <a:pt x="97972" y="171450"/>
                    </a:cubicBezTo>
                    <a:cubicBezTo>
                      <a:pt x="97972" y="175362"/>
                      <a:pt x="96632" y="178381"/>
                      <a:pt x="93953" y="180507"/>
                    </a:cubicBezTo>
                    <a:cubicBezTo>
                      <a:pt x="91274" y="182633"/>
                      <a:pt x="87979" y="183696"/>
                      <a:pt x="84067" y="183696"/>
                    </a:cubicBezTo>
                    <a:cubicBezTo>
                      <a:pt x="82366" y="187438"/>
                      <a:pt x="79815" y="190415"/>
                      <a:pt x="76413" y="192626"/>
                    </a:cubicBezTo>
                    <a:cubicBezTo>
                      <a:pt x="73011" y="194837"/>
                      <a:pt x="69312" y="195943"/>
                      <a:pt x="65315" y="195943"/>
                    </a:cubicBezTo>
                    <a:cubicBezTo>
                      <a:pt x="61317" y="195943"/>
                      <a:pt x="57618" y="194837"/>
                      <a:pt x="54216" y="192626"/>
                    </a:cubicBezTo>
                    <a:cubicBezTo>
                      <a:pt x="50814" y="190415"/>
                      <a:pt x="48263" y="187438"/>
                      <a:pt x="46562" y="183696"/>
                    </a:cubicBezTo>
                    <a:cubicBezTo>
                      <a:pt x="42650" y="183696"/>
                      <a:pt x="39355" y="182633"/>
                      <a:pt x="36676" y="180507"/>
                    </a:cubicBezTo>
                    <a:cubicBezTo>
                      <a:pt x="33997" y="178381"/>
                      <a:pt x="32657" y="175362"/>
                      <a:pt x="32657" y="171450"/>
                    </a:cubicBezTo>
                    <a:cubicBezTo>
                      <a:pt x="32657" y="169409"/>
                      <a:pt x="33210" y="167410"/>
                      <a:pt x="34316" y="165454"/>
                    </a:cubicBezTo>
                    <a:cubicBezTo>
                      <a:pt x="30489" y="162988"/>
                      <a:pt x="28575" y="159544"/>
                      <a:pt x="28575" y="155121"/>
                    </a:cubicBezTo>
                    <a:cubicBezTo>
                      <a:pt x="28575" y="151975"/>
                      <a:pt x="29638" y="149253"/>
                      <a:pt x="31764" y="146957"/>
                    </a:cubicBezTo>
                    <a:cubicBezTo>
                      <a:pt x="29638" y="144661"/>
                      <a:pt x="28575" y="141939"/>
                      <a:pt x="28575" y="138793"/>
                    </a:cubicBezTo>
                    <a:cubicBezTo>
                      <a:pt x="28575" y="134200"/>
                      <a:pt x="30574" y="130713"/>
                      <a:pt x="34571" y="128332"/>
                    </a:cubicBezTo>
                    <a:cubicBezTo>
                      <a:pt x="34231" y="124080"/>
                      <a:pt x="32785" y="119509"/>
                      <a:pt x="30234" y="114619"/>
                    </a:cubicBezTo>
                    <a:cubicBezTo>
                      <a:pt x="27682" y="109729"/>
                      <a:pt x="25152" y="105668"/>
                      <a:pt x="22643" y="102436"/>
                    </a:cubicBezTo>
                    <a:cubicBezTo>
                      <a:pt x="20135" y="99204"/>
                      <a:pt x="16967" y="95505"/>
                      <a:pt x="13140" y="91338"/>
                    </a:cubicBezTo>
                    <a:cubicBezTo>
                      <a:pt x="4380" y="81728"/>
                      <a:pt x="0" y="70332"/>
                      <a:pt x="0" y="57150"/>
                    </a:cubicBezTo>
                    <a:cubicBezTo>
                      <a:pt x="0" y="48730"/>
                      <a:pt x="1892" y="40885"/>
                      <a:pt x="5677" y="33614"/>
                    </a:cubicBezTo>
                    <a:cubicBezTo>
                      <a:pt x="9461" y="26342"/>
                      <a:pt x="14437" y="20304"/>
                      <a:pt x="20602" y="15499"/>
                    </a:cubicBezTo>
                    <a:cubicBezTo>
                      <a:pt x="26768" y="10694"/>
                      <a:pt x="33742" y="6910"/>
                      <a:pt x="41523" y="4146"/>
                    </a:cubicBezTo>
                    <a:cubicBezTo>
                      <a:pt x="49305" y="1382"/>
                      <a:pt x="57235" y="0"/>
                      <a:pt x="65315" y="0"/>
                    </a:cubicBezTo>
                    <a:close/>
                  </a:path>
                </a:pathLst>
              </a:custGeom>
              <a:grpFill/>
              <a:ln w="57150"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5" name="íşlïdé">
                <a:extLst>
                  <a:ext uri="{FF2B5EF4-FFF2-40B4-BE49-F238E27FC236}">
                    <a16:creationId xmlns:a16="http://schemas.microsoft.com/office/drawing/2014/main" id="{7C99620B-8631-4194-A4B4-5C3A0230A3FB}"/>
                  </a:ext>
                </a:extLst>
              </p:cNvPr>
              <p:cNvSpPr/>
              <p:nvPr/>
            </p:nvSpPr>
            <p:spPr bwMode="auto">
              <a:xfrm>
                <a:off x="1047976" y="4389750"/>
                <a:ext cx="4079154" cy="1022653"/>
              </a:xfrm>
              <a:custGeom>
                <a:avLst/>
                <a:gdLst>
                  <a:gd name="T0" fmla="*/ 229 w 695"/>
                  <a:gd name="T1" fmla="*/ 157 h 174"/>
                  <a:gd name="T2" fmla="*/ 338 w 695"/>
                  <a:gd name="T3" fmla="*/ 173 h 174"/>
                  <a:gd name="T4" fmla="*/ 395 w 695"/>
                  <a:gd name="T5" fmla="*/ 157 h 174"/>
                  <a:gd name="T6" fmla="*/ 273 w 695"/>
                  <a:gd name="T7" fmla="*/ 86 h 174"/>
                  <a:gd name="T8" fmla="*/ 273 w 695"/>
                  <a:gd name="T9" fmla="*/ 72 h 174"/>
                  <a:gd name="T10" fmla="*/ 355 w 695"/>
                  <a:gd name="T11" fmla="*/ 82 h 174"/>
                  <a:gd name="T12" fmla="*/ 493 w 695"/>
                  <a:gd name="T13" fmla="*/ 99 h 174"/>
                  <a:gd name="T14" fmla="*/ 563 w 695"/>
                  <a:gd name="T15" fmla="*/ 86 h 174"/>
                  <a:gd name="T16" fmla="*/ 534 w 695"/>
                  <a:gd name="T17" fmla="*/ 47 h 174"/>
                  <a:gd name="T18" fmla="*/ 569 w 695"/>
                  <a:gd name="T19" fmla="*/ 32 h 174"/>
                  <a:gd name="T20" fmla="*/ 656 w 695"/>
                  <a:gd name="T21" fmla="*/ 39 h 174"/>
                  <a:gd name="T22" fmla="*/ 653 w 695"/>
                  <a:gd name="T23" fmla="*/ 8 h 174"/>
                  <a:gd name="T24" fmla="*/ 656 w 695"/>
                  <a:gd name="T25" fmla="*/ 4 h 174"/>
                  <a:gd name="T26" fmla="*/ 677 w 695"/>
                  <a:gd name="T27" fmla="*/ 3 h 174"/>
                  <a:gd name="T28" fmla="*/ 689 w 695"/>
                  <a:gd name="T29" fmla="*/ 2 h 174"/>
                  <a:gd name="T30" fmla="*/ 656 w 695"/>
                  <a:gd name="T31" fmla="*/ 1 h 174"/>
                  <a:gd name="T32" fmla="*/ 645 w 695"/>
                  <a:gd name="T33" fmla="*/ 8 h 174"/>
                  <a:gd name="T34" fmla="*/ 652 w 695"/>
                  <a:gd name="T35" fmla="*/ 28 h 174"/>
                  <a:gd name="T36" fmla="*/ 633 w 695"/>
                  <a:gd name="T37" fmla="*/ 32 h 174"/>
                  <a:gd name="T38" fmla="*/ 631 w 695"/>
                  <a:gd name="T39" fmla="*/ 31 h 174"/>
                  <a:gd name="T40" fmla="*/ 623 w 695"/>
                  <a:gd name="T41" fmla="*/ 29 h 174"/>
                  <a:gd name="T42" fmla="*/ 588 w 695"/>
                  <a:gd name="T43" fmla="*/ 27 h 174"/>
                  <a:gd name="T44" fmla="*/ 573 w 695"/>
                  <a:gd name="T45" fmla="*/ 24 h 174"/>
                  <a:gd name="T46" fmla="*/ 562 w 695"/>
                  <a:gd name="T47" fmla="*/ 22 h 174"/>
                  <a:gd name="T48" fmla="*/ 532 w 695"/>
                  <a:gd name="T49" fmla="*/ 21 h 174"/>
                  <a:gd name="T50" fmla="*/ 498 w 695"/>
                  <a:gd name="T51" fmla="*/ 36 h 174"/>
                  <a:gd name="T52" fmla="*/ 500 w 695"/>
                  <a:gd name="T53" fmla="*/ 43 h 174"/>
                  <a:gd name="T54" fmla="*/ 516 w 695"/>
                  <a:gd name="T55" fmla="*/ 47 h 174"/>
                  <a:gd name="T56" fmla="*/ 509 w 695"/>
                  <a:gd name="T57" fmla="*/ 51 h 174"/>
                  <a:gd name="T58" fmla="*/ 529 w 695"/>
                  <a:gd name="T59" fmla="*/ 74 h 174"/>
                  <a:gd name="T60" fmla="*/ 535 w 695"/>
                  <a:gd name="T61" fmla="*/ 83 h 174"/>
                  <a:gd name="T62" fmla="*/ 515 w 695"/>
                  <a:gd name="T63" fmla="*/ 91 h 174"/>
                  <a:gd name="T64" fmla="*/ 466 w 695"/>
                  <a:gd name="T65" fmla="*/ 86 h 174"/>
                  <a:gd name="T66" fmla="*/ 444 w 695"/>
                  <a:gd name="T67" fmla="*/ 84 h 174"/>
                  <a:gd name="T68" fmla="*/ 435 w 695"/>
                  <a:gd name="T69" fmla="*/ 82 h 174"/>
                  <a:gd name="T70" fmla="*/ 418 w 695"/>
                  <a:gd name="T71" fmla="*/ 82 h 174"/>
                  <a:gd name="T72" fmla="*/ 383 w 695"/>
                  <a:gd name="T73" fmla="*/ 77 h 174"/>
                  <a:gd name="T74" fmla="*/ 346 w 695"/>
                  <a:gd name="T75" fmla="*/ 71 h 174"/>
                  <a:gd name="T76" fmla="*/ 307 w 695"/>
                  <a:gd name="T77" fmla="*/ 68 h 174"/>
                  <a:gd name="T78" fmla="*/ 240 w 695"/>
                  <a:gd name="T79" fmla="*/ 69 h 174"/>
                  <a:gd name="T80" fmla="*/ 241 w 695"/>
                  <a:gd name="T81" fmla="*/ 78 h 174"/>
                  <a:gd name="T82" fmla="*/ 247 w 695"/>
                  <a:gd name="T83" fmla="*/ 84 h 174"/>
                  <a:gd name="T84" fmla="*/ 245 w 695"/>
                  <a:gd name="T85" fmla="*/ 86 h 174"/>
                  <a:gd name="T86" fmla="*/ 269 w 695"/>
                  <a:gd name="T87" fmla="*/ 98 h 174"/>
                  <a:gd name="T88" fmla="*/ 293 w 695"/>
                  <a:gd name="T89" fmla="*/ 111 h 174"/>
                  <a:gd name="T90" fmla="*/ 308 w 695"/>
                  <a:gd name="T91" fmla="*/ 118 h 174"/>
                  <a:gd name="T92" fmla="*/ 332 w 695"/>
                  <a:gd name="T93" fmla="*/ 128 h 174"/>
                  <a:gd name="T94" fmla="*/ 352 w 695"/>
                  <a:gd name="T95" fmla="*/ 144 h 174"/>
                  <a:gd name="T96" fmla="*/ 371 w 695"/>
                  <a:gd name="T97" fmla="*/ 156 h 174"/>
                  <a:gd name="T98" fmla="*/ 370 w 695"/>
                  <a:gd name="T99" fmla="*/ 167 h 174"/>
                  <a:gd name="T100" fmla="*/ 281 w 695"/>
                  <a:gd name="T101" fmla="*/ 157 h 174"/>
                  <a:gd name="T102" fmla="*/ 249 w 695"/>
                  <a:gd name="T103" fmla="*/ 152 h 174"/>
                  <a:gd name="T104" fmla="*/ 160 w 695"/>
                  <a:gd name="T105" fmla="*/ 140 h 174"/>
                  <a:gd name="T106" fmla="*/ 79 w 695"/>
                  <a:gd name="T107" fmla="*/ 123 h 174"/>
                  <a:gd name="T108" fmla="*/ 656 w 695"/>
                  <a:gd name="T109" fmla="*/ 33 h 174"/>
                  <a:gd name="T110" fmla="*/ 648 w 695"/>
                  <a:gd name="T111" fmla="*/ 5 h 174"/>
                  <a:gd name="T112" fmla="*/ 655 w 695"/>
                  <a:gd name="T113" fmla="*/ 33 h 174"/>
                  <a:gd name="T114" fmla="*/ 648 w 695"/>
                  <a:gd name="T115" fmla="*/ 37 h 174"/>
                  <a:gd name="T116" fmla="*/ 535 w 695"/>
                  <a:gd name="T117" fmla="*/ 92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95" h="174">
                    <a:moveTo>
                      <a:pt x="78" y="130"/>
                    </a:moveTo>
                    <a:cubicBezTo>
                      <a:pt x="88" y="132"/>
                      <a:pt x="101" y="134"/>
                      <a:pt x="109" y="136"/>
                    </a:cubicBezTo>
                    <a:cubicBezTo>
                      <a:pt x="147" y="143"/>
                      <a:pt x="179" y="151"/>
                      <a:pt x="220" y="157"/>
                    </a:cubicBezTo>
                    <a:cubicBezTo>
                      <a:pt x="219" y="157"/>
                      <a:pt x="222" y="157"/>
                      <a:pt x="225" y="157"/>
                    </a:cubicBezTo>
                    <a:cubicBezTo>
                      <a:pt x="224" y="157"/>
                      <a:pt x="224" y="157"/>
                      <a:pt x="224" y="157"/>
                    </a:cubicBezTo>
                    <a:cubicBezTo>
                      <a:pt x="229" y="157"/>
                      <a:pt x="229" y="157"/>
                      <a:pt x="229" y="157"/>
                    </a:cubicBezTo>
                    <a:cubicBezTo>
                      <a:pt x="232" y="157"/>
                      <a:pt x="229" y="158"/>
                      <a:pt x="226" y="158"/>
                    </a:cubicBezTo>
                    <a:cubicBezTo>
                      <a:pt x="242" y="160"/>
                      <a:pt x="257" y="162"/>
                      <a:pt x="272" y="165"/>
                    </a:cubicBezTo>
                    <a:cubicBezTo>
                      <a:pt x="275" y="164"/>
                      <a:pt x="280" y="166"/>
                      <a:pt x="283" y="165"/>
                    </a:cubicBezTo>
                    <a:cubicBezTo>
                      <a:pt x="283" y="166"/>
                      <a:pt x="283" y="166"/>
                      <a:pt x="282" y="166"/>
                    </a:cubicBezTo>
                    <a:cubicBezTo>
                      <a:pt x="294" y="167"/>
                      <a:pt x="295" y="167"/>
                      <a:pt x="303" y="169"/>
                    </a:cubicBezTo>
                    <a:cubicBezTo>
                      <a:pt x="314" y="171"/>
                      <a:pt x="325" y="172"/>
                      <a:pt x="338" y="173"/>
                    </a:cubicBezTo>
                    <a:cubicBezTo>
                      <a:pt x="346" y="174"/>
                      <a:pt x="351" y="174"/>
                      <a:pt x="366" y="173"/>
                    </a:cubicBezTo>
                    <a:cubicBezTo>
                      <a:pt x="367" y="173"/>
                      <a:pt x="372" y="173"/>
                      <a:pt x="375" y="172"/>
                    </a:cubicBezTo>
                    <a:cubicBezTo>
                      <a:pt x="379" y="171"/>
                      <a:pt x="379" y="171"/>
                      <a:pt x="379" y="171"/>
                    </a:cubicBezTo>
                    <a:cubicBezTo>
                      <a:pt x="396" y="166"/>
                      <a:pt x="387" y="169"/>
                      <a:pt x="391" y="167"/>
                    </a:cubicBezTo>
                    <a:cubicBezTo>
                      <a:pt x="398" y="163"/>
                      <a:pt x="396" y="163"/>
                      <a:pt x="397" y="161"/>
                    </a:cubicBezTo>
                    <a:cubicBezTo>
                      <a:pt x="397" y="160"/>
                      <a:pt x="396" y="158"/>
                      <a:pt x="395" y="157"/>
                    </a:cubicBezTo>
                    <a:cubicBezTo>
                      <a:pt x="389" y="149"/>
                      <a:pt x="378" y="143"/>
                      <a:pt x="368" y="136"/>
                    </a:cubicBezTo>
                    <a:cubicBezTo>
                      <a:pt x="347" y="123"/>
                      <a:pt x="322" y="111"/>
                      <a:pt x="300" y="97"/>
                    </a:cubicBezTo>
                    <a:cubicBezTo>
                      <a:pt x="292" y="96"/>
                      <a:pt x="289" y="93"/>
                      <a:pt x="282" y="92"/>
                    </a:cubicBezTo>
                    <a:cubicBezTo>
                      <a:pt x="283" y="91"/>
                      <a:pt x="283" y="91"/>
                      <a:pt x="283" y="91"/>
                    </a:cubicBezTo>
                    <a:cubicBezTo>
                      <a:pt x="278" y="90"/>
                      <a:pt x="279" y="89"/>
                      <a:pt x="277" y="86"/>
                    </a:cubicBezTo>
                    <a:cubicBezTo>
                      <a:pt x="276" y="86"/>
                      <a:pt x="275" y="85"/>
                      <a:pt x="273" y="86"/>
                    </a:cubicBezTo>
                    <a:cubicBezTo>
                      <a:pt x="270" y="85"/>
                      <a:pt x="274" y="83"/>
                      <a:pt x="271" y="82"/>
                    </a:cubicBezTo>
                    <a:cubicBezTo>
                      <a:pt x="272" y="82"/>
                      <a:pt x="270" y="83"/>
                      <a:pt x="270" y="82"/>
                    </a:cubicBezTo>
                    <a:cubicBezTo>
                      <a:pt x="262" y="79"/>
                      <a:pt x="272" y="82"/>
                      <a:pt x="269" y="77"/>
                    </a:cubicBezTo>
                    <a:cubicBezTo>
                      <a:pt x="267" y="76"/>
                      <a:pt x="264" y="74"/>
                      <a:pt x="262" y="72"/>
                    </a:cubicBezTo>
                    <a:cubicBezTo>
                      <a:pt x="265" y="72"/>
                      <a:pt x="269" y="72"/>
                      <a:pt x="272" y="73"/>
                    </a:cubicBezTo>
                    <a:cubicBezTo>
                      <a:pt x="270" y="73"/>
                      <a:pt x="271" y="72"/>
                      <a:pt x="273" y="72"/>
                    </a:cubicBezTo>
                    <a:cubicBezTo>
                      <a:pt x="273" y="74"/>
                      <a:pt x="281" y="72"/>
                      <a:pt x="284" y="73"/>
                    </a:cubicBezTo>
                    <a:cubicBezTo>
                      <a:pt x="283" y="73"/>
                      <a:pt x="281" y="73"/>
                      <a:pt x="280" y="73"/>
                    </a:cubicBezTo>
                    <a:cubicBezTo>
                      <a:pt x="288" y="75"/>
                      <a:pt x="297" y="75"/>
                      <a:pt x="304" y="76"/>
                    </a:cubicBezTo>
                    <a:cubicBezTo>
                      <a:pt x="314" y="76"/>
                      <a:pt x="320" y="79"/>
                      <a:pt x="327" y="78"/>
                    </a:cubicBezTo>
                    <a:cubicBezTo>
                      <a:pt x="325" y="79"/>
                      <a:pt x="330" y="79"/>
                      <a:pt x="331" y="80"/>
                    </a:cubicBezTo>
                    <a:cubicBezTo>
                      <a:pt x="341" y="79"/>
                      <a:pt x="345" y="82"/>
                      <a:pt x="355" y="82"/>
                    </a:cubicBezTo>
                    <a:cubicBezTo>
                      <a:pt x="354" y="82"/>
                      <a:pt x="354" y="82"/>
                      <a:pt x="354" y="82"/>
                    </a:cubicBezTo>
                    <a:cubicBezTo>
                      <a:pt x="376" y="85"/>
                      <a:pt x="398" y="88"/>
                      <a:pt x="422" y="90"/>
                    </a:cubicBezTo>
                    <a:cubicBezTo>
                      <a:pt x="436" y="92"/>
                      <a:pt x="446" y="95"/>
                      <a:pt x="463" y="96"/>
                    </a:cubicBezTo>
                    <a:cubicBezTo>
                      <a:pt x="466" y="96"/>
                      <a:pt x="464" y="96"/>
                      <a:pt x="467" y="96"/>
                    </a:cubicBezTo>
                    <a:cubicBezTo>
                      <a:pt x="470" y="96"/>
                      <a:pt x="466" y="96"/>
                      <a:pt x="467" y="96"/>
                    </a:cubicBezTo>
                    <a:cubicBezTo>
                      <a:pt x="475" y="97"/>
                      <a:pt x="483" y="98"/>
                      <a:pt x="493" y="99"/>
                    </a:cubicBezTo>
                    <a:cubicBezTo>
                      <a:pt x="494" y="99"/>
                      <a:pt x="497" y="99"/>
                      <a:pt x="497" y="99"/>
                    </a:cubicBezTo>
                    <a:cubicBezTo>
                      <a:pt x="501" y="100"/>
                      <a:pt x="508" y="100"/>
                      <a:pt x="516" y="100"/>
                    </a:cubicBezTo>
                    <a:cubicBezTo>
                      <a:pt x="520" y="100"/>
                      <a:pt x="524" y="100"/>
                      <a:pt x="530" y="100"/>
                    </a:cubicBezTo>
                    <a:cubicBezTo>
                      <a:pt x="534" y="101"/>
                      <a:pt x="558" y="94"/>
                      <a:pt x="557" y="93"/>
                    </a:cubicBezTo>
                    <a:cubicBezTo>
                      <a:pt x="549" y="96"/>
                      <a:pt x="562" y="89"/>
                      <a:pt x="560" y="87"/>
                    </a:cubicBezTo>
                    <a:cubicBezTo>
                      <a:pt x="561" y="86"/>
                      <a:pt x="562" y="86"/>
                      <a:pt x="563" y="86"/>
                    </a:cubicBezTo>
                    <a:cubicBezTo>
                      <a:pt x="564" y="83"/>
                      <a:pt x="563" y="81"/>
                      <a:pt x="563" y="77"/>
                    </a:cubicBezTo>
                    <a:cubicBezTo>
                      <a:pt x="562" y="76"/>
                      <a:pt x="559" y="76"/>
                      <a:pt x="559" y="74"/>
                    </a:cubicBezTo>
                    <a:cubicBezTo>
                      <a:pt x="561" y="72"/>
                      <a:pt x="557" y="70"/>
                      <a:pt x="557" y="68"/>
                    </a:cubicBezTo>
                    <a:cubicBezTo>
                      <a:pt x="554" y="69"/>
                      <a:pt x="551" y="68"/>
                      <a:pt x="550" y="66"/>
                    </a:cubicBezTo>
                    <a:cubicBezTo>
                      <a:pt x="554" y="65"/>
                      <a:pt x="554" y="65"/>
                      <a:pt x="554" y="65"/>
                    </a:cubicBezTo>
                    <a:cubicBezTo>
                      <a:pt x="548" y="61"/>
                      <a:pt x="545" y="52"/>
                      <a:pt x="534" y="47"/>
                    </a:cubicBezTo>
                    <a:cubicBezTo>
                      <a:pt x="536" y="46"/>
                      <a:pt x="536" y="46"/>
                      <a:pt x="536" y="46"/>
                    </a:cubicBezTo>
                    <a:cubicBezTo>
                      <a:pt x="528" y="41"/>
                      <a:pt x="524" y="34"/>
                      <a:pt x="521" y="29"/>
                    </a:cubicBezTo>
                    <a:cubicBezTo>
                      <a:pt x="521" y="29"/>
                      <a:pt x="520" y="30"/>
                      <a:pt x="527" y="30"/>
                    </a:cubicBezTo>
                    <a:cubicBezTo>
                      <a:pt x="534" y="29"/>
                      <a:pt x="537" y="29"/>
                      <a:pt x="543" y="29"/>
                    </a:cubicBezTo>
                    <a:cubicBezTo>
                      <a:pt x="546" y="29"/>
                      <a:pt x="546" y="30"/>
                      <a:pt x="547" y="30"/>
                    </a:cubicBezTo>
                    <a:cubicBezTo>
                      <a:pt x="555" y="31"/>
                      <a:pt x="560" y="33"/>
                      <a:pt x="569" y="32"/>
                    </a:cubicBezTo>
                    <a:cubicBezTo>
                      <a:pt x="568" y="33"/>
                      <a:pt x="568" y="33"/>
                      <a:pt x="568" y="33"/>
                    </a:cubicBezTo>
                    <a:cubicBezTo>
                      <a:pt x="575" y="33"/>
                      <a:pt x="586" y="34"/>
                      <a:pt x="592" y="35"/>
                    </a:cubicBezTo>
                    <a:cubicBezTo>
                      <a:pt x="595" y="35"/>
                      <a:pt x="603" y="36"/>
                      <a:pt x="601" y="35"/>
                    </a:cubicBezTo>
                    <a:cubicBezTo>
                      <a:pt x="604" y="35"/>
                      <a:pt x="600" y="36"/>
                      <a:pt x="605" y="36"/>
                    </a:cubicBezTo>
                    <a:cubicBezTo>
                      <a:pt x="600" y="36"/>
                      <a:pt x="600" y="36"/>
                      <a:pt x="600" y="36"/>
                    </a:cubicBezTo>
                    <a:cubicBezTo>
                      <a:pt x="618" y="38"/>
                      <a:pt x="625" y="42"/>
                      <a:pt x="656" y="39"/>
                    </a:cubicBezTo>
                    <a:cubicBezTo>
                      <a:pt x="672" y="35"/>
                      <a:pt x="667" y="30"/>
                      <a:pt x="667" y="26"/>
                    </a:cubicBezTo>
                    <a:cubicBezTo>
                      <a:pt x="665" y="25"/>
                      <a:pt x="664" y="21"/>
                      <a:pt x="659" y="21"/>
                    </a:cubicBezTo>
                    <a:cubicBezTo>
                      <a:pt x="661" y="20"/>
                      <a:pt x="661" y="20"/>
                      <a:pt x="661" y="20"/>
                    </a:cubicBezTo>
                    <a:cubicBezTo>
                      <a:pt x="659" y="18"/>
                      <a:pt x="657" y="14"/>
                      <a:pt x="655" y="11"/>
                    </a:cubicBezTo>
                    <a:cubicBezTo>
                      <a:pt x="655" y="9"/>
                      <a:pt x="653" y="10"/>
                      <a:pt x="651" y="8"/>
                    </a:cubicBezTo>
                    <a:cubicBezTo>
                      <a:pt x="653" y="8"/>
                      <a:pt x="653" y="8"/>
                      <a:pt x="653" y="8"/>
                    </a:cubicBezTo>
                    <a:cubicBezTo>
                      <a:pt x="651" y="6"/>
                      <a:pt x="649" y="6"/>
                      <a:pt x="647" y="6"/>
                    </a:cubicBezTo>
                    <a:cubicBezTo>
                      <a:pt x="648" y="5"/>
                      <a:pt x="648" y="5"/>
                      <a:pt x="648" y="5"/>
                    </a:cubicBezTo>
                    <a:cubicBezTo>
                      <a:pt x="649" y="5"/>
                      <a:pt x="650" y="4"/>
                      <a:pt x="651" y="4"/>
                    </a:cubicBezTo>
                    <a:cubicBezTo>
                      <a:pt x="652" y="5"/>
                      <a:pt x="653" y="5"/>
                      <a:pt x="654" y="5"/>
                    </a:cubicBezTo>
                    <a:cubicBezTo>
                      <a:pt x="653" y="5"/>
                      <a:pt x="654" y="5"/>
                      <a:pt x="654" y="4"/>
                    </a:cubicBezTo>
                    <a:cubicBezTo>
                      <a:pt x="655" y="4"/>
                      <a:pt x="655" y="4"/>
                      <a:pt x="656" y="4"/>
                    </a:cubicBezTo>
                    <a:cubicBezTo>
                      <a:pt x="662" y="4"/>
                      <a:pt x="666" y="4"/>
                      <a:pt x="668" y="3"/>
                    </a:cubicBezTo>
                    <a:cubicBezTo>
                      <a:pt x="666" y="4"/>
                      <a:pt x="671" y="4"/>
                      <a:pt x="667" y="4"/>
                    </a:cubicBezTo>
                    <a:cubicBezTo>
                      <a:pt x="671" y="4"/>
                      <a:pt x="674" y="4"/>
                      <a:pt x="677" y="4"/>
                    </a:cubicBezTo>
                    <a:cubicBezTo>
                      <a:pt x="676" y="4"/>
                      <a:pt x="675" y="4"/>
                      <a:pt x="674" y="4"/>
                    </a:cubicBezTo>
                    <a:cubicBezTo>
                      <a:pt x="678" y="3"/>
                      <a:pt x="682" y="3"/>
                      <a:pt x="682" y="3"/>
                    </a:cubicBezTo>
                    <a:cubicBezTo>
                      <a:pt x="680" y="3"/>
                      <a:pt x="679" y="3"/>
                      <a:pt x="677" y="3"/>
                    </a:cubicBezTo>
                    <a:cubicBezTo>
                      <a:pt x="679" y="2"/>
                      <a:pt x="687" y="2"/>
                      <a:pt x="687" y="3"/>
                    </a:cubicBezTo>
                    <a:cubicBezTo>
                      <a:pt x="687" y="4"/>
                      <a:pt x="681" y="4"/>
                      <a:pt x="683" y="4"/>
                    </a:cubicBezTo>
                    <a:cubicBezTo>
                      <a:pt x="695" y="4"/>
                      <a:pt x="695" y="4"/>
                      <a:pt x="695" y="4"/>
                    </a:cubicBezTo>
                    <a:cubicBezTo>
                      <a:pt x="692" y="4"/>
                      <a:pt x="691" y="3"/>
                      <a:pt x="693" y="3"/>
                    </a:cubicBezTo>
                    <a:cubicBezTo>
                      <a:pt x="688" y="3"/>
                      <a:pt x="688" y="3"/>
                      <a:pt x="688" y="3"/>
                    </a:cubicBezTo>
                    <a:cubicBezTo>
                      <a:pt x="689" y="2"/>
                      <a:pt x="689" y="2"/>
                      <a:pt x="689" y="2"/>
                    </a:cubicBezTo>
                    <a:cubicBezTo>
                      <a:pt x="682" y="2"/>
                      <a:pt x="677" y="1"/>
                      <a:pt x="668" y="1"/>
                    </a:cubicBezTo>
                    <a:cubicBezTo>
                      <a:pt x="670" y="2"/>
                      <a:pt x="670" y="2"/>
                      <a:pt x="670" y="2"/>
                    </a:cubicBezTo>
                    <a:cubicBezTo>
                      <a:pt x="665" y="2"/>
                      <a:pt x="659" y="3"/>
                      <a:pt x="655" y="3"/>
                    </a:cubicBezTo>
                    <a:cubicBezTo>
                      <a:pt x="658" y="2"/>
                      <a:pt x="656" y="2"/>
                      <a:pt x="657" y="2"/>
                    </a:cubicBezTo>
                    <a:cubicBezTo>
                      <a:pt x="655" y="2"/>
                      <a:pt x="654" y="2"/>
                      <a:pt x="652" y="2"/>
                    </a:cubicBezTo>
                    <a:cubicBezTo>
                      <a:pt x="656" y="1"/>
                      <a:pt x="656" y="1"/>
                      <a:pt x="656" y="1"/>
                    </a:cubicBezTo>
                    <a:cubicBezTo>
                      <a:pt x="655" y="1"/>
                      <a:pt x="654" y="2"/>
                      <a:pt x="652" y="2"/>
                    </a:cubicBezTo>
                    <a:cubicBezTo>
                      <a:pt x="649" y="3"/>
                      <a:pt x="655" y="0"/>
                      <a:pt x="645" y="4"/>
                    </a:cubicBezTo>
                    <a:cubicBezTo>
                      <a:pt x="644" y="4"/>
                      <a:pt x="644" y="4"/>
                      <a:pt x="644" y="4"/>
                    </a:cubicBezTo>
                    <a:cubicBezTo>
                      <a:pt x="644" y="6"/>
                      <a:pt x="643" y="7"/>
                      <a:pt x="643" y="7"/>
                    </a:cubicBezTo>
                    <a:cubicBezTo>
                      <a:pt x="643" y="7"/>
                      <a:pt x="643" y="7"/>
                      <a:pt x="643" y="7"/>
                    </a:cubicBezTo>
                    <a:cubicBezTo>
                      <a:pt x="641" y="10"/>
                      <a:pt x="645" y="6"/>
                      <a:pt x="645" y="8"/>
                    </a:cubicBezTo>
                    <a:cubicBezTo>
                      <a:pt x="644" y="9"/>
                      <a:pt x="641" y="9"/>
                      <a:pt x="640" y="11"/>
                    </a:cubicBezTo>
                    <a:cubicBezTo>
                      <a:pt x="640" y="13"/>
                      <a:pt x="645" y="16"/>
                      <a:pt x="644" y="19"/>
                    </a:cubicBezTo>
                    <a:cubicBezTo>
                      <a:pt x="647" y="21"/>
                      <a:pt x="650" y="23"/>
                      <a:pt x="653" y="24"/>
                    </a:cubicBezTo>
                    <a:cubicBezTo>
                      <a:pt x="654" y="25"/>
                      <a:pt x="649" y="25"/>
                      <a:pt x="652" y="26"/>
                    </a:cubicBezTo>
                    <a:cubicBezTo>
                      <a:pt x="650" y="26"/>
                      <a:pt x="649" y="26"/>
                      <a:pt x="648" y="27"/>
                    </a:cubicBezTo>
                    <a:cubicBezTo>
                      <a:pt x="650" y="27"/>
                      <a:pt x="650" y="30"/>
                      <a:pt x="652" y="28"/>
                    </a:cubicBezTo>
                    <a:cubicBezTo>
                      <a:pt x="653" y="30"/>
                      <a:pt x="654" y="32"/>
                      <a:pt x="653" y="33"/>
                    </a:cubicBezTo>
                    <a:cubicBezTo>
                      <a:pt x="652" y="33"/>
                      <a:pt x="650" y="33"/>
                      <a:pt x="649" y="33"/>
                    </a:cubicBezTo>
                    <a:cubicBezTo>
                      <a:pt x="648" y="34"/>
                      <a:pt x="650" y="34"/>
                      <a:pt x="646" y="34"/>
                    </a:cubicBezTo>
                    <a:cubicBezTo>
                      <a:pt x="638" y="35"/>
                      <a:pt x="640" y="33"/>
                      <a:pt x="639" y="32"/>
                    </a:cubicBezTo>
                    <a:cubicBezTo>
                      <a:pt x="643" y="32"/>
                      <a:pt x="643" y="32"/>
                      <a:pt x="643" y="32"/>
                    </a:cubicBezTo>
                    <a:cubicBezTo>
                      <a:pt x="640" y="32"/>
                      <a:pt x="637" y="32"/>
                      <a:pt x="633" y="32"/>
                    </a:cubicBezTo>
                    <a:cubicBezTo>
                      <a:pt x="635" y="30"/>
                      <a:pt x="640" y="32"/>
                      <a:pt x="643" y="32"/>
                    </a:cubicBezTo>
                    <a:cubicBezTo>
                      <a:pt x="642" y="30"/>
                      <a:pt x="642" y="30"/>
                      <a:pt x="642" y="30"/>
                    </a:cubicBezTo>
                    <a:cubicBezTo>
                      <a:pt x="636" y="29"/>
                      <a:pt x="638" y="31"/>
                      <a:pt x="632" y="30"/>
                    </a:cubicBezTo>
                    <a:cubicBezTo>
                      <a:pt x="634" y="30"/>
                      <a:pt x="634" y="30"/>
                      <a:pt x="634" y="30"/>
                    </a:cubicBezTo>
                    <a:cubicBezTo>
                      <a:pt x="629" y="29"/>
                      <a:pt x="629" y="29"/>
                      <a:pt x="629" y="29"/>
                    </a:cubicBezTo>
                    <a:cubicBezTo>
                      <a:pt x="628" y="30"/>
                      <a:pt x="627" y="31"/>
                      <a:pt x="631" y="31"/>
                    </a:cubicBezTo>
                    <a:cubicBezTo>
                      <a:pt x="626" y="32"/>
                      <a:pt x="627" y="31"/>
                      <a:pt x="621" y="30"/>
                    </a:cubicBezTo>
                    <a:cubicBezTo>
                      <a:pt x="618" y="31"/>
                      <a:pt x="624" y="31"/>
                      <a:pt x="622" y="31"/>
                    </a:cubicBezTo>
                    <a:cubicBezTo>
                      <a:pt x="621" y="32"/>
                      <a:pt x="617" y="32"/>
                      <a:pt x="614" y="31"/>
                    </a:cubicBezTo>
                    <a:cubicBezTo>
                      <a:pt x="609" y="31"/>
                      <a:pt x="614" y="30"/>
                      <a:pt x="613" y="30"/>
                    </a:cubicBezTo>
                    <a:cubicBezTo>
                      <a:pt x="614" y="30"/>
                      <a:pt x="618" y="30"/>
                      <a:pt x="616" y="30"/>
                    </a:cubicBezTo>
                    <a:cubicBezTo>
                      <a:pt x="624" y="30"/>
                      <a:pt x="618" y="29"/>
                      <a:pt x="623" y="29"/>
                    </a:cubicBezTo>
                    <a:cubicBezTo>
                      <a:pt x="619" y="27"/>
                      <a:pt x="617" y="28"/>
                      <a:pt x="615" y="28"/>
                    </a:cubicBezTo>
                    <a:cubicBezTo>
                      <a:pt x="616" y="29"/>
                      <a:pt x="612" y="29"/>
                      <a:pt x="613" y="29"/>
                    </a:cubicBezTo>
                    <a:cubicBezTo>
                      <a:pt x="600" y="30"/>
                      <a:pt x="611" y="27"/>
                      <a:pt x="603" y="27"/>
                    </a:cubicBezTo>
                    <a:cubicBezTo>
                      <a:pt x="602" y="28"/>
                      <a:pt x="589" y="27"/>
                      <a:pt x="591" y="29"/>
                    </a:cubicBezTo>
                    <a:cubicBezTo>
                      <a:pt x="589" y="29"/>
                      <a:pt x="586" y="29"/>
                      <a:pt x="585" y="29"/>
                    </a:cubicBezTo>
                    <a:cubicBezTo>
                      <a:pt x="589" y="28"/>
                      <a:pt x="583" y="28"/>
                      <a:pt x="588" y="27"/>
                    </a:cubicBezTo>
                    <a:cubicBezTo>
                      <a:pt x="586" y="27"/>
                      <a:pt x="586" y="27"/>
                      <a:pt x="586" y="27"/>
                    </a:cubicBezTo>
                    <a:cubicBezTo>
                      <a:pt x="592" y="27"/>
                      <a:pt x="592" y="27"/>
                      <a:pt x="592" y="27"/>
                    </a:cubicBezTo>
                    <a:cubicBezTo>
                      <a:pt x="590" y="26"/>
                      <a:pt x="587" y="24"/>
                      <a:pt x="586" y="24"/>
                    </a:cubicBezTo>
                    <a:cubicBezTo>
                      <a:pt x="581" y="24"/>
                      <a:pt x="586" y="25"/>
                      <a:pt x="580" y="24"/>
                    </a:cubicBezTo>
                    <a:cubicBezTo>
                      <a:pt x="583" y="24"/>
                      <a:pt x="581" y="23"/>
                      <a:pt x="579" y="23"/>
                    </a:cubicBezTo>
                    <a:cubicBezTo>
                      <a:pt x="582" y="24"/>
                      <a:pt x="576" y="24"/>
                      <a:pt x="573" y="24"/>
                    </a:cubicBezTo>
                    <a:cubicBezTo>
                      <a:pt x="569" y="24"/>
                      <a:pt x="567" y="23"/>
                      <a:pt x="568" y="23"/>
                    </a:cubicBezTo>
                    <a:cubicBezTo>
                      <a:pt x="574" y="22"/>
                      <a:pt x="574" y="22"/>
                      <a:pt x="574" y="22"/>
                    </a:cubicBezTo>
                    <a:cubicBezTo>
                      <a:pt x="570" y="23"/>
                      <a:pt x="573" y="22"/>
                      <a:pt x="570" y="22"/>
                    </a:cubicBezTo>
                    <a:cubicBezTo>
                      <a:pt x="568" y="22"/>
                      <a:pt x="564" y="23"/>
                      <a:pt x="562" y="23"/>
                    </a:cubicBezTo>
                    <a:cubicBezTo>
                      <a:pt x="558" y="23"/>
                      <a:pt x="558" y="22"/>
                      <a:pt x="556" y="22"/>
                    </a:cubicBezTo>
                    <a:cubicBezTo>
                      <a:pt x="562" y="22"/>
                      <a:pt x="562" y="22"/>
                      <a:pt x="562" y="22"/>
                    </a:cubicBezTo>
                    <a:cubicBezTo>
                      <a:pt x="556" y="22"/>
                      <a:pt x="564" y="21"/>
                      <a:pt x="556" y="21"/>
                    </a:cubicBezTo>
                    <a:cubicBezTo>
                      <a:pt x="553" y="21"/>
                      <a:pt x="553" y="21"/>
                      <a:pt x="553" y="21"/>
                    </a:cubicBezTo>
                    <a:cubicBezTo>
                      <a:pt x="552" y="21"/>
                      <a:pt x="552" y="21"/>
                      <a:pt x="554" y="20"/>
                    </a:cubicBezTo>
                    <a:cubicBezTo>
                      <a:pt x="552" y="21"/>
                      <a:pt x="548" y="21"/>
                      <a:pt x="546" y="21"/>
                    </a:cubicBezTo>
                    <a:cubicBezTo>
                      <a:pt x="546" y="20"/>
                      <a:pt x="546" y="20"/>
                      <a:pt x="546" y="20"/>
                    </a:cubicBezTo>
                    <a:cubicBezTo>
                      <a:pt x="543" y="20"/>
                      <a:pt x="536" y="21"/>
                      <a:pt x="532" y="21"/>
                    </a:cubicBezTo>
                    <a:cubicBezTo>
                      <a:pt x="534" y="22"/>
                      <a:pt x="538" y="20"/>
                      <a:pt x="543" y="21"/>
                    </a:cubicBezTo>
                    <a:cubicBezTo>
                      <a:pt x="545" y="22"/>
                      <a:pt x="536" y="22"/>
                      <a:pt x="534" y="22"/>
                    </a:cubicBezTo>
                    <a:cubicBezTo>
                      <a:pt x="537" y="21"/>
                      <a:pt x="523" y="22"/>
                      <a:pt x="513" y="25"/>
                    </a:cubicBezTo>
                    <a:cubicBezTo>
                      <a:pt x="507" y="26"/>
                      <a:pt x="500" y="29"/>
                      <a:pt x="500" y="29"/>
                    </a:cubicBezTo>
                    <a:cubicBezTo>
                      <a:pt x="501" y="30"/>
                      <a:pt x="501" y="30"/>
                      <a:pt x="501" y="30"/>
                    </a:cubicBezTo>
                    <a:cubicBezTo>
                      <a:pt x="493" y="32"/>
                      <a:pt x="499" y="34"/>
                      <a:pt x="498" y="36"/>
                    </a:cubicBezTo>
                    <a:cubicBezTo>
                      <a:pt x="496" y="35"/>
                      <a:pt x="494" y="35"/>
                      <a:pt x="494" y="37"/>
                    </a:cubicBezTo>
                    <a:cubicBezTo>
                      <a:pt x="497" y="35"/>
                      <a:pt x="499" y="38"/>
                      <a:pt x="501" y="37"/>
                    </a:cubicBezTo>
                    <a:cubicBezTo>
                      <a:pt x="501" y="39"/>
                      <a:pt x="496" y="37"/>
                      <a:pt x="494" y="38"/>
                    </a:cubicBezTo>
                    <a:cubicBezTo>
                      <a:pt x="497" y="39"/>
                      <a:pt x="494" y="41"/>
                      <a:pt x="498" y="41"/>
                    </a:cubicBezTo>
                    <a:cubicBezTo>
                      <a:pt x="498" y="40"/>
                      <a:pt x="500" y="41"/>
                      <a:pt x="502" y="41"/>
                    </a:cubicBezTo>
                    <a:cubicBezTo>
                      <a:pt x="503" y="43"/>
                      <a:pt x="500" y="41"/>
                      <a:pt x="500" y="43"/>
                    </a:cubicBezTo>
                    <a:cubicBezTo>
                      <a:pt x="501" y="43"/>
                      <a:pt x="504" y="44"/>
                      <a:pt x="504" y="42"/>
                    </a:cubicBezTo>
                    <a:cubicBezTo>
                      <a:pt x="504" y="43"/>
                      <a:pt x="509" y="44"/>
                      <a:pt x="507" y="45"/>
                    </a:cubicBezTo>
                    <a:cubicBezTo>
                      <a:pt x="506" y="46"/>
                      <a:pt x="505" y="44"/>
                      <a:pt x="504" y="45"/>
                    </a:cubicBezTo>
                    <a:cubicBezTo>
                      <a:pt x="505" y="47"/>
                      <a:pt x="510" y="45"/>
                      <a:pt x="513" y="47"/>
                    </a:cubicBezTo>
                    <a:cubicBezTo>
                      <a:pt x="513" y="45"/>
                      <a:pt x="518" y="45"/>
                      <a:pt x="520" y="46"/>
                    </a:cubicBezTo>
                    <a:cubicBezTo>
                      <a:pt x="521" y="49"/>
                      <a:pt x="518" y="45"/>
                      <a:pt x="516" y="47"/>
                    </a:cubicBezTo>
                    <a:cubicBezTo>
                      <a:pt x="517" y="48"/>
                      <a:pt x="517" y="48"/>
                      <a:pt x="517" y="48"/>
                    </a:cubicBezTo>
                    <a:cubicBezTo>
                      <a:pt x="515" y="50"/>
                      <a:pt x="508" y="46"/>
                      <a:pt x="506" y="48"/>
                    </a:cubicBezTo>
                    <a:cubicBezTo>
                      <a:pt x="509" y="49"/>
                      <a:pt x="509" y="49"/>
                      <a:pt x="509" y="49"/>
                    </a:cubicBezTo>
                    <a:cubicBezTo>
                      <a:pt x="507" y="49"/>
                      <a:pt x="505" y="49"/>
                      <a:pt x="504" y="50"/>
                    </a:cubicBezTo>
                    <a:cubicBezTo>
                      <a:pt x="507" y="50"/>
                      <a:pt x="507" y="52"/>
                      <a:pt x="508" y="52"/>
                    </a:cubicBezTo>
                    <a:cubicBezTo>
                      <a:pt x="511" y="52"/>
                      <a:pt x="507" y="52"/>
                      <a:pt x="509" y="51"/>
                    </a:cubicBezTo>
                    <a:cubicBezTo>
                      <a:pt x="510" y="52"/>
                      <a:pt x="514" y="52"/>
                      <a:pt x="515" y="54"/>
                    </a:cubicBezTo>
                    <a:cubicBezTo>
                      <a:pt x="512" y="53"/>
                      <a:pt x="512" y="55"/>
                      <a:pt x="510" y="55"/>
                    </a:cubicBezTo>
                    <a:cubicBezTo>
                      <a:pt x="510" y="56"/>
                      <a:pt x="513" y="55"/>
                      <a:pt x="513" y="56"/>
                    </a:cubicBezTo>
                    <a:cubicBezTo>
                      <a:pt x="512" y="56"/>
                      <a:pt x="512" y="56"/>
                      <a:pt x="512" y="56"/>
                    </a:cubicBezTo>
                    <a:cubicBezTo>
                      <a:pt x="516" y="61"/>
                      <a:pt x="521" y="66"/>
                      <a:pt x="530" y="69"/>
                    </a:cubicBezTo>
                    <a:cubicBezTo>
                      <a:pt x="528" y="70"/>
                      <a:pt x="529" y="72"/>
                      <a:pt x="529" y="74"/>
                    </a:cubicBezTo>
                    <a:cubicBezTo>
                      <a:pt x="529" y="73"/>
                      <a:pt x="531" y="74"/>
                      <a:pt x="532" y="74"/>
                    </a:cubicBezTo>
                    <a:cubicBezTo>
                      <a:pt x="530" y="76"/>
                      <a:pt x="530" y="76"/>
                      <a:pt x="530" y="76"/>
                    </a:cubicBezTo>
                    <a:cubicBezTo>
                      <a:pt x="530" y="78"/>
                      <a:pt x="533" y="79"/>
                      <a:pt x="535" y="80"/>
                    </a:cubicBezTo>
                    <a:cubicBezTo>
                      <a:pt x="535" y="80"/>
                      <a:pt x="534" y="80"/>
                      <a:pt x="534" y="80"/>
                    </a:cubicBezTo>
                    <a:cubicBezTo>
                      <a:pt x="533" y="82"/>
                      <a:pt x="536" y="81"/>
                      <a:pt x="537" y="82"/>
                    </a:cubicBezTo>
                    <a:cubicBezTo>
                      <a:pt x="535" y="83"/>
                      <a:pt x="535" y="83"/>
                      <a:pt x="535" y="83"/>
                    </a:cubicBezTo>
                    <a:cubicBezTo>
                      <a:pt x="537" y="83"/>
                      <a:pt x="537" y="83"/>
                      <a:pt x="537" y="83"/>
                    </a:cubicBezTo>
                    <a:cubicBezTo>
                      <a:pt x="538" y="84"/>
                      <a:pt x="538" y="86"/>
                      <a:pt x="535" y="86"/>
                    </a:cubicBezTo>
                    <a:cubicBezTo>
                      <a:pt x="536" y="86"/>
                      <a:pt x="536" y="87"/>
                      <a:pt x="537" y="86"/>
                    </a:cubicBezTo>
                    <a:cubicBezTo>
                      <a:pt x="536" y="87"/>
                      <a:pt x="535" y="90"/>
                      <a:pt x="535" y="91"/>
                    </a:cubicBezTo>
                    <a:cubicBezTo>
                      <a:pt x="530" y="91"/>
                      <a:pt x="523" y="91"/>
                      <a:pt x="518" y="91"/>
                    </a:cubicBezTo>
                    <a:cubicBezTo>
                      <a:pt x="516" y="91"/>
                      <a:pt x="516" y="91"/>
                      <a:pt x="515" y="91"/>
                    </a:cubicBezTo>
                    <a:cubicBezTo>
                      <a:pt x="510" y="89"/>
                      <a:pt x="499" y="90"/>
                      <a:pt x="493" y="88"/>
                    </a:cubicBezTo>
                    <a:cubicBezTo>
                      <a:pt x="494" y="89"/>
                      <a:pt x="489" y="90"/>
                      <a:pt x="485" y="90"/>
                    </a:cubicBezTo>
                    <a:cubicBezTo>
                      <a:pt x="479" y="90"/>
                      <a:pt x="486" y="88"/>
                      <a:pt x="483" y="87"/>
                    </a:cubicBezTo>
                    <a:cubicBezTo>
                      <a:pt x="480" y="87"/>
                      <a:pt x="476" y="87"/>
                      <a:pt x="475" y="87"/>
                    </a:cubicBezTo>
                    <a:cubicBezTo>
                      <a:pt x="475" y="87"/>
                      <a:pt x="475" y="87"/>
                      <a:pt x="475" y="87"/>
                    </a:cubicBezTo>
                    <a:cubicBezTo>
                      <a:pt x="472" y="87"/>
                      <a:pt x="468" y="87"/>
                      <a:pt x="466" y="86"/>
                    </a:cubicBezTo>
                    <a:cubicBezTo>
                      <a:pt x="466" y="86"/>
                      <a:pt x="466" y="86"/>
                      <a:pt x="466" y="86"/>
                    </a:cubicBezTo>
                    <a:cubicBezTo>
                      <a:pt x="464" y="86"/>
                      <a:pt x="463" y="85"/>
                      <a:pt x="460" y="85"/>
                    </a:cubicBezTo>
                    <a:cubicBezTo>
                      <a:pt x="457" y="85"/>
                      <a:pt x="453" y="84"/>
                      <a:pt x="450" y="85"/>
                    </a:cubicBezTo>
                    <a:cubicBezTo>
                      <a:pt x="450" y="84"/>
                      <a:pt x="450" y="84"/>
                      <a:pt x="450" y="84"/>
                    </a:cubicBezTo>
                    <a:cubicBezTo>
                      <a:pt x="448" y="85"/>
                      <a:pt x="448" y="85"/>
                      <a:pt x="448" y="85"/>
                    </a:cubicBezTo>
                    <a:cubicBezTo>
                      <a:pt x="444" y="84"/>
                      <a:pt x="444" y="84"/>
                      <a:pt x="444" y="84"/>
                    </a:cubicBezTo>
                    <a:cubicBezTo>
                      <a:pt x="446" y="84"/>
                      <a:pt x="447" y="83"/>
                      <a:pt x="448" y="83"/>
                    </a:cubicBezTo>
                    <a:cubicBezTo>
                      <a:pt x="444" y="82"/>
                      <a:pt x="445" y="84"/>
                      <a:pt x="442" y="84"/>
                    </a:cubicBezTo>
                    <a:cubicBezTo>
                      <a:pt x="437" y="84"/>
                      <a:pt x="439" y="83"/>
                      <a:pt x="438" y="83"/>
                    </a:cubicBezTo>
                    <a:cubicBezTo>
                      <a:pt x="440" y="83"/>
                      <a:pt x="440" y="83"/>
                      <a:pt x="441" y="83"/>
                    </a:cubicBezTo>
                    <a:cubicBezTo>
                      <a:pt x="445" y="83"/>
                      <a:pt x="440" y="83"/>
                      <a:pt x="440" y="82"/>
                    </a:cubicBezTo>
                    <a:cubicBezTo>
                      <a:pt x="440" y="82"/>
                      <a:pt x="438" y="83"/>
                      <a:pt x="435" y="82"/>
                    </a:cubicBezTo>
                    <a:cubicBezTo>
                      <a:pt x="433" y="82"/>
                      <a:pt x="428" y="82"/>
                      <a:pt x="430" y="81"/>
                    </a:cubicBezTo>
                    <a:cubicBezTo>
                      <a:pt x="427" y="81"/>
                      <a:pt x="425" y="81"/>
                      <a:pt x="423" y="81"/>
                    </a:cubicBezTo>
                    <a:cubicBezTo>
                      <a:pt x="424" y="81"/>
                      <a:pt x="427" y="82"/>
                      <a:pt x="427" y="82"/>
                    </a:cubicBezTo>
                    <a:cubicBezTo>
                      <a:pt x="425" y="82"/>
                      <a:pt x="421" y="82"/>
                      <a:pt x="421" y="82"/>
                    </a:cubicBezTo>
                    <a:cubicBezTo>
                      <a:pt x="423" y="82"/>
                      <a:pt x="423" y="82"/>
                      <a:pt x="423" y="82"/>
                    </a:cubicBezTo>
                    <a:cubicBezTo>
                      <a:pt x="421" y="82"/>
                      <a:pt x="417" y="81"/>
                      <a:pt x="418" y="82"/>
                    </a:cubicBezTo>
                    <a:cubicBezTo>
                      <a:pt x="417" y="80"/>
                      <a:pt x="417" y="80"/>
                      <a:pt x="417" y="80"/>
                    </a:cubicBezTo>
                    <a:cubicBezTo>
                      <a:pt x="414" y="81"/>
                      <a:pt x="411" y="80"/>
                      <a:pt x="408" y="80"/>
                    </a:cubicBezTo>
                    <a:cubicBezTo>
                      <a:pt x="409" y="79"/>
                      <a:pt x="413" y="79"/>
                      <a:pt x="408" y="78"/>
                    </a:cubicBezTo>
                    <a:cubicBezTo>
                      <a:pt x="402" y="78"/>
                      <a:pt x="402" y="78"/>
                      <a:pt x="402" y="78"/>
                    </a:cubicBezTo>
                    <a:cubicBezTo>
                      <a:pt x="400" y="78"/>
                      <a:pt x="399" y="78"/>
                      <a:pt x="401" y="77"/>
                    </a:cubicBezTo>
                    <a:cubicBezTo>
                      <a:pt x="393" y="76"/>
                      <a:pt x="388" y="78"/>
                      <a:pt x="383" y="77"/>
                    </a:cubicBezTo>
                    <a:cubicBezTo>
                      <a:pt x="387" y="76"/>
                      <a:pt x="385" y="76"/>
                      <a:pt x="383" y="75"/>
                    </a:cubicBezTo>
                    <a:cubicBezTo>
                      <a:pt x="383" y="75"/>
                      <a:pt x="382" y="76"/>
                      <a:pt x="380" y="76"/>
                    </a:cubicBezTo>
                    <a:cubicBezTo>
                      <a:pt x="380" y="76"/>
                      <a:pt x="383" y="75"/>
                      <a:pt x="384" y="76"/>
                    </a:cubicBezTo>
                    <a:cubicBezTo>
                      <a:pt x="384" y="77"/>
                      <a:pt x="381" y="76"/>
                      <a:pt x="379" y="76"/>
                    </a:cubicBezTo>
                    <a:cubicBezTo>
                      <a:pt x="378" y="73"/>
                      <a:pt x="361" y="73"/>
                      <a:pt x="354" y="71"/>
                    </a:cubicBezTo>
                    <a:cubicBezTo>
                      <a:pt x="352" y="72"/>
                      <a:pt x="349" y="71"/>
                      <a:pt x="346" y="71"/>
                    </a:cubicBezTo>
                    <a:cubicBezTo>
                      <a:pt x="349" y="70"/>
                      <a:pt x="340" y="71"/>
                      <a:pt x="339" y="70"/>
                    </a:cubicBezTo>
                    <a:cubicBezTo>
                      <a:pt x="338" y="71"/>
                      <a:pt x="338" y="71"/>
                      <a:pt x="338" y="71"/>
                    </a:cubicBezTo>
                    <a:cubicBezTo>
                      <a:pt x="333" y="70"/>
                      <a:pt x="325" y="71"/>
                      <a:pt x="324" y="70"/>
                    </a:cubicBezTo>
                    <a:cubicBezTo>
                      <a:pt x="321" y="69"/>
                      <a:pt x="327" y="69"/>
                      <a:pt x="329" y="69"/>
                    </a:cubicBezTo>
                    <a:cubicBezTo>
                      <a:pt x="327" y="67"/>
                      <a:pt x="314" y="69"/>
                      <a:pt x="313" y="67"/>
                    </a:cubicBezTo>
                    <a:cubicBezTo>
                      <a:pt x="312" y="67"/>
                      <a:pt x="312" y="68"/>
                      <a:pt x="307" y="68"/>
                    </a:cubicBezTo>
                    <a:cubicBezTo>
                      <a:pt x="305" y="68"/>
                      <a:pt x="299" y="66"/>
                      <a:pt x="300" y="66"/>
                    </a:cubicBezTo>
                    <a:cubicBezTo>
                      <a:pt x="297" y="66"/>
                      <a:pt x="295" y="67"/>
                      <a:pt x="293" y="66"/>
                    </a:cubicBezTo>
                    <a:cubicBezTo>
                      <a:pt x="294" y="66"/>
                      <a:pt x="295" y="66"/>
                      <a:pt x="297" y="66"/>
                    </a:cubicBezTo>
                    <a:cubicBezTo>
                      <a:pt x="292" y="65"/>
                      <a:pt x="287" y="65"/>
                      <a:pt x="282" y="65"/>
                    </a:cubicBezTo>
                    <a:cubicBezTo>
                      <a:pt x="281" y="64"/>
                      <a:pt x="271" y="64"/>
                      <a:pt x="263" y="64"/>
                    </a:cubicBezTo>
                    <a:cubicBezTo>
                      <a:pt x="259" y="65"/>
                      <a:pt x="244" y="65"/>
                      <a:pt x="240" y="69"/>
                    </a:cubicBezTo>
                    <a:cubicBezTo>
                      <a:pt x="240" y="68"/>
                      <a:pt x="238" y="69"/>
                      <a:pt x="237" y="70"/>
                    </a:cubicBezTo>
                    <a:cubicBezTo>
                      <a:pt x="235" y="72"/>
                      <a:pt x="239" y="72"/>
                      <a:pt x="239" y="73"/>
                    </a:cubicBezTo>
                    <a:cubicBezTo>
                      <a:pt x="236" y="73"/>
                      <a:pt x="236" y="73"/>
                      <a:pt x="236" y="73"/>
                    </a:cubicBezTo>
                    <a:cubicBezTo>
                      <a:pt x="233" y="74"/>
                      <a:pt x="237" y="76"/>
                      <a:pt x="236" y="77"/>
                    </a:cubicBezTo>
                    <a:cubicBezTo>
                      <a:pt x="238" y="76"/>
                      <a:pt x="237" y="78"/>
                      <a:pt x="239" y="77"/>
                    </a:cubicBezTo>
                    <a:cubicBezTo>
                      <a:pt x="241" y="78"/>
                      <a:pt x="241" y="78"/>
                      <a:pt x="241" y="78"/>
                    </a:cubicBezTo>
                    <a:cubicBezTo>
                      <a:pt x="243" y="80"/>
                      <a:pt x="242" y="78"/>
                      <a:pt x="245" y="80"/>
                    </a:cubicBezTo>
                    <a:cubicBezTo>
                      <a:pt x="246" y="81"/>
                      <a:pt x="242" y="81"/>
                      <a:pt x="242" y="81"/>
                    </a:cubicBezTo>
                    <a:cubicBezTo>
                      <a:pt x="241" y="82"/>
                      <a:pt x="243" y="82"/>
                      <a:pt x="245" y="83"/>
                    </a:cubicBezTo>
                    <a:cubicBezTo>
                      <a:pt x="245" y="83"/>
                      <a:pt x="245" y="83"/>
                      <a:pt x="246" y="83"/>
                    </a:cubicBezTo>
                    <a:cubicBezTo>
                      <a:pt x="245" y="83"/>
                      <a:pt x="245" y="83"/>
                      <a:pt x="245" y="83"/>
                    </a:cubicBezTo>
                    <a:cubicBezTo>
                      <a:pt x="246" y="84"/>
                      <a:pt x="246" y="84"/>
                      <a:pt x="247" y="84"/>
                    </a:cubicBezTo>
                    <a:cubicBezTo>
                      <a:pt x="247" y="84"/>
                      <a:pt x="247" y="84"/>
                      <a:pt x="247" y="84"/>
                    </a:cubicBezTo>
                    <a:cubicBezTo>
                      <a:pt x="246" y="84"/>
                      <a:pt x="246" y="84"/>
                      <a:pt x="245" y="83"/>
                    </a:cubicBezTo>
                    <a:cubicBezTo>
                      <a:pt x="245" y="84"/>
                      <a:pt x="246" y="84"/>
                      <a:pt x="246" y="84"/>
                    </a:cubicBezTo>
                    <a:cubicBezTo>
                      <a:pt x="246" y="85"/>
                      <a:pt x="246" y="85"/>
                      <a:pt x="246" y="85"/>
                    </a:cubicBezTo>
                    <a:cubicBezTo>
                      <a:pt x="247" y="85"/>
                      <a:pt x="247" y="85"/>
                      <a:pt x="247" y="85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45" y="86"/>
                      <a:pt x="250" y="87"/>
                      <a:pt x="251" y="87"/>
                    </a:cubicBezTo>
                    <a:cubicBezTo>
                      <a:pt x="252" y="90"/>
                      <a:pt x="260" y="94"/>
                      <a:pt x="263" y="95"/>
                    </a:cubicBezTo>
                    <a:cubicBezTo>
                      <a:pt x="262" y="95"/>
                      <a:pt x="262" y="95"/>
                      <a:pt x="263" y="95"/>
                    </a:cubicBezTo>
                    <a:cubicBezTo>
                      <a:pt x="265" y="96"/>
                      <a:pt x="268" y="96"/>
                      <a:pt x="267" y="96"/>
                    </a:cubicBezTo>
                    <a:cubicBezTo>
                      <a:pt x="269" y="97"/>
                      <a:pt x="266" y="97"/>
                      <a:pt x="268" y="99"/>
                    </a:cubicBezTo>
                    <a:cubicBezTo>
                      <a:pt x="268" y="99"/>
                      <a:pt x="270" y="98"/>
                      <a:pt x="269" y="98"/>
                    </a:cubicBezTo>
                    <a:cubicBezTo>
                      <a:pt x="270" y="101"/>
                      <a:pt x="279" y="102"/>
                      <a:pt x="281" y="105"/>
                    </a:cubicBezTo>
                    <a:cubicBezTo>
                      <a:pt x="280" y="105"/>
                      <a:pt x="279" y="105"/>
                      <a:pt x="278" y="105"/>
                    </a:cubicBezTo>
                    <a:cubicBezTo>
                      <a:pt x="282" y="106"/>
                      <a:pt x="285" y="108"/>
                      <a:pt x="291" y="109"/>
                    </a:cubicBezTo>
                    <a:cubicBezTo>
                      <a:pt x="289" y="109"/>
                      <a:pt x="289" y="109"/>
                      <a:pt x="287" y="109"/>
                    </a:cubicBezTo>
                    <a:cubicBezTo>
                      <a:pt x="289" y="110"/>
                      <a:pt x="292" y="112"/>
                      <a:pt x="295" y="112"/>
                    </a:cubicBezTo>
                    <a:cubicBezTo>
                      <a:pt x="295" y="111"/>
                      <a:pt x="294" y="112"/>
                      <a:pt x="293" y="111"/>
                    </a:cubicBezTo>
                    <a:cubicBezTo>
                      <a:pt x="293" y="110"/>
                      <a:pt x="298" y="111"/>
                      <a:pt x="299" y="112"/>
                    </a:cubicBezTo>
                    <a:cubicBezTo>
                      <a:pt x="299" y="112"/>
                      <a:pt x="299" y="112"/>
                      <a:pt x="299" y="112"/>
                    </a:cubicBezTo>
                    <a:cubicBezTo>
                      <a:pt x="301" y="113"/>
                      <a:pt x="302" y="113"/>
                      <a:pt x="304" y="114"/>
                    </a:cubicBezTo>
                    <a:cubicBezTo>
                      <a:pt x="304" y="115"/>
                      <a:pt x="302" y="114"/>
                      <a:pt x="302" y="115"/>
                    </a:cubicBezTo>
                    <a:cubicBezTo>
                      <a:pt x="299" y="116"/>
                      <a:pt x="304" y="118"/>
                      <a:pt x="304" y="118"/>
                    </a:cubicBezTo>
                    <a:cubicBezTo>
                      <a:pt x="306" y="118"/>
                      <a:pt x="307" y="119"/>
                      <a:pt x="308" y="118"/>
                    </a:cubicBezTo>
                    <a:cubicBezTo>
                      <a:pt x="310" y="119"/>
                      <a:pt x="307" y="119"/>
                      <a:pt x="308" y="120"/>
                    </a:cubicBezTo>
                    <a:cubicBezTo>
                      <a:pt x="318" y="121"/>
                      <a:pt x="318" y="121"/>
                      <a:pt x="318" y="121"/>
                    </a:cubicBezTo>
                    <a:cubicBezTo>
                      <a:pt x="317" y="121"/>
                      <a:pt x="317" y="123"/>
                      <a:pt x="314" y="122"/>
                    </a:cubicBezTo>
                    <a:cubicBezTo>
                      <a:pt x="318" y="124"/>
                      <a:pt x="324" y="124"/>
                      <a:pt x="328" y="125"/>
                    </a:cubicBezTo>
                    <a:cubicBezTo>
                      <a:pt x="329" y="126"/>
                      <a:pt x="333" y="127"/>
                      <a:pt x="334" y="128"/>
                    </a:cubicBezTo>
                    <a:cubicBezTo>
                      <a:pt x="333" y="129"/>
                      <a:pt x="334" y="127"/>
                      <a:pt x="332" y="128"/>
                    </a:cubicBezTo>
                    <a:cubicBezTo>
                      <a:pt x="332" y="129"/>
                      <a:pt x="332" y="129"/>
                      <a:pt x="332" y="129"/>
                    </a:cubicBezTo>
                    <a:cubicBezTo>
                      <a:pt x="329" y="128"/>
                      <a:pt x="329" y="130"/>
                      <a:pt x="326" y="130"/>
                    </a:cubicBezTo>
                    <a:cubicBezTo>
                      <a:pt x="329" y="131"/>
                      <a:pt x="332" y="133"/>
                      <a:pt x="335" y="135"/>
                    </a:cubicBezTo>
                    <a:cubicBezTo>
                      <a:pt x="336" y="133"/>
                      <a:pt x="340" y="137"/>
                      <a:pt x="343" y="136"/>
                    </a:cubicBezTo>
                    <a:cubicBezTo>
                      <a:pt x="347" y="138"/>
                      <a:pt x="342" y="138"/>
                      <a:pt x="342" y="139"/>
                    </a:cubicBezTo>
                    <a:cubicBezTo>
                      <a:pt x="347" y="140"/>
                      <a:pt x="349" y="143"/>
                      <a:pt x="352" y="144"/>
                    </a:cubicBezTo>
                    <a:cubicBezTo>
                      <a:pt x="352" y="144"/>
                      <a:pt x="352" y="144"/>
                      <a:pt x="351" y="144"/>
                    </a:cubicBezTo>
                    <a:cubicBezTo>
                      <a:pt x="355" y="146"/>
                      <a:pt x="358" y="149"/>
                      <a:pt x="363" y="150"/>
                    </a:cubicBezTo>
                    <a:cubicBezTo>
                      <a:pt x="363" y="150"/>
                      <a:pt x="362" y="150"/>
                      <a:pt x="361" y="150"/>
                    </a:cubicBezTo>
                    <a:cubicBezTo>
                      <a:pt x="362" y="152"/>
                      <a:pt x="366" y="149"/>
                      <a:pt x="367" y="152"/>
                    </a:cubicBezTo>
                    <a:cubicBezTo>
                      <a:pt x="364" y="152"/>
                      <a:pt x="364" y="152"/>
                      <a:pt x="364" y="152"/>
                    </a:cubicBezTo>
                    <a:cubicBezTo>
                      <a:pt x="368" y="153"/>
                      <a:pt x="366" y="155"/>
                      <a:pt x="371" y="156"/>
                    </a:cubicBezTo>
                    <a:cubicBezTo>
                      <a:pt x="370" y="156"/>
                      <a:pt x="369" y="156"/>
                      <a:pt x="368" y="156"/>
                    </a:cubicBezTo>
                    <a:cubicBezTo>
                      <a:pt x="371" y="157"/>
                      <a:pt x="372" y="159"/>
                      <a:pt x="376" y="160"/>
                    </a:cubicBezTo>
                    <a:cubicBezTo>
                      <a:pt x="375" y="160"/>
                      <a:pt x="374" y="160"/>
                      <a:pt x="372" y="160"/>
                    </a:cubicBezTo>
                    <a:cubicBezTo>
                      <a:pt x="372" y="161"/>
                      <a:pt x="377" y="161"/>
                      <a:pt x="376" y="162"/>
                    </a:cubicBezTo>
                    <a:cubicBezTo>
                      <a:pt x="376" y="163"/>
                      <a:pt x="375" y="164"/>
                      <a:pt x="375" y="164"/>
                    </a:cubicBezTo>
                    <a:cubicBezTo>
                      <a:pt x="378" y="164"/>
                      <a:pt x="376" y="167"/>
                      <a:pt x="370" y="167"/>
                    </a:cubicBezTo>
                    <a:cubicBezTo>
                      <a:pt x="370" y="167"/>
                      <a:pt x="368" y="167"/>
                      <a:pt x="365" y="167"/>
                    </a:cubicBezTo>
                    <a:cubicBezTo>
                      <a:pt x="339" y="166"/>
                      <a:pt x="317" y="163"/>
                      <a:pt x="293" y="161"/>
                    </a:cubicBezTo>
                    <a:cubicBezTo>
                      <a:pt x="292" y="159"/>
                      <a:pt x="300" y="161"/>
                      <a:pt x="299" y="160"/>
                    </a:cubicBezTo>
                    <a:cubicBezTo>
                      <a:pt x="297" y="161"/>
                      <a:pt x="295" y="159"/>
                      <a:pt x="288" y="159"/>
                    </a:cubicBezTo>
                    <a:cubicBezTo>
                      <a:pt x="288" y="159"/>
                      <a:pt x="288" y="159"/>
                      <a:pt x="288" y="159"/>
                    </a:cubicBezTo>
                    <a:cubicBezTo>
                      <a:pt x="285" y="158"/>
                      <a:pt x="285" y="157"/>
                      <a:pt x="281" y="157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76" y="158"/>
                      <a:pt x="276" y="155"/>
                      <a:pt x="272" y="156"/>
                    </a:cubicBezTo>
                    <a:cubicBezTo>
                      <a:pt x="271" y="155"/>
                      <a:pt x="271" y="155"/>
                      <a:pt x="271" y="155"/>
                    </a:cubicBezTo>
                    <a:cubicBezTo>
                      <a:pt x="265" y="156"/>
                      <a:pt x="267" y="154"/>
                      <a:pt x="261" y="154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58" y="153"/>
                      <a:pt x="249" y="154"/>
                      <a:pt x="249" y="152"/>
                    </a:cubicBezTo>
                    <a:cubicBezTo>
                      <a:pt x="244" y="152"/>
                      <a:pt x="239" y="151"/>
                      <a:pt x="236" y="152"/>
                    </a:cubicBezTo>
                    <a:cubicBezTo>
                      <a:pt x="236" y="151"/>
                      <a:pt x="238" y="151"/>
                      <a:pt x="239" y="151"/>
                    </a:cubicBezTo>
                    <a:cubicBezTo>
                      <a:pt x="222" y="149"/>
                      <a:pt x="205" y="145"/>
                      <a:pt x="188" y="144"/>
                    </a:cubicBezTo>
                    <a:cubicBezTo>
                      <a:pt x="188" y="143"/>
                      <a:pt x="189" y="144"/>
                      <a:pt x="190" y="143"/>
                    </a:cubicBezTo>
                    <a:cubicBezTo>
                      <a:pt x="179" y="143"/>
                      <a:pt x="175" y="139"/>
                      <a:pt x="164" y="140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59" y="139"/>
                      <a:pt x="160" y="139"/>
                      <a:pt x="159" y="138"/>
                    </a:cubicBezTo>
                    <a:cubicBezTo>
                      <a:pt x="156" y="139"/>
                      <a:pt x="151" y="137"/>
                      <a:pt x="148" y="138"/>
                    </a:cubicBezTo>
                    <a:cubicBezTo>
                      <a:pt x="148" y="137"/>
                      <a:pt x="150" y="137"/>
                      <a:pt x="150" y="137"/>
                    </a:cubicBezTo>
                    <a:cubicBezTo>
                      <a:pt x="147" y="136"/>
                      <a:pt x="139" y="136"/>
                      <a:pt x="136" y="135"/>
                    </a:cubicBezTo>
                    <a:cubicBezTo>
                      <a:pt x="138" y="135"/>
                      <a:pt x="138" y="135"/>
                      <a:pt x="138" y="135"/>
                    </a:cubicBezTo>
                    <a:cubicBezTo>
                      <a:pt x="122" y="130"/>
                      <a:pt x="100" y="124"/>
                      <a:pt x="79" y="123"/>
                    </a:cubicBezTo>
                    <a:cubicBezTo>
                      <a:pt x="74" y="122"/>
                      <a:pt x="80" y="122"/>
                      <a:pt x="78" y="121"/>
                    </a:cubicBezTo>
                    <a:cubicBezTo>
                      <a:pt x="58" y="120"/>
                      <a:pt x="44" y="114"/>
                      <a:pt x="23" y="113"/>
                    </a:cubicBezTo>
                    <a:cubicBezTo>
                      <a:pt x="10" y="111"/>
                      <a:pt x="0" y="113"/>
                      <a:pt x="0" y="113"/>
                    </a:cubicBezTo>
                    <a:cubicBezTo>
                      <a:pt x="31" y="117"/>
                      <a:pt x="53" y="123"/>
                      <a:pt x="78" y="130"/>
                    </a:cubicBezTo>
                    <a:close/>
                    <a:moveTo>
                      <a:pt x="656" y="33"/>
                    </a:moveTo>
                    <a:cubicBezTo>
                      <a:pt x="656" y="33"/>
                      <a:pt x="656" y="33"/>
                      <a:pt x="656" y="33"/>
                    </a:cubicBezTo>
                    <a:moveTo>
                      <a:pt x="655" y="33"/>
                    </a:moveTo>
                    <a:cubicBezTo>
                      <a:pt x="655" y="33"/>
                      <a:pt x="655" y="33"/>
                      <a:pt x="655" y="33"/>
                    </a:cubicBezTo>
                    <a:cubicBezTo>
                      <a:pt x="656" y="33"/>
                      <a:pt x="656" y="33"/>
                      <a:pt x="655" y="33"/>
                    </a:cubicBezTo>
                    <a:close/>
                    <a:moveTo>
                      <a:pt x="650" y="3"/>
                    </a:moveTo>
                    <a:cubicBezTo>
                      <a:pt x="650" y="3"/>
                      <a:pt x="650" y="4"/>
                      <a:pt x="650" y="4"/>
                    </a:cubicBezTo>
                    <a:cubicBezTo>
                      <a:pt x="650" y="4"/>
                      <a:pt x="649" y="4"/>
                      <a:pt x="648" y="5"/>
                    </a:cubicBezTo>
                    <a:cubicBezTo>
                      <a:pt x="648" y="4"/>
                      <a:pt x="648" y="3"/>
                      <a:pt x="650" y="3"/>
                    </a:cubicBezTo>
                    <a:close/>
                    <a:moveTo>
                      <a:pt x="649" y="34"/>
                    </a:moveTo>
                    <a:cubicBezTo>
                      <a:pt x="650" y="34"/>
                      <a:pt x="651" y="34"/>
                      <a:pt x="653" y="34"/>
                    </a:cubicBezTo>
                    <a:cubicBezTo>
                      <a:pt x="653" y="33"/>
                      <a:pt x="653" y="33"/>
                      <a:pt x="653" y="33"/>
                    </a:cubicBezTo>
                    <a:cubicBezTo>
                      <a:pt x="653" y="34"/>
                      <a:pt x="653" y="34"/>
                      <a:pt x="653" y="34"/>
                    </a:cubicBezTo>
                    <a:cubicBezTo>
                      <a:pt x="654" y="34"/>
                      <a:pt x="655" y="33"/>
                      <a:pt x="655" y="33"/>
                    </a:cubicBezTo>
                    <a:cubicBezTo>
                      <a:pt x="654" y="34"/>
                      <a:pt x="654" y="34"/>
                      <a:pt x="653" y="34"/>
                    </a:cubicBezTo>
                    <a:cubicBezTo>
                      <a:pt x="653" y="34"/>
                      <a:pt x="653" y="35"/>
                      <a:pt x="652" y="35"/>
                    </a:cubicBezTo>
                    <a:cubicBezTo>
                      <a:pt x="652" y="35"/>
                      <a:pt x="652" y="35"/>
                      <a:pt x="652" y="35"/>
                    </a:cubicBezTo>
                    <a:cubicBezTo>
                      <a:pt x="652" y="35"/>
                      <a:pt x="651" y="35"/>
                      <a:pt x="650" y="35"/>
                    </a:cubicBezTo>
                    <a:cubicBezTo>
                      <a:pt x="649" y="35"/>
                      <a:pt x="649" y="35"/>
                      <a:pt x="649" y="35"/>
                    </a:cubicBezTo>
                    <a:cubicBezTo>
                      <a:pt x="647" y="36"/>
                      <a:pt x="650" y="36"/>
                      <a:pt x="648" y="37"/>
                    </a:cubicBezTo>
                    <a:cubicBezTo>
                      <a:pt x="646" y="37"/>
                      <a:pt x="644" y="37"/>
                      <a:pt x="643" y="37"/>
                    </a:cubicBezTo>
                    <a:cubicBezTo>
                      <a:pt x="643" y="36"/>
                      <a:pt x="646" y="35"/>
                      <a:pt x="640" y="34"/>
                    </a:cubicBezTo>
                    <a:cubicBezTo>
                      <a:pt x="644" y="33"/>
                      <a:pt x="649" y="35"/>
                      <a:pt x="649" y="34"/>
                    </a:cubicBezTo>
                    <a:close/>
                    <a:moveTo>
                      <a:pt x="539" y="91"/>
                    </a:moveTo>
                    <a:cubicBezTo>
                      <a:pt x="541" y="91"/>
                      <a:pt x="537" y="92"/>
                      <a:pt x="538" y="92"/>
                    </a:cubicBezTo>
                    <a:cubicBezTo>
                      <a:pt x="537" y="92"/>
                      <a:pt x="535" y="93"/>
                      <a:pt x="535" y="92"/>
                    </a:cubicBezTo>
                    <a:cubicBezTo>
                      <a:pt x="538" y="92"/>
                      <a:pt x="539" y="91"/>
                      <a:pt x="539" y="9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7" name="iṧľíḋe">
              <a:extLst>
                <a:ext uri="{FF2B5EF4-FFF2-40B4-BE49-F238E27FC236}">
                  <a16:creationId xmlns:a16="http://schemas.microsoft.com/office/drawing/2014/main" id="{BC9DE894-F68E-4242-9C2D-C8BE1D1383B6}"/>
                </a:ext>
              </a:extLst>
            </p:cNvPr>
            <p:cNvGrpSpPr/>
            <p:nvPr/>
          </p:nvGrpSpPr>
          <p:grpSpPr>
            <a:xfrm>
              <a:off x="7655735" y="1613693"/>
              <a:ext cx="3864753" cy="1773518"/>
              <a:chOff x="7655735" y="3429000"/>
              <a:chExt cx="3864753" cy="1773518"/>
            </a:xfrm>
          </p:grpSpPr>
          <p:sp>
            <p:nvSpPr>
              <p:cNvPr id="22" name="íṡ1îde">
                <a:extLst>
                  <a:ext uri="{FF2B5EF4-FFF2-40B4-BE49-F238E27FC236}">
                    <a16:creationId xmlns:a16="http://schemas.microsoft.com/office/drawing/2014/main" id="{58040EE1-403C-4D16-805A-67E382AFAE09}"/>
                  </a:ext>
                </a:extLst>
              </p:cNvPr>
              <p:cNvSpPr/>
              <p:nvPr/>
            </p:nvSpPr>
            <p:spPr>
              <a:xfrm>
                <a:off x="7655735" y="3870805"/>
                <a:ext cx="3864753" cy="13317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23" name="íśḻïḋè">
                <a:extLst>
                  <a:ext uri="{FF2B5EF4-FFF2-40B4-BE49-F238E27FC236}">
                    <a16:creationId xmlns:a16="http://schemas.microsoft.com/office/drawing/2014/main" id="{C0DB57A8-7D5A-46AC-9674-8E4020F4DC34}"/>
                  </a:ext>
                </a:extLst>
              </p:cNvPr>
              <p:cNvSpPr txBox="1"/>
              <p:nvPr/>
            </p:nvSpPr>
            <p:spPr bwMode="auto">
              <a:xfrm>
                <a:off x="7655735" y="3429000"/>
                <a:ext cx="38647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8" name="isḻide">
              <a:extLst>
                <a:ext uri="{FF2B5EF4-FFF2-40B4-BE49-F238E27FC236}">
                  <a16:creationId xmlns:a16="http://schemas.microsoft.com/office/drawing/2014/main" id="{B5884592-A842-4598-BF2C-5AC2908A1F53}"/>
                </a:ext>
              </a:extLst>
            </p:cNvPr>
            <p:cNvSpPr/>
            <p:nvPr/>
          </p:nvSpPr>
          <p:spPr bwMode="auto">
            <a:xfrm>
              <a:off x="736826" y="1916433"/>
              <a:ext cx="544678" cy="475468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9" name="î$ľíḋé">
              <a:extLst>
                <a:ext uri="{FF2B5EF4-FFF2-40B4-BE49-F238E27FC236}">
                  <a16:creationId xmlns:a16="http://schemas.microsoft.com/office/drawing/2014/main" id="{165AB61E-D741-4E30-817A-E6A747FA3ABC}"/>
                </a:ext>
              </a:extLst>
            </p:cNvPr>
            <p:cNvGrpSpPr/>
            <p:nvPr/>
          </p:nvGrpSpPr>
          <p:grpSpPr>
            <a:xfrm>
              <a:off x="1460255" y="1663318"/>
              <a:ext cx="4035424" cy="1056347"/>
              <a:chOff x="1577477" y="1221513"/>
              <a:chExt cx="4035424" cy="1056347"/>
            </a:xfrm>
          </p:grpSpPr>
          <p:sp>
            <p:nvSpPr>
              <p:cNvPr id="20" name="îšḷíḋê">
                <a:extLst>
                  <a:ext uri="{FF2B5EF4-FFF2-40B4-BE49-F238E27FC236}">
                    <a16:creationId xmlns:a16="http://schemas.microsoft.com/office/drawing/2014/main" id="{A70B6A9C-E454-42A3-99EF-A99D0DADEFDC}"/>
                  </a:ext>
                </a:extLst>
              </p:cNvPr>
              <p:cNvSpPr/>
              <p:nvPr/>
            </p:nvSpPr>
            <p:spPr bwMode="auto">
              <a:xfrm>
                <a:off x="1577477" y="1634394"/>
                <a:ext cx="4035424" cy="6434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21" name="ís1íďé">
                <a:extLst>
                  <a:ext uri="{FF2B5EF4-FFF2-40B4-BE49-F238E27FC236}">
                    <a16:creationId xmlns:a16="http://schemas.microsoft.com/office/drawing/2014/main" id="{F261DDCC-7A12-4753-A96D-A66BF6D90F72}"/>
                  </a:ext>
                </a:extLst>
              </p:cNvPr>
              <p:cNvSpPr txBox="1"/>
              <p:nvPr/>
            </p:nvSpPr>
            <p:spPr bwMode="auto">
              <a:xfrm>
                <a:off x="1577477" y="1221513"/>
                <a:ext cx="4035424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grpSp>
          <p:nvGrpSpPr>
            <p:cNvPr id="10" name="ïṡ1iḑé">
              <a:extLst>
                <a:ext uri="{FF2B5EF4-FFF2-40B4-BE49-F238E27FC236}">
                  <a16:creationId xmlns:a16="http://schemas.microsoft.com/office/drawing/2014/main" id="{02BE77F2-616E-4D58-9B34-CD181C4F368C}"/>
                </a:ext>
              </a:extLst>
            </p:cNvPr>
            <p:cNvGrpSpPr/>
            <p:nvPr/>
          </p:nvGrpSpPr>
          <p:grpSpPr>
            <a:xfrm>
              <a:off x="1485623" y="3180771"/>
              <a:ext cx="4035424" cy="1056347"/>
              <a:chOff x="1577477" y="2859469"/>
              <a:chExt cx="4035424" cy="1056347"/>
            </a:xfrm>
          </p:grpSpPr>
          <p:sp>
            <p:nvSpPr>
              <p:cNvPr id="18" name="îṥľîďè">
                <a:extLst>
                  <a:ext uri="{FF2B5EF4-FFF2-40B4-BE49-F238E27FC236}">
                    <a16:creationId xmlns:a16="http://schemas.microsoft.com/office/drawing/2014/main" id="{994F9FB6-1752-496E-B5A4-656F7EFB958D}"/>
                  </a:ext>
                </a:extLst>
              </p:cNvPr>
              <p:cNvSpPr/>
              <p:nvPr/>
            </p:nvSpPr>
            <p:spPr bwMode="auto">
              <a:xfrm>
                <a:off x="1577477" y="3272350"/>
                <a:ext cx="4035424" cy="6434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19" name="îṩḻîḍè">
                <a:extLst>
                  <a:ext uri="{FF2B5EF4-FFF2-40B4-BE49-F238E27FC236}">
                    <a16:creationId xmlns:a16="http://schemas.microsoft.com/office/drawing/2014/main" id="{138C9BF3-E4D9-493B-AF68-5FDA23015541}"/>
                  </a:ext>
                </a:extLst>
              </p:cNvPr>
              <p:cNvSpPr txBox="1"/>
              <p:nvPr/>
            </p:nvSpPr>
            <p:spPr bwMode="auto">
              <a:xfrm>
                <a:off x="1577477" y="2859469"/>
                <a:ext cx="4035424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  <p:sp>
          <p:nvSpPr>
            <p:cNvPr id="11" name="i$1iḓé">
              <a:extLst>
                <a:ext uri="{FF2B5EF4-FFF2-40B4-BE49-F238E27FC236}">
                  <a16:creationId xmlns:a16="http://schemas.microsoft.com/office/drawing/2014/main" id="{0B6E79DF-27D4-4FD7-A49F-BFE9638CB8D2}"/>
                </a:ext>
              </a:extLst>
            </p:cNvPr>
            <p:cNvSpPr/>
            <p:nvPr/>
          </p:nvSpPr>
          <p:spPr bwMode="auto">
            <a:xfrm>
              <a:off x="736826" y="3414864"/>
              <a:ext cx="570046" cy="461400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grpSp>
          <p:nvGrpSpPr>
            <p:cNvPr id="12" name="íslïḑè">
              <a:extLst>
                <a:ext uri="{FF2B5EF4-FFF2-40B4-BE49-F238E27FC236}">
                  <a16:creationId xmlns:a16="http://schemas.microsoft.com/office/drawing/2014/main" id="{4CB66015-57B5-4177-A0B1-A20264D174F5}"/>
                </a:ext>
              </a:extLst>
            </p:cNvPr>
            <p:cNvGrpSpPr/>
            <p:nvPr/>
          </p:nvGrpSpPr>
          <p:grpSpPr>
            <a:xfrm>
              <a:off x="1436482" y="4698223"/>
              <a:ext cx="4035424" cy="1056347"/>
              <a:chOff x="1577477" y="2859469"/>
              <a:chExt cx="4035424" cy="1056347"/>
            </a:xfrm>
          </p:grpSpPr>
          <p:sp>
            <p:nvSpPr>
              <p:cNvPr id="16" name="í$ḻiḍè">
                <a:extLst>
                  <a:ext uri="{FF2B5EF4-FFF2-40B4-BE49-F238E27FC236}">
                    <a16:creationId xmlns:a16="http://schemas.microsoft.com/office/drawing/2014/main" id="{43D1CF3A-53DA-4618-B1BC-906EB392FBEE}"/>
                  </a:ext>
                </a:extLst>
              </p:cNvPr>
              <p:cNvSpPr/>
              <p:nvPr/>
            </p:nvSpPr>
            <p:spPr bwMode="auto">
              <a:xfrm>
                <a:off x="1577477" y="3272350"/>
                <a:ext cx="4035424" cy="6434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17" name="ïs1íḋe">
                <a:extLst>
                  <a:ext uri="{FF2B5EF4-FFF2-40B4-BE49-F238E27FC236}">
                    <a16:creationId xmlns:a16="http://schemas.microsoft.com/office/drawing/2014/main" id="{A34974BB-8B6D-46D3-993F-36C359440FBE}"/>
                  </a:ext>
                </a:extLst>
              </p:cNvPr>
              <p:cNvSpPr txBox="1"/>
              <p:nvPr/>
            </p:nvSpPr>
            <p:spPr bwMode="auto">
              <a:xfrm>
                <a:off x="1577477" y="2859469"/>
                <a:ext cx="4035424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  <p:sp>
          <p:nvSpPr>
            <p:cNvPr id="13" name="išľiḋê">
              <a:extLst>
                <a:ext uri="{FF2B5EF4-FFF2-40B4-BE49-F238E27FC236}">
                  <a16:creationId xmlns:a16="http://schemas.microsoft.com/office/drawing/2014/main" id="{4C15E081-152E-496C-83E4-74D382B4C67B}"/>
                </a:ext>
              </a:extLst>
            </p:cNvPr>
            <p:cNvSpPr/>
            <p:nvPr/>
          </p:nvSpPr>
          <p:spPr bwMode="auto">
            <a:xfrm>
              <a:off x="736826" y="4950021"/>
              <a:ext cx="497132" cy="478102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64AF6CE2-AB73-4A77-93B7-F5DF25175591}"/>
                </a:ext>
              </a:extLst>
            </p:cNvPr>
            <p:cNvCxnSpPr>
              <a:cxnSpLocks/>
            </p:cNvCxnSpPr>
            <p:nvPr/>
          </p:nvCxnSpPr>
          <p:spPr>
            <a:xfrm>
              <a:off x="1550938" y="2950218"/>
              <a:ext cx="362755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C20497B1-88C5-4886-8A04-CC1D01C8EEBD}"/>
                </a:ext>
              </a:extLst>
            </p:cNvPr>
            <p:cNvCxnSpPr>
              <a:cxnSpLocks/>
            </p:cNvCxnSpPr>
            <p:nvPr/>
          </p:nvCxnSpPr>
          <p:spPr>
            <a:xfrm>
              <a:off x="1550938" y="4467671"/>
              <a:ext cx="362755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10306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ED78404-9E1F-4714-8552-DD48F7B4C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4A17C84-BF3E-4035-807A-7298345AA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946DB63-4445-4F22-9C92-085B6897A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49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F9EDE97-8FDC-416D-8AFC-DFBA07BFDC2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6" y="1766014"/>
            <a:ext cx="10852148" cy="3579490"/>
            <a:chOff x="669926" y="1766014"/>
            <a:chExt cx="10852148" cy="357949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9FBE027-4550-474E-BA0C-1DC85ACC9927}"/>
                </a:ext>
              </a:extLst>
            </p:cNvPr>
            <p:cNvCxnSpPr/>
            <p:nvPr/>
          </p:nvCxnSpPr>
          <p:spPr>
            <a:xfrm>
              <a:off x="8772944" y="2896613"/>
              <a:ext cx="2524647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E9DBC012-6C70-4DB0-B024-0A20DB1EF56C}"/>
                </a:ext>
              </a:extLst>
            </p:cNvPr>
            <p:cNvCxnSpPr/>
            <p:nvPr/>
          </p:nvCxnSpPr>
          <p:spPr>
            <a:xfrm>
              <a:off x="8772944" y="4214905"/>
              <a:ext cx="2524647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ṥḷïde">
              <a:extLst>
                <a:ext uri="{FF2B5EF4-FFF2-40B4-BE49-F238E27FC236}">
                  <a16:creationId xmlns:a16="http://schemas.microsoft.com/office/drawing/2014/main" id="{4E7366AB-7612-452D-8FB1-BE2F34142C8E}"/>
                </a:ext>
              </a:extLst>
            </p:cNvPr>
            <p:cNvSpPr txBox="1"/>
            <p:nvPr/>
          </p:nvSpPr>
          <p:spPr>
            <a:xfrm>
              <a:off x="9295824" y="1766014"/>
              <a:ext cx="2226249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9" name="iṥlïďe">
              <a:extLst>
                <a:ext uri="{FF2B5EF4-FFF2-40B4-BE49-F238E27FC236}">
                  <a16:creationId xmlns:a16="http://schemas.microsoft.com/office/drawing/2014/main" id="{23AAD846-9EA5-4FB9-8BC9-DE55E5F5F508}"/>
                </a:ext>
              </a:extLst>
            </p:cNvPr>
            <p:cNvSpPr txBox="1"/>
            <p:nvPr/>
          </p:nvSpPr>
          <p:spPr>
            <a:xfrm>
              <a:off x="9295824" y="2096472"/>
              <a:ext cx="2226250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0" name="íṥḷíḍe">
              <a:extLst>
                <a:ext uri="{FF2B5EF4-FFF2-40B4-BE49-F238E27FC236}">
                  <a16:creationId xmlns:a16="http://schemas.microsoft.com/office/drawing/2014/main" id="{EE733A0B-95E5-47F0-9D03-3F909A43075C}"/>
                </a:ext>
              </a:extLst>
            </p:cNvPr>
            <p:cNvSpPr txBox="1"/>
            <p:nvPr/>
          </p:nvSpPr>
          <p:spPr>
            <a:xfrm>
              <a:off x="9295824" y="3084307"/>
              <a:ext cx="2226249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/>
            </a:bodyPr>
            <a:lstStyle/>
            <a:p>
              <a:r>
                <a:rPr lang="en-US" altLang="zh-CN" sz="1500" b="1" dirty="0"/>
                <a:t>Text here</a:t>
              </a:r>
              <a:endParaRPr lang="zh-CN" altLang="en-US" sz="1500" b="1" dirty="0"/>
            </a:p>
          </p:txBody>
        </p:sp>
        <p:sp>
          <p:nvSpPr>
            <p:cNvPr id="11" name="ïslîḓe">
              <a:extLst>
                <a:ext uri="{FF2B5EF4-FFF2-40B4-BE49-F238E27FC236}">
                  <a16:creationId xmlns:a16="http://schemas.microsoft.com/office/drawing/2014/main" id="{546858AF-7FDC-4C28-B798-4D8AB74D220E}"/>
                </a:ext>
              </a:extLst>
            </p:cNvPr>
            <p:cNvSpPr txBox="1"/>
            <p:nvPr/>
          </p:nvSpPr>
          <p:spPr>
            <a:xfrm>
              <a:off x="9295824" y="3414765"/>
              <a:ext cx="2226250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2" name="iŝļiḓè">
              <a:extLst>
                <a:ext uri="{FF2B5EF4-FFF2-40B4-BE49-F238E27FC236}">
                  <a16:creationId xmlns:a16="http://schemas.microsoft.com/office/drawing/2014/main" id="{3915D434-B099-405E-8F6F-AC06ACA3A662}"/>
                </a:ext>
              </a:extLst>
            </p:cNvPr>
            <p:cNvSpPr txBox="1"/>
            <p:nvPr/>
          </p:nvSpPr>
          <p:spPr>
            <a:xfrm>
              <a:off x="9295824" y="4402599"/>
              <a:ext cx="2226249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/>
            </a:bodyPr>
            <a:lstStyle/>
            <a:p>
              <a:r>
                <a:rPr lang="en-US" altLang="zh-CN" sz="1500" b="1" dirty="0"/>
                <a:t>Text here</a:t>
              </a:r>
              <a:endParaRPr lang="zh-CN" altLang="en-US" sz="1500" b="1" dirty="0"/>
            </a:p>
          </p:txBody>
        </p:sp>
        <p:sp>
          <p:nvSpPr>
            <p:cNvPr id="13" name="ï$ľiḋê">
              <a:extLst>
                <a:ext uri="{FF2B5EF4-FFF2-40B4-BE49-F238E27FC236}">
                  <a16:creationId xmlns:a16="http://schemas.microsoft.com/office/drawing/2014/main" id="{FBA1FD03-9661-448B-AB9B-BB11DB3CF293}"/>
                </a:ext>
              </a:extLst>
            </p:cNvPr>
            <p:cNvSpPr txBox="1"/>
            <p:nvPr/>
          </p:nvSpPr>
          <p:spPr>
            <a:xfrm>
              <a:off x="9295824" y="4733057"/>
              <a:ext cx="2226250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4" name="ïŝľîḍê">
              <a:extLst>
                <a:ext uri="{FF2B5EF4-FFF2-40B4-BE49-F238E27FC236}">
                  <a16:creationId xmlns:a16="http://schemas.microsoft.com/office/drawing/2014/main" id="{E2800865-B1CC-4FF7-A0A3-50875D38ABC0}"/>
                </a:ext>
              </a:extLst>
            </p:cNvPr>
            <p:cNvSpPr txBox="1"/>
            <p:nvPr/>
          </p:nvSpPr>
          <p:spPr>
            <a:xfrm>
              <a:off x="669926" y="1766014"/>
              <a:ext cx="2226251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 algn="r"/>
              <a:r>
                <a:rPr lang="en-US" altLang="zh-CN" sz="1600" b="1" dirty="0">
                  <a:solidFill>
                    <a:schemeClr val="accent1"/>
                  </a:solidFill>
                </a:rPr>
                <a:t>Text here</a:t>
              </a:r>
              <a:endParaRPr lang="zh-CN" altLang="en-US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íšļíḓé">
              <a:extLst>
                <a:ext uri="{FF2B5EF4-FFF2-40B4-BE49-F238E27FC236}">
                  <a16:creationId xmlns:a16="http://schemas.microsoft.com/office/drawing/2014/main" id="{DC1FD71F-9264-48E0-8067-69DE3AAED67C}"/>
                </a:ext>
              </a:extLst>
            </p:cNvPr>
            <p:cNvSpPr txBox="1"/>
            <p:nvPr/>
          </p:nvSpPr>
          <p:spPr>
            <a:xfrm>
              <a:off x="669926" y="2096472"/>
              <a:ext cx="2226252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...</a:t>
              </a:r>
            </a:p>
          </p:txBody>
        </p:sp>
        <p:sp>
          <p:nvSpPr>
            <p:cNvPr id="16" name="íṣ1íḑé">
              <a:extLst>
                <a:ext uri="{FF2B5EF4-FFF2-40B4-BE49-F238E27FC236}">
                  <a16:creationId xmlns:a16="http://schemas.microsoft.com/office/drawing/2014/main" id="{57AFB138-578D-4FBA-903E-D388157168A1}"/>
                </a:ext>
              </a:extLst>
            </p:cNvPr>
            <p:cNvSpPr txBox="1"/>
            <p:nvPr/>
          </p:nvSpPr>
          <p:spPr>
            <a:xfrm>
              <a:off x="669926" y="3084307"/>
              <a:ext cx="2226251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r"/>
              <a:r>
                <a:rPr lang="en-US" altLang="zh-CN" sz="1500" b="1" dirty="0">
                  <a:solidFill>
                    <a:schemeClr val="accent1"/>
                  </a:solidFill>
                </a:rPr>
                <a:t>Text here</a:t>
              </a:r>
              <a:endParaRPr lang="zh-CN" altLang="en-US" sz="1500" b="1" dirty="0">
                <a:solidFill>
                  <a:schemeClr val="accent1"/>
                </a:solidFill>
              </a:endParaRPr>
            </a:p>
          </p:txBody>
        </p:sp>
        <p:sp>
          <p:nvSpPr>
            <p:cNvPr id="17" name="iśḷîďè">
              <a:extLst>
                <a:ext uri="{FF2B5EF4-FFF2-40B4-BE49-F238E27FC236}">
                  <a16:creationId xmlns:a16="http://schemas.microsoft.com/office/drawing/2014/main" id="{ADE3F692-D32A-4579-BD3D-E7BEE99A1AFE}"/>
                </a:ext>
              </a:extLst>
            </p:cNvPr>
            <p:cNvSpPr txBox="1"/>
            <p:nvPr/>
          </p:nvSpPr>
          <p:spPr>
            <a:xfrm>
              <a:off x="669926" y="3414765"/>
              <a:ext cx="2226252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8" name="íSḻïdé">
              <a:extLst>
                <a:ext uri="{FF2B5EF4-FFF2-40B4-BE49-F238E27FC236}">
                  <a16:creationId xmlns:a16="http://schemas.microsoft.com/office/drawing/2014/main" id="{07AC2359-7B4D-4179-BB16-5C58350C5CF4}"/>
                </a:ext>
              </a:extLst>
            </p:cNvPr>
            <p:cNvSpPr txBox="1"/>
            <p:nvPr/>
          </p:nvSpPr>
          <p:spPr>
            <a:xfrm>
              <a:off x="669926" y="4402599"/>
              <a:ext cx="2226251" cy="322214"/>
            </a:xfrm>
            <a:prstGeom prst="rect">
              <a:avLst/>
            </a:prstGeom>
            <a:noFill/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r"/>
              <a:r>
                <a:rPr lang="en-US" altLang="zh-CN" sz="1500" b="1" dirty="0">
                  <a:solidFill>
                    <a:schemeClr val="accent1"/>
                  </a:solidFill>
                </a:rPr>
                <a:t>Text here</a:t>
              </a:r>
              <a:endParaRPr lang="zh-CN" altLang="en-US" sz="1500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îślïḑé">
              <a:extLst>
                <a:ext uri="{FF2B5EF4-FFF2-40B4-BE49-F238E27FC236}">
                  <a16:creationId xmlns:a16="http://schemas.microsoft.com/office/drawing/2014/main" id="{92AC666A-F5F7-4B65-A744-3990C105B04B}"/>
                </a:ext>
              </a:extLst>
            </p:cNvPr>
            <p:cNvSpPr txBox="1"/>
            <p:nvPr/>
          </p:nvSpPr>
          <p:spPr>
            <a:xfrm>
              <a:off x="669926" y="4733057"/>
              <a:ext cx="2226252" cy="61244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20" name="îśḷíḋê">
              <a:extLst>
                <a:ext uri="{FF2B5EF4-FFF2-40B4-BE49-F238E27FC236}">
                  <a16:creationId xmlns:a16="http://schemas.microsoft.com/office/drawing/2014/main" id="{2A1D619D-4B4F-4BF2-9DD4-0A8B42C6BA9A}"/>
                </a:ext>
              </a:extLst>
            </p:cNvPr>
            <p:cNvSpPr/>
            <p:nvPr/>
          </p:nvSpPr>
          <p:spPr>
            <a:xfrm>
              <a:off x="4294042" y="2708919"/>
              <a:ext cx="2107120" cy="2107118"/>
            </a:xfrm>
            <a:custGeom>
              <a:avLst/>
              <a:gdLst>
                <a:gd name="connsiteX0" fmla="*/ 1124074 w 1583637"/>
                <a:gd name="connsiteY0" fmla="*/ 252493 h 1583637"/>
                <a:gd name="connsiteX1" fmla="*/ 1247256 w 1583637"/>
                <a:gd name="connsiteY1" fmla="*/ 149126 h 1583637"/>
                <a:gd name="connsiteX2" fmla="*/ 1345663 w 1583637"/>
                <a:gd name="connsiteY2" fmla="*/ 231701 h 1583637"/>
                <a:gd name="connsiteX3" fmla="*/ 1265256 w 1583637"/>
                <a:gd name="connsiteY3" fmla="*/ 370961 h 1583637"/>
                <a:gd name="connsiteX4" fmla="*/ 1393012 w 1583637"/>
                <a:gd name="connsiteY4" fmla="*/ 592241 h 1583637"/>
                <a:gd name="connsiteX5" fmla="*/ 1553818 w 1583637"/>
                <a:gd name="connsiteY5" fmla="*/ 592237 h 1583637"/>
                <a:gd name="connsiteX6" fmla="*/ 1576125 w 1583637"/>
                <a:gd name="connsiteY6" fmla="*/ 718748 h 1583637"/>
                <a:gd name="connsiteX7" fmla="*/ 1425015 w 1583637"/>
                <a:gd name="connsiteY7" fmla="*/ 773743 h 1583637"/>
                <a:gd name="connsiteX8" fmla="*/ 1380646 w 1583637"/>
                <a:gd name="connsiteY8" fmla="*/ 1025372 h 1583637"/>
                <a:gd name="connsiteX9" fmla="*/ 1503833 w 1583637"/>
                <a:gd name="connsiteY9" fmla="*/ 1128733 h 1583637"/>
                <a:gd name="connsiteX10" fmla="*/ 1439602 w 1583637"/>
                <a:gd name="connsiteY10" fmla="*/ 1239984 h 1583637"/>
                <a:gd name="connsiteX11" fmla="*/ 1288495 w 1583637"/>
                <a:gd name="connsiteY11" fmla="*/ 1184982 h 1583637"/>
                <a:gd name="connsiteX12" fmla="*/ 1092761 w 1583637"/>
                <a:gd name="connsiteY12" fmla="*/ 1349222 h 1583637"/>
                <a:gd name="connsiteX13" fmla="*/ 1120689 w 1583637"/>
                <a:gd name="connsiteY13" fmla="*/ 1507584 h 1583637"/>
                <a:gd name="connsiteX14" fmla="*/ 999974 w 1583637"/>
                <a:gd name="connsiteY14" fmla="*/ 1551521 h 1583637"/>
                <a:gd name="connsiteX15" fmla="*/ 919574 w 1583637"/>
                <a:gd name="connsiteY15" fmla="*/ 1412257 h 1583637"/>
                <a:gd name="connsiteX16" fmla="*/ 664062 w 1583637"/>
                <a:gd name="connsiteY16" fmla="*/ 1412257 h 1583637"/>
                <a:gd name="connsiteX17" fmla="*/ 583663 w 1583637"/>
                <a:gd name="connsiteY17" fmla="*/ 1551521 h 1583637"/>
                <a:gd name="connsiteX18" fmla="*/ 462948 w 1583637"/>
                <a:gd name="connsiteY18" fmla="*/ 1507584 h 1583637"/>
                <a:gd name="connsiteX19" fmla="*/ 490876 w 1583637"/>
                <a:gd name="connsiteY19" fmla="*/ 1349222 h 1583637"/>
                <a:gd name="connsiteX20" fmla="*/ 295142 w 1583637"/>
                <a:gd name="connsiteY20" fmla="*/ 1184981 h 1583637"/>
                <a:gd name="connsiteX21" fmla="*/ 144035 w 1583637"/>
                <a:gd name="connsiteY21" fmla="*/ 1239984 h 1583637"/>
                <a:gd name="connsiteX22" fmla="*/ 79804 w 1583637"/>
                <a:gd name="connsiteY22" fmla="*/ 1128733 h 1583637"/>
                <a:gd name="connsiteX23" fmla="*/ 202991 w 1583637"/>
                <a:gd name="connsiteY23" fmla="*/ 1025372 h 1583637"/>
                <a:gd name="connsiteX24" fmla="*/ 158622 w 1583637"/>
                <a:gd name="connsiteY24" fmla="*/ 773743 h 1583637"/>
                <a:gd name="connsiteX25" fmla="*/ 7512 w 1583637"/>
                <a:gd name="connsiteY25" fmla="*/ 718748 h 1583637"/>
                <a:gd name="connsiteX26" fmla="*/ 29819 w 1583637"/>
                <a:gd name="connsiteY26" fmla="*/ 592237 h 1583637"/>
                <a:gd name="connsiteX27" fmla="*/ 190625 w 1583637"/>
                <a:gd name="connsiteY27" fmla="*/ 592241 h 1583637"/>
                <a:gd name="connsiteX28" fmla="*/ 318381 w 1583637"/>
                <a:gd name="connsiteY28" fmla="*/ 370961 h 1583637"/>
                <a:gd name="connsiteX29" fmla="*/ 237974 w 1583637"/>
                <a:gd name="connsiteY29" fmla="*/ 231701 h 1583637"/>
                <a:gd name="connsiteX30" fmla="*/ 336381 w 1583637"/>
                <a:gd name="connsiteY30" fmla="*/ 149126 h 1583637"/>
                <a:gd name="connsiteX31" fmla="*/ 459563 w 1583637"/>
                <a:gd name="connsiteY31" fmla="*/ 252493 h 1583637"/>
                <a:gd name="connsiteX32" fmla="*/ 699666 w 1583637"/>
                <a:gd name="connsiteY32" fmla="*/ 165103 h 1583637"/>
                <a:gd name="connsiteX33" fmla="*/ 727586 w 1583637"/>
                <a:gd name="connsiteY33" fmla="*/ 6739 h 1583637"/>
                <a:gd name="connsiteX34" fmla="*/ 856051 w 1583637"/>
                <a:gd name="connsiteY34" fmla="*/ 6739 h 1583637"/>
                <a:gd name="connsiteX35" fmla="*/ 883970 w 1583637"/>
                <a:gd name="connsiteY35" fmla="*/ 165102 h 1583637"/>
                <a:gd name="connsiteX36" fmla="*/ 1124073 w 1583637"/>
                <a:gd name="connsiteY36" fmla="*/ 252493 h 1583637"/>
                <a:gd name="connsiteX37" fmla="*/ 1124074 w 1583637"/>
                <a:gd name="connsiteY37" fmla="*/ 252493 h 158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583637" h="1583637">
                  <a:moveTo>
                    <a:pt x="1124074" y="252493"/>
                  </a:moveTo>
                  <a:lnTo>
                    <a:pt x="1247256" y="149126"/>
                  </a:lnTo>
                  <a:lnTo>
                    <a:pt x="1345663" y="231701"/>
                  </a:lnTo>
                  <a:lnTo>
                    <a:pt x="1265256" y="370961"/>
                  </a:lnTo>
                  <a:cubicBezTo>
                    <a:pt x="1322430" y="435278"/>
                    <a:pt x="1365899" y="510569"/>
                    <a:pt x="1393012" y="592241"/>
                  </a:cubicBezTo>
                  <a:lnTo>
                    <a:pt x="1553818" y="592237"/>
                  </a:lnTo>
                  <a:lnTo>
                    <a:pt x="1576125" y="718748"/>
                  </a:lnTo>
                  <a:lnTo>
                    <a:pt x="1425015" y="773743"/>
                  </a:lnTo>
                  <a:cubicBezTo>
                    <a:pt x="1427471" y="859762"/>
                    <a:pt x="1412374" y="945380"/>
                    <a:pt x="1380646" y="1025372"/>
                  </a:cubicBezTo>
                  <a:lnTo>
                    <a:pt x="1503833" y="1128733"/>
                  </a:lnTo>
                  <a:lnTo>
                    <a:pt x="1439602" y="1239984"/>
                  </a:lnTo>
                  <a:lnTo>
                    <a:pt x="1288495" y="1184982"/>
                  </a:lnTo>
                  <a:cubicBezTo>
                    <a:pt x="1235084" y="1252456"/>
                    <a:pt x="1168484" y="1308339"/>
                    <a:pt x="1092761" y="1349222"/>
                  </a:cubicBezTo>
                  <a:lnTo>
                    <a:pt x="1120689" y="1507584"/>
                  </a:lnTo>
                  <a:lnTo>
                    <a:pt x="999974" y="1551521"/>
                  </a:lnTo>
                  <a:lnTo>
                    <a:pt x="919574" y="1412257"/>
                  </a:lnTo>
                  <a:cubicBezTo>
                    <a:pt x="835287" y="1429613"/>
                    <a:pt x="748348" y="1429613"/>
                    <a:pt x="664062" y="1412257"/>
                  </a:cubicBezTo>
                  <a:lnTo>
                    <a:pt x="583663" y="1551521"/>
                  </a:lnTo>
                  <a:lnTo>
                    <a:pt x="462948" y="1507584"/>
                  </a:lnTo>
                  <a:lnTo>
                    <a:pt x="490876" y="1349222"/>
                  </a:lnTo>
                  <a:cubicBezTo>
                    <a:pt x="415153" y="1308339"/>
                    <a:pt x="348553" y="1252455"/>
                    <a:pt x="295142" y="1184981"/>
                  </a:cubicBezTo>
                  <a:lnTo>
                    <a:pt x="144035" y="1239984"/>
                  </a:lnTo>
                  <a:lnTo>
                    <a:pt x="79804" y="1128733"/>
                  </a:lnTo>
                  <a:lnTo>
                    <a:pt x="202991" y="1025372"/>
                  </a:lnTo>
                  <a:cubicBezTo>
                    <a:pt x="171263" y="945380"/>
                    <a:pt x="156166" y="859762"/>
                    <a:pt x="158622" y="773743"/>
                  </a:cubicBezTo>
                  <a:lnTo>
                    <a:pt x="7512" y="718748"/>
                  </a:lnTo>
                  <a:lnTo>
                    <a:pt x="29819" y="592237"/>
                  </a:lnTo>
                  <a:lnTo>
                    <a:pt x="190625" y="592241"/>
                  </a:lnTo>
                  <a:cubicBezTo>
                    <a:pt x="217738" y="510569"/>
                    <a:pt x="261208" y="435277"/>
                    <a:pt x="318381" y="370961"/>
                  </a:cubicBezTo>
                  <a:lnTo>
                    <a:pt x="237974" y="231701"/>
                  </a:lnTo>
                  <a:lnTo>
                    <a:pt x="336381" y="149126"/>
                  </a:lnTo>
                  <a:lnTo>
                    <a:pt x="459563" y="252493"/>
                  </a:lnTo>
                  <a:cubicBezTo>
                    <a:pt x="532831" y="207356"/>
                    <a:pt x="614527" y="177621"/>
                    <a:pt x="699666" y="165103"/>
                  </a:cubicBezTo>
                  <a:lnTo>
                    <a:pt x="727586" y="6739"/>
                  </a:lnTo>
                  <a:lnTo>
                    <a:pt x="856051" y="6739"/>
                  </a:lnTo>
                  <a:lnTo>
                    <a:pt x="883970" y="165102"/>
                  </a:lnTo>
                  <a:cubicBezTo>
                    <a:pt x="969110" y="177621"/>
                    <a:pt x="1050806" y="207356"/>
                    <a:pt x="1124073" y="252493"/>
                  </a:cubicBezTo>
                  <a:lnTo>
                    <a:pt x="1124074" y="25249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1" name="îṥḻïḓe">
              <a:extLst>
                <a:ext uri="{FF2B5EF4-FFF2-40B4-BE49-F238E27FC236}">
                  <a16:creationId xmlns:a16="http://schemas.microsoft.com/office/drawing/2014/main" id="{E285D464-D239-466F-9553-CC75BD52A309}"/>
                </a:ext>
              </a:extLst>
            </p:cNvPr>
            <p:cNvSpPr/>
            <p:nvPr/>
          </p:nvSpPr>
          <p:spPr>
            <a:xfrm rot="20156592">
              <a:off x="6157390" y="2353527"/>
              <a:ext cx="1740570" cy="1740564"/>
            </a:xfrm>
            <a:custGeom>
              <a:avLst/>
              <a:gdLst>
                <a:gd name="connsiteX0" fmla="*/ 1124074 w 1583637"/>
                <a:gd name="connsiteY0" fmla="*/ 252493 h 1583637"/>
                <a:gd name="connsiteX1" fmla="*/ 1247256 w 1583637"/>
                <a:gd name="connsiteY1" fmla="*/ 149126 h 1583637"/>
                <a:gd name="connsiteX2" fmla="*/ 1345663 w 1583637"/>
                <a:gd name="connsiteY2" fmla="*/ 231701 h 1583637"/>
                <a:gd name="connsiteX3" fmla="*/ 1265256 w 1583637"/>
                <a:gd name="connsiteY3" fmla="*/ 370961 h 1583637"/>
                <a:gd name="connsiteX4" fmla="*/ 1393012 w 1583637"/>
                <a:gd name="connsiteY4" fmla="*/ 592241 h 1583637"/>
                <a:gd name="connsiteX5" fmla="*/ 1553818 w 1583637"/>
                <a:gd name="connsiteY5" fmla="*/ 592237 h 1583637"/>
                <a:gd name="connsiteX6" fmla="*/ 1576125 w 1583637"/>
                <a:gd name="connsiteY6" fmla="*/ 718748 h 1583637"/>
                <a:gd name="connsiteX7" fmla="*/ 1425015 w 1583637"/>
                <a:gd name="connsiteY7" fmla="*/ 773743 h 1583637"/>
                <a:gd name="connsiteX8" fmla="*/ 1380646 w 1583637"/>
                <a:gd name="connsiteY8" fmla="*/ 1025372 h 1583637"/>
                <a:gd name="connsiteX9" fmla="*/ 1503833 w 1583637"/>
                <a:gd name="connsiteY9" fmla="*/ 1128733 h 1583637"/>
                <a:gd name="connsiteX10" fmla="*/ 1439602 w 1583637"/>
                <a:gd name="connsiteY10" fmla="*/ 1239984 h 1583637"/>
                <a:gd name="connsiteX11" fmla="*/ 1288495 w 1583637"/>
                <a:gd name="connsiteY11" fmla="*/ 1184982 h 1583637"/>
                <a:gd name="connsiteX12" fmla="*/ 1092761 w 1583637"/>
                <a:gd name="connsiteY12" fmla="*/ 1349222 h 1583637"/>
                <a:gd name="connsiteX13" fmla="*/ 1120689 w 1583637"/>
                <a:gd name="connsiteY13" fmla="*/ 1507584 h 1583637"/>
                <a:gd name="connsiteX14" fmla="*/ 999974 w 1583637"/>
                <a:gd name="connsiteY14" fmla="*/ 1551521 h 1583637"/>
                <a:gd name="connsiteX15" fmla="*/ 919574 w 1583637"/>
                <a:gd name="connsiteY15" fmla="*/ 1412257 h 1583637"/>
                <a:gd name="connsiteX16" fmla="*/ 664062 w 1583637"/>
                <a:gd name="connsiteY16" fmla="*/ 1412257 h 1583637"/>
                <a:gd name="connsiteX17" fmla="*/ 583663 w 1583637"/>
                <a:gd name="connsiteY17" fmla="*/ 1551521 h 1583637"/>
                <a:gd name="connsiteX18" fmla="*/ 462948 w 1583637"/>
                <a:gd name="connsiteY18" fmla="*/ 1507584 h 1583637"/>
                <a:gd name="connsiteX19" fmla="*/ 490876 w 1583637"/>
                <a:gd name="connsiteY19" fmla="*/ 1349222 h 1583637"/>
                <a:gd name="connsiteX20" fmla="*/ 295142 w 1583637"/>
                <a:gd name="connsiteY20" fmla="*/ 1184981 h 1583637"/>
                <a:gd name="connsiteX21" fmla="*/ 144035 w 1583637"/>
                <a:gd name="connsiteY21" fmla="*/ 1239984 h 1583637"/>
                <a:gd name="connsiteX22" fmla="*/ 79804 w 1583637"/>
                <a:gd name="connsiteY22" fmla="*/ 1128733 h 1583637"/>
                <a:gd name="connsiteX23" fmla="*/ 202991 w 1583637"/>
                <a:gd name="connsiteY23" fmla="*/ 1025372 h 1583637"/>
                <a:gd name="connsiteX24" fmla="*/ 158622 w 1583637"/>
                <a:gd name="connsiteY24" fmla="*/ 773743 h 1583637"/>
                <a:gd name="connsiteX25" fmla="*/ 7512 w 1583637"/>
                <a:gd name="connsiteY25" fmla="*/ 718748 h 1583637"/>
                <a:gd name="connsiteX26" fmla="*/ 29819 w 1583637"/>
                <a:gd name="connsiteY26" fmla="*/ 592237 h 1583637"/>
                <a:gd name="connsiteX27" fmla="*/ 190625 w 1583637"/>
                <a:gd name="connsiteY27" fmla="*/ 592241 h 1583637"/>
                <a:gd name="connsiteX28" fmla="*/ 318381 w 1583637"/>
                <a:gd name="connsiteY28" fmla="*/ 370961 h 1583637"/>
                <a:gd name="connsiteX29" fmla="*/ 237974 w 1583637"/>
                <a:gd name="connsiteY29" fmla="*/ 231701 h 1583637"/>
                <a:gd name="connsiteX30" fmla="*/ 336381 w 1583637"/>
                <a:gd name="connsiteY30" fmla="*/ 149126 h 1583637"/>
                <a:gd name="connsiteX31" fmla="*/ 459563 w 1583637"/>
                <a:gd name="connsiteY31" fmla="*/ 252493 h 1583637"/>
                <a:gd name="connsiteX32" fmla="*/ 699666 w 1583637"/>
                <a:gd name="connsiteY32" fmla="*/ 165103 h 1583637"/>
                <a:gd name="connsiteX33" fmla="*/ 727586 w 1583637"/>
                <a:gd name="connsiteY33" fmla="*/ 6739 h 1583637"/>
                <a:gd name="connsiteX34" fmla="*/ 856051 w 1583637"/>
                <a:gd name="connsiteY34" fmla="*/ 6739 h 1583637"/>
                <a:gd name="connsiteX35" fmla="*/ 883970 w 1583637"/>
                <a:gd name="connsiteY35" fmla="*/ 165102 h 1583637"/>
                <a:gd name="connsiteX36" fmla="*/ 1124073 w 1583637"/>
                <a:gd name="connsiteY36" fmla="*/ 252493 h 1583637"/>
                <a:gd name="connsiteX37" fmla="*/ 1124074 w 1583637"/>
                <a:gd name="connsiteY37" fmla="*/ 252493 h 158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583637" h="1583637">
                  <a:moveTo>
                    <a:pt x="1124074" y="252493"/>
                  </a:moveTo>
                  <a:lnTo>
                    <a:pt x="1247256" y="149126"/>
                  </a:lnTo>
                  <a:lnTo>
                    <a:pt x="1345663" y="231701"/>
                  </a:lnTo>
                  <a:lnTo>
                    <a:pt x="1265256" y="370961"/>
                  </a:lnTo>
                  <a:cubicBezTo>
                    <a:pt x="1322430" y="435278"/>
                    <a:pt x="1365899" y="510569"/>
                    <a:pt x="1393012" y="592241"/>
                  </a:cubicBezTo>
                  <a:lnTo>
                    <a:pt x="1553818" y="592237"/>
                  </a:lnTo>
                  <a:lnTo>
                    <a:pt x="1576125" y="718748"/>
                  </a:lnTo>
                  <a:lnTo>
                    <a:pt x="1425015" y="773743"/>
                  </a:lnTo>
                  <a:cubicBezTo>
                    <a:pt x="1427471" y="859762"/>
                    <a:pt x="1412374" y="945380"/>
                    <a:pt x="1380646" y="1025372"/>
                  </a:cubicBezTo>
                  <a:lnTo>
                    <a:pt x="1503833" y="1128733"/>
                  </a:lnTo>
                  <a:lnTo>
                    <a:pt x="1439602" y="1239984"/>
                  </a:lnTo>
                  <a:lnTo>
                    <a:pt x="1288495" y="1184982"/>
                  </a:lnTo>
                  <a:cubicBezTo>
                    <a:pt x="1235084" y="1252456"/>
                    <a:pt x="1168484" y="1308339"/>
                    <a:pt x="1092761" y="1349222"/>
                  </a:cubicBezTo>
                  <a:lnTo>
                    <a:pt x="1120689" y="1507584"/>
                  </a:lnTo>
                  <a:lnTo>
                    <a:pt x="999974" y="1551521"/>
                  </a:lnTo>
                  <a:lnTo>
                    <a:pt x="919574" y="1412257"/>
                  </a:lnTo>
                  <a:cubicBezTo>
                    <a:pt x="835287" y="1429613"/>
                    <a:pt x="748348" y="1429613"/>
                    <a:pt x="664062" y="1412257"/>
                  </a:cubicBezTo>
                  <a:lnTo>
                    <a:pt x="583663" y="1551521"/>
                  </a:lnTo>
                  <a:lnTo>
                    <a:pt x="462948" y="1507584"/>
                  </a:lnTo>
                  <a:lnTo>
                    <a:pt x="490876" y="1349222"/>
                  </a:lnTo>
                  <a:cubicBezTo>
                    <a:pt x="415153" y="1308339"/>
                    <a:pt x="348553" y="1252455"/>
                    <a:pt x="295142" y="1184981"/>
                  </a:cubicBezTo>
                  <a:lnTo>
                    <a:pt x="144035" y="1239984"/>
                  </a:lnTo>
                  <a:lnTo>
                    <a:pt x="79804" y="1128733"/>
                  </a:lnTo>
                  <a:lnTo>
                    <a:pt x="202991" y="1025372"/>
                  </a:lnTo>
                  <a:cubicBezTo>
                    <a:pt x="171263" y="945380"/>
                    <a:pt x="156166" y="859762"/>
                    <a:pt x="158622" y="773743"/>
                  </a:cubicBezTo>
                  <a:lnTo>
                    <a:pt x="7512" y="718748"/>
                  </a:lnTo>
                  <a:lnTo>
                    <a:pt x="29819" y="592237"/>
                  </a:lnTo>
                  <a:lnTo>
                    <a:pt x="190625" y="592241"/>
                  </a:lnTo>
                  <a:cubicBezTo>
                    <a:pt x="217738" y="510569"/>
                    <a:pt x="261208" y="435277"/>
                    <a:pt x="318381" y="370961"/>
                  </a:cubicBezTo>
                  <a:lnTo>
                    <a:pt x="237974" y="231701"/>
                  </a:lnTo>
                  <a:lnTo>
                    <a:pt x="336381" y="149126"/>
                  </a:lnTo>
                  <a:lnTo>
                    <a:pt x="459563" y="252493"/>
                  </a:lnTo>
                  <a:cubicBezTo>
                    <a:pt x="532831" y="207356"/>
                    <a:pt x="614527" y="177621"/>
                    <a:pt x="699666" y="165103"/>
                  </a:cubicBezTo>
                  <a:lnTo>
                    <a:pt x="727586" y="6739"/>
                  </a:lnTo>
                  <a:lnTo>
                    <a:pt x="856051" y="6739"/>
                  </a:lnTo>
                  <a:lnTo>
                    <a:pt x="883970" y="165102"/>
                  </a:lnTo>
                  <a:cubicBezTo>
                    <a:pt x="969110" y="177621"/>
                    <a:pt x="1050806" y="207356"/>
                    <a:pt x="1124073" y="252493"/>
                  </a:cubicBezTo>
                  <a:lnTo>
                    <a:pt x="1124074" y="2524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2" name="iṥļïde">
              <a:extLst>
                <a:ext uri="{FF2B5EF4-FFF2-40B4-BE49-F238E27FC236}">
                  <a16:creationId xmlns:a16="http://schemas.microsoft.com/office/drawing/2014/main" id="{88BBCE4C-5E72-4CFA-AF8C-C97C89F4F183}"/>
                </a:ext>
              </a:extLst>
            </p:cNvPr>
            <p:cNvSpPr/>
            <p:nvPr/>
          </p:nvSpPr>
          <p:spPr>
            <a:xfrm>
              <a:off x="6666997" y="2863131"/>
              <a:ext cx="721356" cy="721356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 sz="1400" dirty="0">
                  <a:solidFill>
                    <a:sysClr val="windowText" lastClr="000000"/>
                  </a:solidFill>
                </a:rPr>
                <a:t>Text</a:t>
              </a:r>
              <a:endParaRPr lang="zh-CN" altLang="en-US" sz="14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isḷiḋè">
              <a:extLst>
                <a:ext uri="{FF2B5EF4-FFF2-40B4-BE49-F238E27FC236}">
                  <a16:creationId xmlns:a16="http://schemas.microsoft.com/office/drawing/2014/main" id="{7ECE3EFB-E280-4B24-B8D0-1FE80D92D296}"/>
                </a:ext>
              </a:extLst>
            </p:cNvPr>
            <p:cNvSpPr/>
            <p:nvPr/>
          </p:nvSpPr>
          <p:spPr>
            <a:xfrm>
              <a:off x="4797323" y="3212199"/>
              <a:ext cx="1100558" cy="110055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ysClr val="windowText" lastClr="000000"/>
                  </a:solidFill>
                </a:rPr>
                <a:t>Text</a:t>
              </a:r>
              <a:endParaRPr lang="zh-CN" altLang="en-US" b="1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4" name="îšḻiďe">
              <a:extLst>
                <a:ext uri="{FF2B5EF4-FFF2-40B4-BE49-F238E27FC236}">
                  <a16:creationId xmlns:a16="http://schemas.microsoft.com/office/drawing/2014/main" id="{AA33634F-AB13-4766-BE4C-24F36F097BB1}"/>
                </a:ext>
              </a:extLst>
            </p:cNvPr>
            <p:cNvGrpSpPr/>
            <p:nvPr/>
          </p:nvGrpSpPr>
          <p:grpSpPr>
            <a:xfrm>
              <a:off x="8584706" y="1877109"/>
              <a:ext cx="517936" cy="517934"/>
              <a:chOff x="1363763" y="1653267"/>
              <a:chExt cx="489858" cy="489858"/>
            </a:xfrm>
          </p:grpSpPr>
          <p:sp>
            <p:nvSpPr>
              <p:cNvPr id="37" name="iśḷïḓè">
                <a:extLst>
                  <a:ext uri="{FF2B5EF4-FFF2-40B4-BE49-F238E27FC236}">
                    <a16:creationId xmlns:a16="http://schemas.microsoft.com/office/drawing/2014/main" id="{CDD55546-5271-4F5E-B365-1EBEDDB220DE}"/>
                  </a:ext>
                </a:extLst>
              </p:cNvPr>
              <p:cNvSpPr/>
              <p:nvPr/>
            </p:nvSpPr>
            <p:spPr>
              <a:xfrm>
                <a:off x="1363763" y="1653267"/>
                <a:ext cx="489858" cy="489858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/>
              </a:p>
            </p:txBody>
          </p:sp>
          <p:sp>
            <p:nvSpPr>
              <p:cNvPr id="38" name="íṩ1íďè">
                <a:extLst>
                  <a:ext uri="{FF2B5EF4-FFF2-40B4-BE49-F238E27FC236}">
                    <a16:creationId xmlns:a16="http://schemas.microsoft.com/office/drawing/2014/main" id="{6867E936-10A2-4E3B-A74F-1F5DE66C48B3}"/>
                  </a:ext>
                </a:extLst>
              </p:cNvPr>
              <p:cNvSpPr/>
              <p:nvPr/>
            </p:nvSpPr>
            <p:spPr bwMode="auto">
              <a:xfrm>
                <a:off x="1518705" y="1804342"/>
                <a:ext cx="179973" cy="179973"/>
              </a:xfrm>
              <a:custGeom>
                <a:avLst/>
                <a:gdLst>
                  <a:gd name="connsiteX0" fmla="*/ 221853 w 338138"/>
                  <a:gd name="connsiteY0" fmla="*/ 169862 h 338138"/>
                  <a:gd name="connsiteX1" fmla="*/ 243284 w 338138"/>
                  <a:gd name="connsiteY1" fmla="*/ 169862 h 338138"/>
                  <a:gd name="connsiteX2" fmla="*/ 254000 w 338138"/>
                  <a:gd name="connsiteY2" fmla="*/ 180379 h 338138"/>
                  <a:gd name="connsiteX3" fmla="*/ 254000 w 338138"/>
                  <a:gd name="connsiteY3" fmla="*/ 243483 h 338138"/>
                  <a:gd name="connsiteX4" fmla="*/ 243284 w 338138"/>
                  <a:gd name="connsiteY4" fmla="*/ 254000 h 338138"/>
                  <a:gd name="connsiteX5" fmla="*/ 221853 w 338138"/>
                  <a:gd name="connsiteY5" fmla="*/ 254000 h 338138"/>
                  <a:gd name="connsiteX6" fmla="*/ 211137 w 338138"/>
                  <a:gd name="connsiteY6" fmla="*/ 243483 h 338138"/>
                  <a:gd name="connsiteX7" fmla="*/ 211137 w 338138"/>
                  <a:gd name="connsiteY7" fmla="*/ 180379 h 338138"/>
                  <a:gd name="connsiteX8" fmla="*/ 221853 w 338138"/>
                  <a:gd name="connsiteY8" fmla="*/ 169862 h 338138"/>
                  <a:gd name="connsiteX9" fmla="*/ 94853 w 338138"/>
                  <a:gd name="connsiteY9" fmla="*/ 127000 h 338138"/>
                  <a:gd name="connsiteX10" fmla="*/ 116284 w 338138"/>
                  <a:gd name="connsiteY10" fmla="*/ 127000 h 338138"/>
                  <a:gd name="connsiteX11" fmla="*/ 127000 w 338138"/>
                  <a:gd name="connsiteY11" fmla="*/ 137583 h 338138"/>
                  <a:gd name="connsiteX12" fmla="*/ 127000 w 338138"/>
                  <a:gd name="connsiteY12" fmla="*/ 243417 h 338138"/>
                  <a:gd name="connsiteX13" fmla="*/ 116284 w 338138"/>
                  <a:gd name="connsiteY13" fmla="*/ 254000 h 338138"/>
                  <a:gd name="connsiteX14" fmla="*/ 94853 w 338138"/>
                  <a:gd name="connsiteY14" fmla="*/ 254000 h 338138"/>
                  <a:gd name="connsiteX15" fmla="*/ 84137 w 338138"/>
                  <a:gd name="connsiteY15" fmla="*/ 243417 h 338138"/>
                  <a:gd name="connsiteX16" fmla="*/ 84137 w 338138"/>
                  <a:gd name="connsiteY16" fmla="*/ 137583 h 338138"/>
                  <a:gd name="connsiteX17" fmla="*/ 94853 w 338138"/>
                  <a:gd name="connsiteY17" fmla="*/ 127000 h 338138"/>
                  <a:gd name="connsiteX18" fmla="*/ 285353 w 338138"/>
                  <a:gd name="connsiteY18" fmla="*/ 85725 h 338138"/>
                  <a:gd name="connsiteX19" fmla="*/ 306784 w 338138"/>
                  <a:gd name="connsiteY19" fmla="*/ 85725 h 338138"/>
                  <a:gd name="connsiteX20" fmla="*/ 317500 w 338138"/>
                  <a:gd name="connsiteY20" fmla="*/ 96242 h 338138"/>
                  <a:gd name="connsiteX21" fmla="*/ 317500 w 338138"/>
                  <a:gd name="connsiteY21" fmla="*/ 243483 h 338138"/>
                  <a:gd name="connsiteX22" fmla="*/ 306784 w 338138"/>
                  <a:gd name="connsiteY22" fmla="*/ 254000 h 338138"/>
                  <a:gd name="connsiteX23" fmla="*/ 285353 w 338138"/>
                  <a:gd name="connsiteY23" fmla="*/ 254000 h 338138"/>
                  <a:gd name="connsiteX24" fmla="*/ 274637 w 338138"/>
                  <a:gd name="connsiteY24" fmla="*/ 243483 h 338138"/>
                  <a:gd name="connsiteX25" fmla="*/ 274637 w 338138"/>
                  <a:gd name="connsiteY25" fmla="*/ 96242 h 338138"/>
                  <a:gd name="connsiteX26" fmla="*/ 285353 w 338138"/>
                  <a:gd name="connsiteY26" fmla="*/ 85725 h 338138"/>
                  <a:gd name="connsiteX27" fmla="*/ 158353 w 338138"/>
                  <a:gd name="connsiteY27" fmla="*/ 42862 h 338138"/>
                  <a:gd name="connsiteX28" fmla="*/ 179784 w 338138"/>
                  <a:gd name="connsiteY28" fmla="*/ 42862 h 338138"/>
                  <a:gd name="connsiteX29" fmla="*/ 190500 w 338138"/>
                  <a:gd name="connsiteY29" fmla="*/ 53419 h 338138"/>
                  <a:gd name="connsiteX30" fmla="*/ 190500 w 338138"/>
                  <a:gd name="connsiteY30" fmla="*/ 243443 h 338138"/>
                  <a:gd name="connsiteX31" fmla="*/ 179784 w 338138"/>
                  <a:gd name="connsiteY31" fmla="*/ 254000 h 338138"/>
                  <a:gd name="connsiteX32" fmla="*/ 158353 w 338138"/>
                  <a:gd name="connsiteY32" fmla="*/ 254000 h 338138"/>
                  <a:gd name="connsiteX33" fmla="*/ 147637 w 338138"/>
                  <a:gd name="connsiteY33" fmla="*/ 243443 h 338138"/>
                  <a:gd name="connsiteX34" fmla="*/ 147637 w 338138"/>
                  <a:gd name="connsiteY34" fmla="*/ 53419 h 338138"/>
                  <a:gd name="connsiteX35" fmla="*/ 158353 w 338138"/>
                  <a:gd name="connsiteY35" fmla="*/ 42862 h 338138"/>
                  <a:gd name="connsiteX36" fmla="*/ 0 w 338138"/>
                  <a:gd name="connsiteY36" fmla="*/ 0 h 338138"/>
                  <a:gd name="connsiteX37" fmla="*/ 42267 w 338138"/>
                  <a:gd name="connsiteY37" fmla="*/ 0 h 338138"/>
                  <a:gd name="connsiteX38" fmla="*/ 42267 w 338138"/>
                  <a:gd name="connsiteY38" fmla="*/ 295871 h 338138"/>
                  <a:gd name="connsiteX39" fmla="*/ 338138 w 338138"/>
                  <a:gd name="connsiteY39" fmla="*/ 295871 h 338138"/>
                  <a:gd name="connsiteX40" fmla="*/ 338138 w 338138"/>
                  <a:gd name="connsiteY40" fmla="*/ 338138 h 338138"/>
                  <a:gd name="connsiteX41" fmla="*/ 21133 w 338138"/>
                  <a:gd name="connsiteY41" fmla="*/ 338138 h 338138"/>
                  <a:gd name="connsiteX42" fmla="*/ 0 w 338138"/>
                  <a:gd name="connsiteY42" fmla="*/ 317005 h 338138"/>
                  <a:gd name="connsiteX43" fmla="*/ 0 w 338138"/>
                  <a:gd name="connsiteY43" fmla="*/ 0 h 338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38138" h="338138">
                    <a:moveTo>
                      <a:pt x="221853" y="169862"/>
                    </a:moveTo>
                    <a:cubicBezTo>
                      <a:pt x="221853" y="169862"/>
                      <a:pt x="221853" y="169862"/>
                      <a:pt x="243284" y="169862"/>
                    </a:cubicBezTo>
                    <a:cubicBezTo>
                      <a:pt x="248642" y="169862"/>
                      <a:pt x="254000" y="175121"/>
                      <a:pt x="254000" y="180379"/>
                    </a:cubicBezTo>
                    <a:cubicBezTo>
                      <a:pt x="254000" y="180379"/>
                      <a:pt x="254000" y="180379"/>
                      <a:pt x="254000" y="243483"/>
                    </a:cubicBezTo>
                    <a:cubicBezTo>
                      <a:pt x="254000" y="248742"/>
                      <a:pt x="248642" y="254000"/>
                      <a:pt x="243284" y="254000"/>
                    </a:cubicBezTo>
                    <a:cubicBezTo>
                      <a:pt x="243284" y="254000"/>
                      <a:pt x="243284" y="254000"/>
                      <a:pt x="221853" y="254000"/>
                    </a:cubicBezTo>
                    <a:cubicBezTo>
                      <a:pt x="216495" y="254000"/>
                      <a:pt x="211137" y="248742"/>
                      <a:pt x="211137" y="243483"/>
                    </a:cubicBezTo>
                    <a:cubicBezTo>
                      <a:pt x="211137" y="243483"/>
                      <a:pt x="211137" y="243483"/>
                      <a:pt x="211137" y="180379"/>
                    </a:cubicBezTo>
                    <a:cubicBezTo>
                      <a:pt x="211137" y="175121"/>
                      <a:pt x="216495" y="169862"/>
                      <a:pt x="221853" y="169862"/>
                    </a:cubicBezTo>
                    <a:close/>
                    <a:moveTo>
                      <a:pt x="94853" y="127000"/>
                    </a:moveTo>
                    <a:cubicBezTo>
                      <a:pt x="94853" y="127000"/>
                      <a:pt x="94853" y="127000"/>
                      <a:pt x="116284" y="127000"/>
                    </a:cubicBezTo>
                    <a:cubicBezTo>
                      <a:pt x="121642" y="127000"/>
                      <a:pt x="127000" y="132292"/>
                      <a:pt x="127000" y="137583"/>
                    </a:cubicBezTo>
                    <a:cubicBezTo>
                      <a:pt x="127000" y="137583"/>
                      <a:pt x="127000" y="137583"/>
                      <a:pt x="127000" y="243417"/>
                    </a:cubicBezTo>
                    <a:cubicBezTo>
                      <a:pt x="127000" y="248708"/>
                      <a:pt x="121642" y="254000"/>
                      <a:pt x="116284" y="254000"/>
                    </a:cubicBezTo>
                    <a:cubicBezTo>
                      <a:pt x="116284" y="254000"/>
                      <a:pt x="116284" y="254000"/>
                      <a:pt x="94853" y="254000"/>
                    </a:cubicBezTo>
                    <a:cubicBezTo>
                      <a:pt x="89495" y="254000"/>
                      <a:pt x="84137" y="248708"/>
                      <a:pt x="84137" y="243417"/>
                    </a:cubicBezTo>
                    <a:cubicBezTo>
                      <a:pt x="84137" y="243417"/>
                      <a:pt x="84137" y="243417"/>
                      <a:pt x="84137" y="137583"/>
                    </a:cubicBezTo>
                    <a:cubicBezTo>
                      <a:pt x="84137" y="132292"/>
                      <a:pt x="89495" y="127000"/>
                      <a:pt x="94853" y="127000"/>
                    </a:cubicBezTo>
                    <a:close/>
                    <a:moveTo>
                      <a:pt x="285353" y="85725"/>
                    </a:moveTo>
                    <a:cubicBezTo>
                      <a:pt x="285353" y="85725"/>
                      <a:pt x="285353" y="85725"/>
                      <a:pt x="306784" y="85725"/>
                    </a:cubicBezTo>
                    <a:cubicBezTo>
                      <a:pt x="312142" y="85725"/>
                      <a:pt x="317500" y="90984"/>
                      <a:pt x="317500" y="96242"/>
                    </a:cubicBezTo>
                    <a:cubicBezTo>
                      <a:pt x="317500" y="96242"/>
                      <a:pt x="317500" y="96242"/>
                      <a:pt x="317500" y="243483"/>
                    </a:cubicBezTo>
                    <a:cubicBezTo>
                      <a:pt x="317500" y="248742"/>
                      <a:pt x="312142" y="254000"/>
                      <a:pt x="306784" y="254000"/>
                    </a:cubicBezTo>
                    <a:cubicBezTo>
                      <a:pt x="306784" y="254000"/>
                      <a:pt x="306784" y="254000"/>
                      <a:pt x="285353" y="254000"/>
                    </a:cubicBezTo>
                    <a:cubicBezTo>
                      <a:pt x="279995" y="254000"/>
                      <a:pt x="274637" y="248742"/>
                      <a:pt x="274637" y="243483"/>
                    </a:cubicBezTo>
                    <a:cubicBezTo>
                      <a:pt x="274637" y="243483"/>
                      <a:pt x="274637" y="243483"/>
                      <a:pt x="274637" y="96242"/>
                    </a:cubicBezTo>
                    <a:cubicBezTo>
                      <a:pt x="274637" y="90984"/>
                      <a:pt x="279995" y="85725"/>
                      <a:pt x="285353" y="85725"/>
                    </a:cubicBezTo>
                    <a:close/>
                    <a:moveTo>
                      <a:pt x="158353" y="42862"/>
                    </a:moveTo>
                    <a:cubicBezTo>
                      <a:pt x="158353" y="42862"/>
                      <a:pt x="158353" y="42862"/>
                      <a:pt x="179784" y="42862"/>
                    </a:cubicBezTo>
                    <a:cubicBezTo>
                      <a:pt x="185142" y="42862"/>
                      <a:pt x="190500" y="48140"/>
                      <a:pt x="190500" y="53419"/>
                    </a:cubicBezTo>
                    <a:cubicBezTo>
                      <a:pt x="190500" y="53419"/>
                      <a:pt x="190500" y="53419"/>
                      <a:pt x="190500" y="243443"/>
                    </a:cubicBezTo>
                    <a:cubicBezTo>
                      <a:pt x="190500" y="248722"/>
                      <a:pt x="185142" y="254000"/>
                      <a:pt x="179784" y="254000"/>
                    </a:cubicBezTo>
                    <a:cubicBezTo>
                      <a:pt x="179784" y="254000"/>
                      <a:pt x="179784" y="254000"/>
                      <a:pt x="158353" y="254000"/>
                    </a:cubicBezTo>
                    <a:cubicBezTo>
                      <a:pt x="152995" y="254000"/>
                      <a:pt x="147637" y="248722"/>
                      <a:pt x="147637" y="243443"/>
                    </a:cubicBezTo>
                    <a:cubicBezTo>
                      <a:pt x="147637" y="243443"/>
                      <a:pt x="147637" y="243443"/>
                      <a:pt x="147637" y="53419"/>
                    </a:cubicBezTo>
                    <a:cubicBezTo>
                      <a:pt x="147637" y="48140"/>
                      <a:pt x="152995" y="42862"/>
                      <a:pt x="158353" y="42862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42267" y="0"/>
                    </a:cubicBezTo>
                    <a:cubicBezTo>
                      <a:pt x="42267" y="0"/>
                      <a:pt x="42267" y="0"/>
                      <a:pt x="42267" y="295871"/>
                    </a:cubicBezTo>
                    <a:lnTo>
                      <a:pt x="338138" y="295871"/>
                    </a:lnTo>
                    <a:cubicBezTo>
                      <a:pt x="338138" y="295871"/>
                      <a:pt x="338138" y="295871"/>
                      <a:pt x="338138" y="338138"/>
                    </a:cubicBezTo>
                    <a:cubicBezTo>
                      <a:pt x="338138" y="338138"/>
                      <a:pt x="338138" y="338138"/>
                      <a:pt x="21133" y="338138"/>
                    </a:cubicBezTo>
                    <a:cubicBezTo>
                      <a:pt x="9246" y="338138"/>
                      <a:pt x="0" y="328892"/>
                      <a:pt x="0" y="317005"/>
                    </a:cubicBezTo>
                    <a:cubicBezTo>
                      <a:pt x="0" y="317005"/>
                      <a:pt x="0" y="317005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lIns="0" tIns="0" rIns="0" bIns="0" anchor="ctr"/>
              <a:lstStyle/>
              <a:p>
                <a:pPr algn="ctr"/>
                <a:endParaRPr/>
              </a:p>
            </p:txBody>
          </p:sp>
        </p:grpSp>
        <p:sp>
          <p:nvSpPr>
            <p:cNvPr id="25" name="ïṧ1ïdè">
              <a:extLst>
                <a:ext uri="{FF2B5EF4-FFF2-40B4-BE49-F238E27FC236}">
                  <a16:creationId xmlns:a16="http://schemas.microsoft.com/office/drawing/2014/main" id="{043EF085-DF15-4925-AFA7-D1CCB0965703}"/>
                </a:ext>
              </a:extLst>
            </p:cNvPr>
            <p:cNvSpPr/>
            <p:nvPr/>
          </p:nvSpPr>
          <p:spPr>
            <a:xfrm>
              <a:off x="8584706" y="3195921"/>
              <a:ext cx="517936" cy="51793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6" name="íṩlïḓè">
              <a:extLst>
                <a:ext uri="{FF2B5EF4-FFF2-40B4-BE49-F238E27FC236}">
                  <a16:creationId xmlns:a16="http://schemas.microsoft.com/office/drawing/2014/main" id="{5B687F0C-9A46-457A-8510-74AA235240A3}"/>
                </a:ext>
              </a:extLst>
            </p:cNvPr>
            <p:cNvSpPr/>
            <p:nvPr/>
          </p:nvSpPr>
          <p:spPr bwMode="auto">
            <a:xfrm>
              <a:off x="8748529" y="3360061"/>
              <a:ext cx="190289" cy="181476"/>
            </a:xfrm>
            <a:custGeom>
              <a:avLst/>
              <a:gdLst>
                <a:gd name="connsiteX0" fmla="*/ 315778 w 607639"/>
                <a:gd name="connsiteY0" fmla="*/ 173080 h 579502"/>
                <a:gd name="connsiteX1" fmla="*/ 315778 w 607639"/>
                <a:gd name="connsiteY1" fmla="*/ 266058 h 579502"/>
                <a:gd name="connsiteX2" fmla="*/ 303493 w 607639"/>
                <a:gd name="connsiteY2" fmla="*/ 278325 h 579502"/>
                <a:gd name="connsiteX3" fmla="*/ 210375 w 607639"/>
                <a:gd name="connsiteY3" fmla="*/ 278325 h 579502"/>
                <a:gd name="connsiteX4" fmla="*/ 303493 w 607639"/>
                <a:gd name="connsiteY4" fmla="*/ 359925 h 579502"/>
                <a:gd name="connsiteX5" fmla="*/ 397500 w 607639"/>
                <a:gd name="connsiteY5" fmla="*/ 266058 h 579502"/>
                <a:gd name="connsiteX6" fmla="*/ 315778 w 607639"/>
                <a:gd name="connsiteY6" fmla="*/ 173080 h 579502"/>
                <a:gd name="connsiteX7" fmla="*/ 249814 w 607639"/>
                <a:gd name="connsiteY7" fmla="*/ 160816 h 579502"/>
                <a:gd name="connsiteX8" fmla="*/ 198110 w 607639"/>
                <a:gd name="connsiteY8" fmla="*/ 212449 h 579502"/>
                <a:gd name="connsiteX9" fmla="*/ 249814 w 607639"/>
                <a:gd name="connsiteY9" fmla="*/ 212449 h 579502"/>
                <a:gd name="connsiteX10" fmla="*/ 303493 w 607639"/>
                <a:gd name="connsiteY10" fmla="*/ 147835 h 579502"/>
                <a:gd name="connsiteX11" fmla="*/ 421981 w 607639"/>
                <a:gd name="connsiteY11" fmla="*/ 266058 h 579502"/>
                <a:gd name="connsiteX12" fmla="*/ 303493 w 607639"/>
                <a:gd name="connsiteY12" fmla="*/ 384370 h 579502"/>
                <a:gd name="connsiteX13" fmla="*/ 185093 w 607639"/>
                <a:gd name="connsiteY13" fmla="*/ 266058 h 579502"/>
                <a:gd name="connsiteX14" fmla="*/ 197289 w 607639"/>
                <a:gd name="connsiteY14" fmla="*/ 253880 h 579502"/>
                <a:gd name="connsiteX15" fmla="*/ 291297 w 607639"/>
                <a:gd name="connsiteY15" fmla="*/ 253880 h 579502"/>
                <a:gd name="connsiteX16" fmla="*/ 291297 w 607639"/>
                <a:gd name="connsiteY16" fmla="*/ 160013 h 579502"/>
                <a:gd name="connsiteX17" fmla="*/ 303493 w 607639"/>
                <a:gd name="connsiteY17" fmla="*/ 147835 h 579502"/>
                <a:gd name="connsiteX18" fmla="*/ 262095 w 607639"/>
                <a:gd name="connsiteY18" fmla="*/ 135133 h 579502"/>
                <a:gd name="connsiteX19" fmla="*/ 274287 w 607639"/>
                <a:gd name="connsiteY19" fmla="*/ 147397 h 579502"/>
                <a:gd name="connsiteX20" fmla="*/ 274287 w 607639"/>
                <a:gd name="connsiteY20" fmla="*/ 224713 h 579502"/>
                <a:gd name="connsiteX21" fmla="*/ 262095 w 607639"/>
                <a:gd name="connsiteY21" fmla="*/ 236888 h 579502"/>
                <a:gd name="connsiteX22" fmla="*/ 184672 w 607639"/>
                <a:gd name="connsiteY22" fmla="*/ 236888 h 579502"/>
                <a:gd name="connsiteX23" fmla="*/ 172391 w 607639"/>
                <a:gd name="connsiteY23" fmla="*/ 224713 h 579502"/>
                <a:gd name="connsiteX24" fmla="*/ 262095 w 607639"/>
                <a:gd name="connsiteY24" fmla="*/ 135133 h 579502"/>
                <a:gd name="connsiteX25" fmla="*/ 58120 w 607639"/>
                <a:gd name="connsiteY25" fmla="*/ 108514 h 579502"/>
                <a:gd name="connsiteX26" fmla="*/ 58120 w 607639"/>
                <a:gd name="connsiteY26" fmla="*/ 413970 h 579502"/>
                <a:gd name="connsiteX27" fmla="*/ 549430 w 607639"/>
                <a:gd name="connsiteY27" fmla="*/ 413970 h 579502"/>
                <a:gd name="connsiteX28" fmla="*/ 549430 w 607639"/>
                <a:gd name="connsiteY28" fmla="*/ 108514 h 579502"/>
                <a:gd name="connsiteX29" fmla="*/ 27236 w 607639"/>
                <a:gd name="connsiteY29" fmla="*/ 56079 h 579502"/>
                <a:gd name="connsiteX30" fmla="*/ 27236 w 607639"/>
                <a:gd name="connsiteY30" fmla="*/ 81319 h 579502"/>
                <a:gd name="connsiteX31" fmla="*/ 580403 w 607639"/>
                <a:gd name="connsiteY31" fmla="*/ 81319 h 579502"/>
                <a:gd name="connsiteX32" fmla="*/ 580403 w 607639"/>
                <a:gd name="connsiteY32" fmla="*/ 56079 h 579502"/>
                <a:gd name="connsiteX33" fmla="*/ 303775 w 607639"/>
                <a:gd name="connsiteY33" fmla="*/ 0 h 579502"/>
                <a:gd name="connsiteX34" fmla="*/ 317393 w 607639"/>
                <a:gd name="connsiteY34" fmla="*/ 13597 h 579502"/>
                <a:gd name="connsiteX35" fmla="*/ 317393 w 607639"/>
                <a:gd name="connsiteY35" fmla="*/ 28884 h 579502"/>
                <a:gd name="connsiteX36" fmla="*/ 580403 w 607639"/>
                <a:gd name="connsiteY36" fmla="*/ 28884 h 579502"/>
                <a:gd name="connsiteX37" fmla="*/ 607639 w 607639"/>
                <a:gd name="connsiteY37" fmla="*/ 56079 h 579502"/>
                <a:gd name="connsiteX38" fmla="*/ 607639 w 607639"/>
                <a:gd name="connsiteY38" fmla="*/ 81319 h 579502"/>
                <a:gd name="connsiteX39" fmla="*/ 580403 w 607639"/>
                <a:gd name="connsiteY39" fmla="*/ 108514 h 579502"/>
                <a:gd name="connsiteX40" fmla="*/ 576665 w 607639"/>
                <a:gd name="connsiteY40" fmla="*/ 108514 h 579502"/>
                <a:gd name="connsiteX41" fmla="*/ 576665 w 607639"/>
                <a:gd name="connsiteY41" fmla="*/ 413970 h 579502"/>
                <a:gd name="connsiteX42" fmla="*/ 549430 w 607639"/>
                <a:gd name="connsiteY42" fmla="*/ 441165 h 579502"/>
                <a:gd name="connsiteX43" fmla="*/ 317393 w 607639"/>
                <a:gd name="connsiteY43" fmla="*/ 441165 h 579502"/>
                <a:gd name="connsiteX44" fmla="*/ 317393 w 607639"/>
                <a:gd name="connsiteY44" fmla="*/ 481069 h 579502"/>
                <a:gd name="connsiteX45" fmla="*/ 418236 w 607639"/>
                <a:gd name="connsiteY45" fmla="*/ 554923 h 579502"/>
                <a:gd name="connsiteX46" fmla="*/ 421173 w 607639"/>
                <a:gd name="connsiteY46" fmla="*/ 573942 h 579502"/>
                <a:gd name="connsiteX47" fmla="*/ 410225 w 607639"/>
                <a:gd name="connsiteY47" fmla="*/ 579452 h 579502"/>
                <a:gd name="connsiteX48" fmla="*/ 402215 w 607639"/>
                <a:gd name="connsiteY48" fmla="*/ 576874 h 579502"/>
                <a:gd name="connsiteX49" fmla="*/ 317393 w 607639"/>
                <a:gd name="connsiteY49" fmla="*/ 514752 h 579502"/>
                <a:gd name="connsiteX50" fmla="*/ 317393 w 607639"/>
                <a:gd name="connsiteY50" fmla="*/ 565854 h 579502"/>
                <a:gd name="connsiteX51" fmla="*/ 303775 w 607639"/>
                <a:gd name="connsiteY51" fmla="*/ 579452 h 579502"/>
                <a:gd name="connsiteX52" fmla="*/ 290157 w 607639"/>
                <a:gd name="connsiteY52" fmla="*/ 565854 h 579502"/>
                <a:gd name="connsiteX53" fmla="*/ 290157 w 607639"/>
                <a:gd name="connsiteY53" fmla="*/ 514752 h 579502"/>
                <a:gd name="connsiteX54" fmla="*/ 205424 w 607639"/>
                <a:gd name="connsiteY54" fmla="*/ 576874 h 579502"/>
                <a:gd name="connsiteX55" fmla="*/ 186377 w 607639"/>
                <a:gd name="connsiteY55" fmla="*/ 573942 h 579502"/>
                <a:gd name="connsiteX56" fmla="*/ 189314 w 607639"/>
                <a:gd name="connsiteY56" fmla="*/ 554923 h 579502"/>
                <a:gd name="connsiteX57" fmla="*/ 290157 w 607639"/>
                <a:gd name="connsiteY57" fmla="*/ 481069 h 579502"/>
                <a:gd name="connsiteX58" fmla="*/ 290157 w 607639"/>
                <a:gd name="connsiteY58" fmla="*/ 441165 h 579502"/>
                <a:gd name="connsiteX59" fmla="*/ 58120 w 607639"/>
                <a:gd name="connsiteY59" fmla="*/ 441165 h 579502"/>
                <a:gd name="connsiteX60" fmla="*/ 30885 w 607639"/>
                <a:gd name="connsiteY60" fmla="*/ 413970 h 579502"/>
                <a:gd name="connsiteX61" fmla="*/ 30885 w 607639"/>
                <a:gd name="connsiteY61" fmla="*/ 108514 h 579502"/>
                <a:gd name="connsiteX62" fmla="*/ 27236 w 607639"/>
                <a:gd name="connsiteY62" fmla="*/ 108514 h 579502"/>
                <a:gd name="connsiteX63" fmla="*/ 0 w 607639"/>
                <a:gd name="connsiteY63" fmla="*/ 81319 h 579502"/>
                <a:gd name="connsiteX64" fmla="*/ 0 w 607639"/>
                <a:gd name="connsiteY64" fmla="*/ 56079 h 579502"/>
                <a:gd name="connsiteX65" fmla="*/ 27236 w 607639"/>
                <a:gd name="connsiteY65" fmla="*/ 28884 h 579502"/>
                <a:gd name="connsiteX66" fmla="*/ 290157 w 607639"/>
                <a:gd name="connsiteY66" fmla="*/ 28884 h 579502"/>
                <a:gd name="connsiteX67" fmla="*/ 290157 w 607639"/>
                <a:gd name="connsiteY67" fmla="*/ 13597 h 579502"/>
                <a:gd name="connsiteX68" fmla="*/ 303775 w 607639"/>
                <a:gd name="connsiteY68" fmla="*/ 0 h 579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579502">
                  <a:moveTo>
                    <a:pt x="315778" y="173080"/>
                  </a:moveTo>
                  <a:lnTo>
                    <a:pt x="315778" y="266058"/>
                  </a:lnTo>
                  <a:cubicBezTo>
                    <a:pt x="315778" y="272814"/>
                    <a:pt x="310258" y="278325"/>
                    <a:pt x="303493" y="278325"/>
                  </a:cubicBezTo>
                  <a:lnTo>
                    <a:pt x="210375" y="278325"/>
                  </a:lnTo>
                  <a:cubicBezTo>
                    <a:pt x="216429" y="324281"/>
                    <a:pt x="255866" y="359925"/>
                    <a:pt x="303493" y="359925"/>
                  </a:cubicBezTo>
                  <a:cubicBezTo>
                    <a:pt x="355303" y="359925"/>
                    <a:pt x="397500" y="317792"/>
                    <a:pt x="397500" y="266058"/>
                  </a:cubicBezTo>
                  <a:cubicBezTo>
                    <a:pt x="397500" y="218502"/>
                    <a:pt x="361802" y="179124"/>
                    <a:pt x="315778" y="173080"/>
                  </a:cubicBezTo>
                  <a:close/>
                  <a:moveTo>
                    <a:pt x="249814" y="160816"/>
                  </a:moveTo>
                  <a:cubicBezTo>
                    <a:pt x="223740" y="165793"/>
                    <a:pt x="203093" y="186410"/>
                    <a:pt x="198110" y="212449"/>
                  </a:cubicBezTo>
                  <a:lnTo>
                    <a:pt x="249814" y="212449"/>
                  </a:lnTo>
                  <a:close/>
                  <a:moveTo>
                    <a:pt x="303493" y="147835"/>
                  </a:moveTo>
                  <a:cubicBezTo>
                    <a:pt x="368835" y="147835"/>
                    <a:pt x="421981" y="200902"/>
                    <a:pt x="421981" y="266058"/>
                  </a:cubicBezTo>
                  <a:cubicBezTo>
                    <a:pt x="421981" y="331303"/>
                    <a:pt x="368835" y="384370"/>
                    <a:pt x="303493" y="384370"/>
                  </a:cubicBezTo>
                  <a:cubicBezTo>
                    <a:pt x="238239" y="384370"/>
                    <a:pt x="185093" y="331303"/>
                    <a:pt x="185093" y="266058"/>
                  </a:cubicBezTo>
                  <a:cubicBezTo>
                    <a:pt x="185093" y="259303"/>
                    <a:pt x="190523" y="253880"/>
                    <a:pt x="197289" y="253880"/>
                  </a:cubicBezTo>
                  <a:lnTo>
                    <a:pt x="291297" y="253880"/>
                  </a:lnTo>
                  <a:lnTo>
                    <a:pt x="291297" y="160013"/>
                  </a:lnTo>
                  <a:cubicBezTo>
                    <a:pt x="291297" y="153257"/>
                    <a:pt x="296727" y="147835"/>
                    <a:pt x="303493" y="147835"/>
                  </a:cubicBezTo>
                  <a:close/>
                  <a:moveTo>
                    <a:pt x="262095" y="135133"/>
                  </a:moveTo>
                  <a:cubicBezTo>
                    <a:pt x="268859" y="135133"/>
                    <a:pt x="274287" y="140643"/>
                    <a:pt x="274287" y="147397"/>
                  </a:cubicBezTo>
                  <a:lnTo>
                    <a:pt x="274287" y="224713"/>
                  </a:lnTo>
                  <a:cubicBezTo>
                    <a:pt x="274287" y="231467"/>
                    <a:pt x="268859" y="236888"/>
                    <a:pt x="262095" y="236888"/>
                  </a:cubicBezTo>
                  <a:lnTo>
                    <a:pt x="184672" y="236888"/>
                  </a:lnTo>
                  <a:cubicBezTo>
                    <a:pt x="177909" y="236888"/>
                    <a:pt x="172391" y="231467"/>
                    <a:pt x="172391" y="224713"/>
                  </a:cubicBezTo>
                  <a:cubicBezTo>
                    <a:pt x="172391" y="175302"/>
                    <a:pt x="212616" y="135133"/>
                    <a:pt x="262095" y="135133"/>
                  </a:cubicBezTo>
                  <a:close/>
                  <a:moveTo>
                    <a:pt x="58120" y="108514"/>
                  </a:moveTo>
                  <a:lnTo>
                    <a:pt x="58120" y="413970"/>
                  </a:lnTo>
                  <a:lnTo>
                    <a:pt x="549430" y="413970"/>
                  </a:lnTo>
                  <a:lnTo>
                    <a:pt x="549430" y="108514"/>
                  </a:lnTo>
                  <a:close/>
                  <a:moveTo>
                    <a:pt x="27236" y="56079"/>
                  </a:moveTo>
                  <a:lnTo>
                    <a:pt x="27236" y="81319"/>
                  </a:lnTo>
                  <a:lnTo>
                    <a:pt x="580403" y="81319"/>
                  </a:lnTo>
                  <a:lnTo>
                    <a:pt x="580403" y="56079"/>
                  </a:lnTo>
                  <a:close/>
                  <a:moveTo>
                    <a:pt x="303775" y="0"/>
                  </a:moveTo>
                  <a:cubicBezTo>
                    <a:pt x="311341" y="0"/>
                    <a:pt x="317393" y="6132"/>
                    <a:pt x="317393" y="13597"/>
                  </a:cubicBezTo>
                  <a:lnTo>
                    <a:pt x="317393" y="28884"/>
                  </a:lnTo>
                  <a:lnTo>
                    <a:pt x="580403" y="28884"/>
                  </a:lnTo>
                  <a:cubicBezTo>
                    <a:pt x="595356" y="28884"/>
                    <a:pt x="607639" y="41148"/>
                    <a:pt x="607639" y="56079"/>
                  </a:cubicBezTo>
                  <a:lnTo>
                    <a:pt x="607639" y="81319"/>
                  </a:lnTo>
                  <a:cubicBezTo>
                    <a:pt x="607639" y="96338"/>
                    <a:pt x="595356" y="108514"/>
                    <a:pt x="580403" y="108514"/>
                  </a:cubicBezTo>
                  <a:lnTo>
                    <a:pt x="576665" y="108514"/>
                  </a:lnTo>
                  <a:lnTo>
                    <a:pt x="576665" y="413970"/>
                  </a:lnTo>
                  <a:cubicBezTo>
                    <a:pt x="576665" y="428990"/>
                    <a:pt x="564472" y="441165"/>
                    <a:pt x="549430" y="441165"/>
                  </a:cubicBezTo>
                  <a:lnTo>
                    <a:pt x="317393" y="441165"/>
                  </a:lnTo>
                  <a:lnTo>
                    <a:pt x="317393" y="481069"/>
                  </a:lnTo>
                  <a:lnTo>
                    <a:pt x="418236" y="554923"/>
                  </a:lnTo>
                  <a:cubicBezTo>
                    <a:pt x="424377" y="559366"/>
                    <a:pt x="425623" y="567898"/>
                    <a:pt x="421173" y="573942"/>
                  </a:cubicBezTo>
                  <a:cubicBezTo>
                    <a:pt x="418503" y="577585"/>
                    <a:pt x="414409" y="579452"/>
                    <a:pt x="410225" y="579452"/>
                  </a:cubicBezTo>
                  <a:cubicBezTo>
                    <a:pt x="407466" y="579452"/>
                    <a:pt x="404618" y="578652"/>
                    <a:pt x="402215" y="576874"/>
                  </a:cubicBezTo>
                  <a:lnTo>
                    <a:pt x="317393" y="514752"/>
                  </a:lnTo>
                  <a:lnTo>
                    <a:pt x="317393" y="565854"/>
                  </a:lnTo>
                  <a:cubicBezTo>
                    <a:pt x="317393" y="573408"/>
                    <a:pt x="311341" y="579452"/>
                    <a:pt x="303775" y="579452"/>
                  </a:cubicBezTo>
                  <a:cubicBezTo>
                    <a:pt x="296299" y="579452"/>
                    <a:pt x="290157" y="573408"/>
                    <a:pt x="290157" y="565854"/>
                  </a:cubicBezTo>
                  <a:lnTo>
                    <a:pt x="290157" y="514752"/>
                  </a:lnTo>
                  <a:lnTo>
                    <a:pt x="205424" y="576874"/>
                  </a:lnTo>
                  <a:cubicBezTo>
                    <a:pt x="199372" y="581318"/>
                    <a:pt x="190827" y="579985"/>
                    <a:pt x="186377" y="573942"/>
                  </a:cubicBezTo>
                  <a:cubicBezTo>
                    <a:pt x="181927" y="567898"/>
                    <a:pt x="183262" y="559366"/>
                    <a:pt x="189314" y="554923"/>
                  </a:cubicBezTo>
                  <a:lnTo>
                    <a:pt x="290157" y="481069"/>
                  </a:lnTo>
                  <a:lnTo>
                    <a:pt x="290157" y="441165"/>
                  </a:lnTo>
                  <a:lnTo>
                    <a:pt x="58120" y="441165"/>
                  </a:lnTo>
                  <a:cubicBezTo>
                    <a:pt x="43167" y="441165"/>
                    <a:pt x="30885" y="428990"/>
                    <a:pt x="30885" y="413970"/>
                  </a:cubicBezTo>
                  <a:lnTo>
                    <a:pt x="30885" y="108514"/>
                  </a:lnTo>
                  <a:lnTo>
                    <a:pt x="27236" y="108514"/>
                  </a:lnTo>
                  <a:cubicBezTo>
                    <a:pt x="12194" y="108514"/>
                    <a:pt x="0" y="96338"/>
                    <a:pt x="0" y="81319"/>
                  </a:cubicBezTo>
                  <a:lnTo>
                    <a:pt x="0" y="56079"/>
                  </a:lnTo>
                  <a:cubicBezTo>
                    <a:pt x="0" y="41148"/>
                    <a:pt x="12194" y="28884"/>
                    <a:pt x="27236" y="28884"/>
                  </a:cubicBezTo>
                  <a:lnTo>
                    <a:pt x="290157" y="28884"/>
                  </a:lnTo>
                  <a:lnTo>
                    <a:pt x="290157" y="13597"/>
                  </a:lnTo>
                  <a:cubicBezTo>
                    <a:pt x="290157" y="6132"/>
                    <a:pt x="296299" y="0"/>
                    <a:pt x="303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7" name="iṧliďè">
              <a:extLst>
                <a:ext uri="{FF2B5EF4-FFF2-40B4-BE49-F238E27FC236}">
                  <a16:creationId xmlns:a16="http://schemas.microsoft.com/office/drawing/2014/main" id="{B398D089-F0F2-4F25-AA64-ADE2629C6844}"/>
                </a:ext>
              </a:extLst>
            </p:cNvPr>
            <p:cNvSpPr/>
            <p:nvPr/>
          </p:nvSpPr>
          <p:spPr>
            <a:xfrm>
              <a:off x="8584706" y="4532432"/>
              <a:ext cx="517936" cy="51793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8" name="ïṩḻíḋê">
              <a:extLst>
                <a:ext uri="{FF2B5EF4-FFF2-40B4-BE49-F238E27FC236}">
                  <a16:creationId xmlns:a16="http://schemas.microsoft.com/office/drawing/2014/main" id="{5B26D012-10C7-49BF-8771-D00AF45B67BC}"/>
                </a:ext>
              </a:extLst>
            </p:cNvPr>
            <p:cNvSpPr/>
            <p:nvPr/>
          </p:nvSpPr>
          <p:spPr bwMode="auto">
            <a:xfrm>
              <a:off x="8759758" y="4692166"/>
              <a:ext cx="167831" cy="190288"/>
            </a:xfrm>
            <a:custGeom>
              <a:avLst/>
              <a:gdLst>
                <a:gd name="T0" fmla="*/ 2125 w 2288"/>
                <a:gd name="T1" fmla="*/ 924 h 2598"/>
                <a:gd name="T2" fmla="*/ 1863 w 2288"/>
                <a:gd name="T3" fmla="*/ 1258 h 2598"/>
                <a:gd name="T4" fmla="*/ 1848 w 2288"/>
                <a:gd name="T5" fmla="*/ 1586 h 2598"/>
                <a:gd name="T6" fmla="*/ 1899 w 2288"/>
                <a:gd name="T7" fmla="*/ 1716 h 2598"/>
                <a:gd name="T8" fmla="*/ 1211 w 2288"/>
                <a:gd name="T9" fmla="*/ 2079 h 2598"/>
                <a:gd name="T10" fmla="*/ 1176 w 2288"/>
                <a:gd name="T11" fmla="*/ 2038 h 2598"/>
                <a:gd name="T12" fmla="*/ 1200 w 2288"/>
                <a:gd name="T13" fmla="*/ 965 h 2598"/>
                <a:gd name="T14" fmla="*/ 1409 w 2288"/>
                <a:gd name="T15" fmla="*/ 1012 h 2598"/>
                <a:gd name="T16" fmla="*/ 1522 w 2288"/>
                <a:gd name="T17" fmla="*/ 978 h 2598"/>
                <a:gd name="T18" fmla="*/ 1526 w 2288"/>
                <a:gd name="T19" fmla="*/ 847 h 2598"/>
                <a:gd name="T20" fmla="*/ 1387 w 2288"/>
                <a:gd name="T21" fmla="*/ 828 h 2598"/>
                <a:gd name="T22" fmla="*/ 1193 w 2288"/>
                <a:gd name="T23" fmla="*/ 584 h 2598"/>
                <a:gd name="T24" fmla="*/ 1375 w 2288"/>
                <a:gd name="T25" fmla="*/ 124 h 2598"/>
                <a:gd name="T26" fmla="*/ 1109 w 2288"/>
                <a:gd name="T27" fmla="*/ 37 h 2598"/>
                <a:gd name="T28" fmla="*/ 1013 w 2288"/>
                <a:gd name="T29" fmla="*/ 570 h 2598"/>
                <a:gd name="T30" fmla="*/ 1056 w 2288"/>
                <a:gd name="T31" fmla="*/ 808 h 2598"/>
                <a:gd name="T32" fmla="*/ 891 w 2288"/>
                <a:gd name="T33" fmla="*/ 784 h 2598"/>
                <a:gd name="T34" fmla="*/ 748 w 2288"/>
                <a:gd name="T35" fmla="*/ 921 h 2598"/>
                <a:gd name="T36" fmla="*/ 899 w 2288"/>
                <a:gd name="T37" fmla="*/ 946 h 2598"/>
                <a:gd name="T38" fmla="*/ 1024 w 2288"/>
                <a:gd name="T39" fmla="*/ 1479 h 2598"/>
                <a:gd name="T40" fmla="*/ 1022 w 2288"/>
                <a:gd name="T41" fmla="*/ 2081 h 2598"/>
                <a:gd name="T42" fmla="*/ 434 w 2288"/>
                <a:gd name="T43" fmla="*/ 1569 h 2598"/>
                <a:gd name="T44" fmla="*/ 395 w 2288"/>
                <a:gd name="T45" fmla="*/ 1470 h 2598"/>
                <a:gd name="T46" fmla="*/ 88 w 2288"/>
                <a:gd name="T47" fmla="*/ 1148 h 2598"/>
                <a:gd name="T48" fmla="*/ 101 w 2288"/>
                <a:gd name="T49" fmla="*/ 1658 h 2598"/>
                <a:gd name="T50" fmla="*/ 906 w 2288"/>
                <a:gd name="T51" fmla="*/ 2228 h 2598"/>
                <a:gd name="T52" fmla="*/ 1177 w 2288"/>
                <a:gd name="T53" fmla="*/ 2500 h 2598"/>
                <a:gd name="T54" fmla="*/ 1223 w 2288"/>
                <a:gd name="T55" fmla="*/ 2405 h 2598"/>
                <a:gd name="T56" fmla="*/ 1273 w 2288"/>
                <a:gd name="T57" fmla="*/ 2328 h 2598"/>
                <a:gd name="T58" fmla="*/ 1280 w 2288"/>
                <a:gd name="T59" fmla="*/ 2234 h 2598"/>
                <a:gd name="T60" fmla="*/ 2094 w 2288"/>
                <a:gd name="T61" fmla="*/ 1624 h 2598"/>
                <a:gd name="T62" fmla="*/ 2274 w 2288"/>
                <a:gd name="T63" fmla="*/ 1517 h 2598"/>
                <a:gd name="T64" fmla="*/ 1065 w 2288"/>
                <a:gd name="T65" fmla="*/ 420 h 2598"/>
                <a:gd name="T66" fmla="*/ 1131 w 2288"/>
                <a:gd name="T67" fmla="*/ 148 h 2598"/>
                <a:gd name="T68" fmla="*/ 1165 w 2288"/>
                <a:gd name="T69" fmla="*/ 430 h 2598"/>
                <a:gd name="T70" fmla="*/ 1065 w 2288"/>
                <a:gd name="T71" fmla="*/ 420 h 2598"/>
                <a:gd name="T72" fmla="*/ 1040 w 2288"/>
                <a:gd name="T73" fmla="*/ 2287 h 2598"/>
                <a:gd name="T74" fmla="*/ 1032 w 2288"/>
                <a:gd name="T75" fmla="*/ 2241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88" h="2598">
                  <a:moveTo>
                    <a:pt x="2281" y="1465"/>
                  </a:moveTo>
                  <a:cubicBezTo>
                    <a:pt x="2220" y="1286"/>
                    <a:pt x="2159" y="1111"/>
                    <a:pt x="2125" y="924"/>
                  </a:cubicBezTo>
                  <a:cubicBezTo>
                    <a:pt x="2112" y="850"/>
                    <a:pt x="2015" y="868"/>
                    <a:pt x="1992" y="924"/>
                  </a:cubicBezTo>
                  <a:cubicBezTo>
                    <a:pt x="1948" y="1035"/>
                    <a:pt x="1904" y="1146"/>
                    <a:pt x="1863" y="1258"/>
                  </a:cubicBezTo>
                  <a:cubicBezTo>
                    <a:pt x="1840" y="1319"/>
                    <a:pt x="1790" y="1411"/>
                    <a:pt x="1809" y="1480"/>
                  </a:cubicBezTo>
                  <a:cubicBezTo>
                    <a:pt x="1783" y="1516"/>
                    <a:pt x="1783" y="1565"/>
                    <a:pt x="1848" y="1586"/>
                  </a:cubicBezTo>
                  <a:cubicBezTo>
                    <a:pt x="1878" y="1596"/>
                    <a:pt x="1908" y="1602"/>
                    <a:pt x="1938" y="1607"/>
                  </a:cubicBezTo>
                  <a:cubicBezTo>
                    <a:pt x="1927" y="1644"/>
                    <a:pt x="1916" y="1681"/>
                    <a:pt x="1899" y="1716"/>
                  </a:cubicBezTo>
                  <a:cubicBezTo>
                    <a:pt x="1861" y="1789"/>
                    <a:pt x="1799" y="1850"/>
                    <a:pt x="1734" y="1899"/>
                  </a:cubicBezTo>
                  <a:cubicBezTo>
                    <a:pt x="1586" y="2012"/>
                    <a:pt x="1393" y="2062"/>
                    <a:pt x="1211" y="2079"/>
                  </a:cubicBezTo>
                  <a:cubicBezTo>
                    <a:pt x="1201" y="2080"/>
                    <a:pt x="1190" y="2080"/>
                    <a:pt x="1180" y="2081"/>
                  </a:cubicBezTo>
                  <a:cubicBezTo>
                    <a:pt x="1178" y="2066"/>
                    <a:pt x="1177" y="2052"/>
                    <a:pt x="1176" y="2038"/>
                  </a:cubicBezTo>
                  <a:cubicBezTo>
                    <a:pt x="1167" y="1852"/>
                    <a:pt x="1173" y="1665"/>
                    <a:pt x="1178" y="1479"/>
                  </a:cubicBezTo>
                  <a:cubicBezTo>
                    <a:pt x="1183" y="1309"/>
                    <a:pt x="1195" y="1137"/>
                    <a:pt x="1200" y="965"/>
                  </a:cubicBezTo>
                  <a:cubicBezTo>
                    <a:pt x="1262" y="972"/>
                    <a:pt x="1326" y="981"/>
                    <a:pt x="1388" y="979"/>
                  </a:cubicBezTo>
                  <a:cubicBezTo>
                    <a:pt x="1391" y="992"/>
                    <a:pt x="1399" y="1003"/>
                    <a:pt x="1409" y="1012"/>
                  </a:cubicBezTo>
                  <a:cubicBezTo>
                    <a:pt x="1434" y="1041"/>
                    <a:pt x="1476" y="1041"/>
                    <a:pt x="1501" y="1012"/>
                  </a:cubicBezTo>
                  <a:cubicBezTo>
                    <a:pt x="1511" y="1003"/>
                    <a:pt x="1519" y="991"/>
                    <a:pt x="1522" y="978"/>
                  </a:cubicBezTo>
                  <a:cubicBezTo>
                    <a:pt x="1528" y="956"/>
                    <a:pt x="1526" y="931"/>
                    <a:pt x="1526" y="908"/>
                  </a:cubicBezTo>
                  <a:lnTo>
                    <a:pt x="1526" y="847"/>
                  </a:lnTo>
                  <a:cubicBezTo>
                    <a:pt x="1526" y="809"/>
                    <a:pt x="1493" y="776"/>
                    <a:pt x="1455" y="776"/>
                  </a:cubicBezTo>
                  <a:cubicBezTo>
                    <a:pt x="1423" y="776"/>
                    <a:pt x="1395" y="799"/>
                    <a:pt x="1387" y="828"/>
                  </a:cubicBezTo>
                  <a:cubicBezTo>
                    <a:pt x="1327" y="813"/>
                    <a:pt x="1264" y="812"/>
                    <a:pt x="1202" y="810"/>
                  </a:cubicBezTo>
                  <a:cubicBezTo>
                    <a:pt x="1202" y="735"/>
                    <a:pt x="1199" y="659"/>
                    <a:pt x="1193" y="584"/>
                  </a:cubicBezTo>
                  <a:cubicBezTo>
                    <a:pt x="1297" y="558"/>
                    <a:pt x="1391" y="480"/>
                    <a:pt x="1431" y="385"/>
                  </a:cubicBezTo>
                  <a:cubicBezTo>
                    <a:pt x="1470" y="292"/>
                    <a:pt x="1441" y="197"/>
                    <a:pt x="1375" y="124"/>
                  </a:cubicBezTo>
                  <a:cubicBezTo>
                    <a:pt x="1315" y="57"/>
                    <a:pt x="1196" y="0"/>
                    <a:pt x="1109" y="37"/>
                  </a:cubicBezTo>
                  <a:cubicBezTo>
                    <a:pt x="1109" y="37"/>
                    <a:pt x="1109" y="37"/>
                    <a:pt x="1109" y="37"/>
                  </a:cubicBezTo>
                  <a:cubicBezTo>
                    <a:pt x="988" y="48"/>
                    <a:pt x="885" y="127"/>
                    <a:pt x="860" y="255"/>
                  </a:cubicBezTo>
                  <a:cubicBezTo>
                    <a:pt x="837" y="376"/>
                    <a:pt x="900" y="516"/>
                    <a:pt x="1013" y="570"/>
                  </a:cubicBezTo>
                  <a:cubicBezTo>
                    <a:pt x="1033" y="580"/>
                    <a:pt x="1055" y="586"/>
                    <a:pt x="1077" y="590"/>
                  </a:cubicBezTo>
                  <a:cubicBezTo>
                    <a:pt x="1068" y="662"/>
                    <a:pt x="1062" y="735"/>
                    <a:pt x="1056" y="808"/>
                  </a:cubicBezTo>
                  <a:cubicBezTo>
                    <a:pt x="1001" y="808"/>
                    <a:pt x="947" y="810"/>
                    <a:pt x="892" y="813"/>
                  </a:cubicBezTo>
                  <a:cubicBezTo>
                    <a:pt x="892" y="803"/>
                    <a:pt x="891" y="793"/>
                    <a:pt x="891" y="784"/>
                  </a:cubicBezTo>
                  <a:cubicBezTo>
                    <a:pt x="896" y="691"/>
                    <a:pt x="748" y="690"/>
                    <a:pt x="747" y="784"/>
                  </a:cubicBezTo>
                  <a:cubicBezTo>
                    <a:pt x="747" y="829"/>
                    <a:pt x="742" y="876"/>
                    <a:pt x="748" y="921"/>
                  </a:cubicBezTo>
                  <a:cubicBezTo>
                    <a:pt x="756" y="983"/>
                    <a:pt x="811" y="1002"/>
                    <a:pt x="851" y="981"/>
                  </a:cubicBezTo>
                  <a:cubicBezTo>
                    <a:pt x="872" y="980"/>
                    <a:pt x="891" y="967"/>
                    <a:pt x="899" y="946"/>
                  </a:cubicBezTo>
                  <a:cubicBezTo>
                    <a:pt x="948" y="949"/>
                    <a:pt x="998" y="951"/>
                    <a:pt x="1047" y="954"/>
                  </a:cubicBezTo>
                  <a:cubicBezTo>
                    <a:pt x="1037" y="1129"/>
                    <a:pt x="1031" y="1305"/>
                    <a:pt x="1024" y="1479"/>
                  </a:cubicBezTo>
                  <a:cubicBezTo>
                    <a:pt x="1017" y="1665"/>
                    <a:pt x="1014" y="1851"/>
                    <a:pt x="1021" y="2038"/>
                  </a:cubicBezTo>
                  <a:cubicBezTo>
                    <a:pt x="1022" y="2051"/>
                    <a:pt x="1022" y="2066"/>
                    <a:pt x="1022" y="2081"/>
                  </a:cubicBezTo>
                  <a:cubicBezTo>
                    <a:pt x="722" y="2061"/>
                    <a:pt x="421" y="1927"/>
                    <a:pt x="289" y="1649"/>
                  </a:cubicBezTo>
                  <a:cubicBezTo>
                    <a:pt x="342" y="1639"/>
                    <a:pt x="422" y="1633"/>
                    <a:pt x="434" y="1569"/>
                  </a:cubicBezTo>
                  <a:cubicBezTo>
                    <a:pt x="439" y="1539"/>
                    <a:pt x="429" y="1506"/>
                    <a:pt x="402" y="1492"/>
                  </a:cubicBezTo>
                  <a:cubicBezTo>
                    <a:pt x="401" y="1485"/>
                    <a:pt x="399" y="1478"/>
                    <a:pt x="395" y="1470"/>
                  </a:cubicBezTo>
                  <a:cubicBezTo>
                    <a:pt x="338" y="1362"/>
                    <a:pt x="258" y="1263"/>
                    <a:pt x="215" y="1148"/>
                  </a:cubicBezTo>
                  <a:cubicBezTo>
                    <a:pt x="192" y="1085"/>
                    <a:pt x="111" y="1085"/>
                    <a:pt x="88" y="1148"/>
                  </a:cubicBezTo>
                  <a:cubicBezTo>
                    <a:pt x="29" y="1306"/>
                    <a:pt x="0" y="1457"/>
                    <a:pt x="39" y="1624"/>
                  </a:cubicBezTo>
                  <a:cubicBezTo>
                    <a:pt x="45" y="1653"/>
                    <a:pt x="75" y="1663"/>
                    <a:pt x="101" y="1658"/>
                  </a:cubicBezTo>
                  <a:cubicBezTo>
                    <a:pt x="125" y="1661"/>
                    <a:pt x="149" y="1661"/>
                    <a:pt x="172" y="1661"/>
                  </a:cubicBezTo>
                  <a:cubicBezTo>
                    <a:pt x="253" y="2008"/>
                    <a:pt x="572" y="2179"/>
                    <a:pt x="906" y="2228"/>
                  </a:cubicBezTo>
                  <a:cubicBezTo>
                    <a:pt x="931" y="2337"/>
                    <a:pt x="982" y="2443"/>
                    <a:pt x="1043" y="2536"/>
                  </a:cubicBezTo>
                  <a:cubicBezTo>
                    <a:pt x="1083" y="2598"/>
                    <a:pt x="1172" y="2572"/>
                    <a:pt x="1177" y="2500"/>
                  </a:cubicBezTo>
                  <a:cubicBezTo>
                    <a:pt x="1177" y="2509"/>
                    <a:pt x="1185" y="2477"/>
                    <a:pt x="1189" y="2468"/>
                  </a:cubicBezTo>
                  <a:cubicBezTo>
                    <a:pt x="1199" y="2446"/>
                    <a:pt x="1211" y="2426"/>
                    <a:pt x="1223" y="2405"/>
                  </a:cubicBezTo>
                  <a:cubicBezTo>
                    <a:pt x="1234" y="2386"/>
                    <a:pt x="1247" y="2368"/>
                    <a:pt x="1259" y="2349"/>
                  </a:cubicBezTo>
                  <a:cubicBezTo>
                    <a:pt x="1264" y="2342"/>
                    <a:pt x="1268" y="2335"/>
                    <a:pt x="1273" y="2328"/>
                  </a:cubicBezTo>
                  <a:cubicBezTo>
                    <a:pt x="1277" y="2322"/>
                    <a:pt x="1293" y="2305"/>
                    <a:pt x="1277" y="2322"/>
                  </a:cubicBezTo>
                  <a:cubicBezTo>
                    <a:pt x="1304" y="2294"/>
                    <a:pt x="1300" y="2258"/>
                    <a:pt x="1280" y="2234"/>
                  </a:cubicBezTo>
                  <a:cubicBezTo>
                    <a:pt x="1483" y="2210"/>
                    <a:pt x="1683" y="2139"/>
                    <a:pt x="1845" y="2015"/>
                  </a:cubicBezTo>
                  <a:cubicBezTo>
                    <a:pt x="1948" y="1936"/>
                    <a:pt x="2086" y="1773"/>
                    <a:pt x="2094" y="1624"/>
                  </a:cubicBezTo>
                  <a:cubicBezTo>
                    <a:pt x="2146" y="1628"/>
                    <a:pt x="2201" y="1630"/>
                    <a:pt x="2245" y="1609"/>
                  </a:cubicBezTo>
                  <a:cubicBezTo>
                    <a:pt x="2278" y="1594"/>
                    <a:pt x="2287" y="1550"/>
                    <a:pt x="2274" y="1517"/>
                  </a:cubicBezTo>
                  <a:cubicBezTo>
                    <a:pt x="2284" y="1503"/>
                    <a:pt x="2288" y="1485"/>
                    <a:pt x="2281" y="1465"/>
                  </a:cubicBezTo>
                  <a:close/>
                  <a:moveTo>
                    <a:pt x="1065" y="420"/>
                  </a:moveTo>
                  <a:cubicBezTo>
                    <a:pt x="1019" y="392"/>
                    <a:pt x="1002" y="323"/>
                    <a:pt x="1010" y="274"/>
                  </a:cubicBezTo>
                  <a:cubicBezTo>
                    <a:pt x="1021" y="207"/>
                    <a:pt x="1073" y="171"/>
                    <a:pt x="1131" y="148"/>
                  </a:cubicBezTo>
                  <a:cubicBezTo>
                    <a:pt x="1208" y="195"/>
                    <a:pt x="1340" y="234"/>
                    <a:pt x="1280" y="343"/>
                  </a:cubicBezTo>
                  <a:cubicBezTo>
                    <a:pt x="1258" y="383"/>
                    <a:pt x="1213" y="417"/>
                    <a:pt x="1165" y="430"/>
                  </a:cubicBezTo>
                  <a:cubicBezTo>
                    <a:pt x="1148" y="418"/>
                    <a:pt x="1121" y="420"/>
                    <a:pt x="1105" y="434"/>
                  </a:cubicBezTo>
                  <a:cubicBezTo>
                    <a:pt x="1091" y="432"/>
                    <a:pt x="1077" y="428"/>
                    <a:pt x="1065" y="420"/>
                  </a:cubicBezTo>
                  <a:close/>
                  <a:moveTo>
                    <a:pt x="1032" y="2241"/>
                  </a:moveTo>
                  <a:cubicBezTo>
                    <a:pt x="1034" y="2257"/>
                    <a:pt x="1037" y="2272"/>
                    <a:pt x="1040" y="2287"/>
                  </a:cubicBezTo>
                  <a:cubicBezTo>
                    <a:pt x="1029" y="2271"/>
                    <a:pt x="1019" y="2255"/>
                    <a:pt x="1010" y="2239"/>
                  </a:cubicBezTo>
                  <a:cubicBezTo>
                    <a:pt x="1017" y="2240"/>
                    <a:pt x="1025" y="2241"/>
                    <a:pt x="1032" y="22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29" name="iŝḷîḑè">
              <a:extLst>
                <a:ext uri="{FF2B5EF4-FFF2-40B4-BE49-F238E27FC236}">
                  <a16:creationId xmlns:a16="http://schemas.microsoft.com/office/drawing/2014/main" id="{EA81445B-706C-430A-AB06-54A8444A51E5}"/>
                </a:ext>
              </a:extLst>
            </p:cNvPr>
            <p:cNvSpPr/>
            <p:nvPr/>
          </p:nvSpPr>
          <p:spPr>
            <a:xfrm>
              <a:off x="3089359" y="1877109"/>
              <a:ext cx="517936" cy="517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30" name="ïŝḷide">
              <a:extLst>
                <a:ext uri="{FF2B5EF4-FFF2-40B4-BE49-F238E27FC236}">
                  <a16:creationId xmlns:a16="http://schemas.microsoft.com/office/drawing/2014/main" id="{FB257321-4B7F-41E1-ACAB-31A6A52DE412}"/>
                </a:ext>
              </a:extLst>
            </p:cNvPr>
            <p:cNvSpPr/>
            <p:nvPr/>
          </p:nvSpPr>
          <p:spPr bwMode="auto">
            <a:xfrm>
              <a:off x="3253182" y="2036843"/>
              <a:ext cx="190289" cy="190288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31" name="i$ḻíḓê">
              <a:extLst>
                <a:ext uri="{FF2B5EF4-FFF2-40B4-BE49-F238E27FC236}">
                  <a16:creationId xmlns:a16="http://schemas.microsoft.com/office/drawing/2014/main" id="{8955BAB9-E699-4CDA-B8BC-122E56418B66}"/>
                </a:ext>
              </a:extLst>
            </p:cNvPr>
            <p:cNvSpPr/>
            <p:nvPr/>
          </p:nvSpPr>
          <p:spPr>
            <a:xfrm>
              <a:off x="3089359" y="3195921"/>
              <a:ext cx="517936" cy="517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32" name="i$ļíḑê">
              <a:extLst>
                <a:ext uri="{FF2B5EF4-FFF2-40B4-BE49-F238E27FC236}">
                  <a16:creationId xmlns:a16="http://schemas.microsoft.com/office/drawing/2014/main" id="{1CDA462C-8DB2-4FEB-BAA7-8E79E84CB11D}"/>
                </a:ext>
              </a:extLst>
            </p:cNvPr>
            <p:cNvSpPr/>
            <p:nvPr/>
          </p:nvSpPr>
          <p:spPr bwMode="auto">
            <a:xfrm>
              <a:off x="3253182" y="3360061"/>
              <a:ext cx="190289" cy="181476"/>
            </a:xfrm>
            <a:custGeom>
              <a:avLst/>
              <a:gdLst>
                <a:gd name="connsiteX0" fmla="*/ 315778 w 607639"/>
                <a:gd name="connsiteY0" fmla="*/ 173080 h 579502"/>
                <a:gd name="connsiteX1" fmla="*/ 315778 w 607639"/>
                <a:gd name="connsiteY1" fmla="*/ 266058 h 579502"/>
                <a:gd name="connsiteX2" fmla="*/ 303493 w 607639"/>
                <a:gd name="connsiteY2" fmla="*/ 278325 h 579502"/>
                <a:gd name="connsiteX3" fmla="*/ 210375 w 607639"/>
                <a:gd name="connsiteY3" fmla="*/ 278325 h 579502"/>
                <a:gd name="connsiteX4" fmla="*/ 303493 w 607639"/>
                <a:gd name="connsiteY4" fmla="*/ 359925 h 579502"/>
                <a:gd name="connsiteX5" fmla="*/ 397500 w 607639"/>
                <a:gd name="connsiteY5" fmla="*/ 266058 h 579502"/>
                <a:gd name="connsiteX6" fmla="*/ 315778 w 607639"/>
                <a:gd name="connsiteY6" fmla="*/ 173080 h 579502"/>
                <a:gd name="connsiteX7" fmla="*/ 249814 w 607639"/>
                <a:gd name="connsiteY7" fmla="*/ 160816 h 579502"/>
                <a:gd name="connsiteX8" fmla="*/ 198110 w 607639"/>
                <a:gd name="connsiteY8" fmla="*/ 212449 h 579502"/>
                <a:gd name="connsiteX9" fmla="*/ 249814 w 607639"/>
                <a:gd name="connsiteY9" fmla="*/ 212449 h 579502"/>
                <a:gd name="connsiteX10" fmla="*/ 303493 w 607639"/>
                <a:gd name="connsiteY10" fmla="*/ 147835 h 579502"/>
                <a:gd name="connsiteX11" fmla="*/ 421981 w 607639"/>
                <a:gd name="connsiteY11" fmla="*/ 266058 h 579502"/>
                <a:gd name="connsiteX12" fmla="*/ 303493 w 607639"/>
                <a:gd name="connsiteY12" fmla="*/ 384370 h 579502"/>
                <a:gd name="connsiteX13" fmla="*/ 185093 w 607639"/>
                <a:gd name="connsiteY13" fmla="*/ 266058 h 579502"/>
                <a:gd name="connsiteX14" fmla="*/ 197289 w 607639"/>
                <a:gd name="connsiteY14" fmla="*/ 253880 h 579502"/>
                <a:gd name="connsiteX15" fmla="*/ 291297 w 607639"/>
                <a:gd name="connsiteY15" fmla="*/ 253880 h 579502"/>
                <a:gd name="connsiteX16" fmla="*/ 291297 w 607639"/>
                <a:gd name="connsiteY16" fmla="*/ 160013 h 579502"/>
                <a:gd name="connsiteX17" fmla="*/ 303493 w 607639"/>
                <a:gd name="connsiteY17" fmla="*/ 147835 h 579502"/>
                <a:gd name="connsiteX18" fmla="*/ 262095 w 607639"/>
                <a:gd name="connsiteY18" fmla="*/ 135133 h 579502"/>
                <a:gd name="connsiteX19" fmla="*/ 274287 w 607639"/>
                <a:gd name="connsiteY19" fmla="*/ 147397 h 579502"/>
                <a:gd name="connsiteX20" fmla="*/ 274287 w 607639"/>
                <a:gd name="connsiteY20" fmla="*/ 224713 h 579502"/>
                <a:gd name="connsiteX21" fmla="*/ 262095 w 607639"/>
                <a:gd name="connsiteY21" fmla="*/ 236888 h 579502"/>
                <a:gd name="connsiteX22" fmla="*/ 184672 w 607639"/>
                <a:gd name="connsiteY22" fmla="*/ 236888 h 579502"/>
                <a:gd name="connsiteX23" fmla="*/ 172391 w 607639"/>
                <a:gd name="connsiteY23" fmla="*/ 224713 h 579502"/>
                <a:gd name="connsiteX24" fmla="*/ 262095 w 607639"/>
                <a:gd name="connsiteY24" fmla="*/ 135133 h 579502"/>
                <a:gd name="connsiteX25" fmla="*/ 58120 w 607639"/>
                <a:gd name="connsiteY25" fmla="*/ 108514 h 579502"/>
                <a:gd name="connsiteX26" fmla="*/ 58120 w 607639"/>
                <a:gd name="connsiteY26" fmla="*/ 413970 h 579502"/>
                <a:gd name="connsiteX27" fmla="*/ 549430 w 607639"/>
                <a:gd name="connsiteY27" fmla="*/ 413970 h 579502"/>
                <a:gd name="connsiteX28" fmla="*/ 549430 w 607639"/>
                <a:gd name="connsiteY28" fmla="*/ 108514 h 579502"/>
                <a:gd name="connsiteX29" fmla="*/ 27236 w 607639"/>
                <a:gd name="connsiteY29" fmla="*/ 56079 h 579502"/>
                <a:gd name="connsiteX30" fmla="*/ 27236 w 607639"/>
                <a:gd name="connsiteY30" fmla="*/ 81319 h 579502"/>
                <a:gd name="connsiteX31" fmla="*/ 580403 w 607639"/>
                <a:gd name="connsiteY31" fmla="*/ 81319 h 579502"/>
                <a:gd name="connsiteX32" fmla="*/ 580403 w 607639"/>
                <a:gd name="connsiteY32" fmla="*/ 56079 h 579502"/>
                <a:gd name="connsiteX33" fmla="*/ 303775 w 607639"/>
                <a:gd name="connsiteY33" fmla="*/ 0 h 579502"/>
                <a:gd name="connsiteX34" fmla="*/ 317393 w 607639"/>
                <a:gd name="connsiteY34" fmla="*/ 13597 h 579502"/>
                <a:gd name="connsiteX35" fmla="*/ 317393 w 607639"/>
                <a:gd name="connsiteY35" fmla="*/ 28884 h 579502"/>
                <a:gd name="connsiteX36" fmla="*/ 580403 w 607639"/>
                <a:gd name="connsiteY36" fmla="*/ 28884 h 579502"/>
                <a:gd name="connsiteX37" fmla="*/ 607639 w 607639"/>
                <a:gd name="connsiteY37" fmla="*/ 56079 h 579502"/>
                <a:gd name="connsiteX38" fmla="*/ 607639 w 607639"/>
                <a:gd name="connsiteY38" fmla="*/ 81319 h 579502"/>
                <a:gd name="connsiteX39" fmla="*/ 580403 w 607639"/>
                <a:gd name="connsiteY39" fmla="*/ 108514 h 579502"/>
                <a:gd name="connsiteX40" fmla="*/ 576665 w 607639"/>
                <a:gd name="connsiteY40" fmla="*/ 108514 h 579502"/>
                <a:gd name="connsiteX41" fmla="*/ 576665 w 607639"/>
                <a:gd name="connsiteY41" fmla="*/ 413970 h 579502"/>
                <a:gd name="connsiteX42" fmla="*/ 549430 w 607639"/>
                <a:gd name="connsiteY42" fmla="*/ 441165 h 579502"/>
                <a:gd name="connsiteX43" fmla="*/ 317393 w 607639"/>
                <a:gd name="connsiteY43" fmla="*/ 441165 h 579502"/>
                <a:gd name="connsiteX44" fmla="*/ 317393 w 607639"/>
                <a:gd name="connsiteY44" fmla="*/ 481069 h 579502"/>
                <a:gd name="connsiteX45" fmla="*/ 418236 w 607639"/>
                <a:gd name="connsiteY45" fmla="*/ 554923 h 579502"/>
                <a:gd name="connsiteX46" fmla="*/ 421173 w 607639"/>
                <a:gd name="connsiteY46" fmla="*/ 573942 h 579502"/>
                <a:gd name="connsiteX47" fmla="*/ 410225 w 607639"/>
                <a:gd name="connsiteY47" fmla="*/ 579452 h 579502"/>
                <a:gd name="connsiteX48" fmla="*/ 402215 w 607639"/>
                <a:gd name="connsiteY48" fmla="*/ 576874 h 579502"/>
                <a:gd name="connsiteX49" fmla="*/ 317393 w 607639"/>
                <a:gd name="connsiteY49" fmla="*/ 514752 h 579502"/>
                <a:gd name="connsiteX50" fmla="*/ 317393 w 607639"/>
                <a:gd name="connsiteY50" fmla="*/ 565854 h 579502"/>
                <a:gd name="connsiteX51" fmla="*/ 303775 w 607639"/>
                <a:gd name="connsiteY51" fmla="*/ 579452 h 579502"/>
                <a:gd name="connsiteX52" fmla="*/ 290157 w 607639"/>
                <a:gd name="connsiteY52" fmla="*/ 565854 h 579502"/>
                <a:gd name="connsiteX53" fmla="*/ 290157 w 607639"/>
                <a:gd name="connsiteY53" fmla="*/ 514752 h 579502"/>
                <a:gd name="connsiteX54" fmla="*/ 205424 w 607639"/>
                <a:gd name="connsiteY54" fmla="*/ 576874 h 579502"/>
                <a:gd name="connsiteX55" fmla="*/ 186377 w 607639"/>
                <a:gd name="connsiteY55" fmla="*/ 573942 h 579502"/>
                <a:gd name="connsiteX56" fmla="*/ 189314 w 607639"/>
                <a:gd name="connsiteY56" fmla="*/ 554923 h 579502"/>
                <a:gd name="connsiteX57" fmla="*/ 290157 w 607639"/>
                <a:gd name="connsiteY57" fmla="*/ 481069 h 579502"/>
                <a:gd name="connsiteX58" fmla="*/ 290157 w 607639"/>
                <a:gd name="connsiteY58" fmla="*/ 441165 h 579502"/>
                <a:gd name="connsiteX59" fmla="*/ 58120 w 607639"/>
                <a:gd name="connsiteY59" fmla="*/ 441165 h 579502"/>
                <a:gd name="connsiteX60" fmla="*/ 30885 w 607639"/>
                <a:gd name="connsiteY60" fmla="*/ 413970 h 579502"/>
                <a:gd name="connsiteX61" fmla="*/ 30885 w 607639"/>
                <a:gd name="connsiteY61" fmla="*/ 108514 h 579502"/>
                <a:gd name="connsiteX62" fmla="*/ 27236 w 607639"/>
                <a:gd name="connsiteY62" fmla="*/ 108514 h 579502"/>
                <a:gd name="connsiteX63" fmla="*/ 0 w 607639"/>
                <a:gd name="connsiteY63" fmla="*/ 81319 h 579502"/>
                <a:gd name="connsiteX64" fmla="*/ 0 w 607639"/>
                <a:gd name="connsiteY64" fmla="*/ 56079 h 579502"/>
                <a:gd name="connsiteX65" fmla="*/ 27236 w 607639"/>
                <a:gd name="connsiteY65" fmla="*/ 28884 h 579502"/>
                <a:gd name="connsiteX66" fmla="*/ 290157 w 607639"/>
                <a:gd name="connsiteY66" fmla="*/ 28884 h 579502"/>
                <a:gd name="connsiteX67" fmla="*/ 290157 w 607639"/>
                <a:gd name="connsiteY67" fmla="*/ 13597 h 579502"/>
                <a:gd name="connsiteX68" fmla="*/ 303775 w 607639"/>
                <a:gd name="connsiteY68" fmla="*/ 0 h 579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579502">
                  <a:moveTo>
                    <a:pt x="315778" y="173080"/>
                  </a:moveTo>
                  <a:lnTo>
                    <a:pt x="315778" y="266058"/>
                  </a:lnTo>
                  <a:cubicBezTo>
                    <a:pt x="315778" y="272814"/>
                    <a:pt x="310258" y="278325"/>
                    <a:pt x="303493" y="278325"/>
                  </a:cubicBezTo>
                  <a:lnTo>
                    <a:pt x="210375" y="278325"/>
                  </a:lnTo>
                  <a:cubicBezTo>
                    <a:pt x="216429" y="324281"/>
                    <a:pt x="255866" y="359925"/>
                    <a:pt x="303493" y="359925"/>
                  </a:cubicBezTo>
                  <a:cubicBezTo>
                    <a:pt x="355303" y="359925"/>
                    <a:pt x="397500" y="317792"/>
                    <a:pt x="397500" y="266058"/>
                  </a:cubicBezTo>
                  <a:cubicBezTo>
                    <a:pt x="397500" y="218502"/>
                    <a:pt x="361802" y="179124"/>
                    <a:pt x="315778" y="173080"/>
                  </a:cubicBezTo>
                  <a:close/>
                  <a:moveTo>
                    <a:pt x="249814" y="160816"/>
                  </a:moveTo>
                  <a:cubicBezTo>
                    <a:pt x="223740" y="165793"/>
                    <a:pt x="203093" y="186410"/>
                    <a:pt x="198110" y="212449"/>
                  </a:cubicBezTo>
                  <a:lnTo>
                    <a:pt x="249814" y="212449"/>
                  </a:lnTo>
                  <a:close/>
                  <a:moveTo>
                    <a:pt x="303493" y="147835"/>
                  </a:moveTo>
                  <a:cubicBezTo>
                    <a:pt x="368835" y="147835"/>
                    <a:pt x="421981" y="200902"/>
                    <a:pt x="421981" y="266058"/>
                  </a:cubicBezTo>
                  <a:cubicBezTo>
                    <a:pt x="421981" y="331303"/>
                    <a:pt x="368835" y="384370"/>
                    <a:pt x="303493" y="384370"/>
                  </a:cubicBezTo>
                  <a:cubicBezTo>
                    <a:pt x="238239" y="384370"/>
                    <a:pt x="185093" y="331303"/>
                    <a:pt x="185093" y="266058"/>
                  </a:cubicBezTo>
                  <a:cubicBezTo>
                    <a:pt x="185093" y="259303"/>
                    <a:pt x="190523" y="253880"/>
                    <a:pt x="197289" y="253880"/>
                  </a:cubicBezTo>
                  <a:lnTo>
                    <a:pt x="291297" y="253880"/>
                  </a:lnTo>
                  <a:lnTo>
                    <a:pt x="291297" y="160013"/>
                  </a:lnTo>
                  <a:cubicBezTo>
                    <a:pt x="291297" y="153257"/>
                    <a:pt x="296727" y="147835"/>
                    <a:pt x="303493" y="147835"/>
                  </a:cubicBezTo>
                  <a:close/>
                  <a:moveTo>
                    <a:pt x="262095" y="135133"/>
                  </a:moveTo>
                  <a:cubicBezTo>
                    <a:pt x="268859" y="135133"/>
                    <a:pt x="274287" y="140643"/>
                    <a:pt x="274287" y="147397"/>
                  </a:cubicBezTo>
                  <a:lnTo>
                    <a:pt x="274287" y="224713"/>
                  </a:lnTo>
                  <a:cubicBezTo>
                    <a:pt x="274287" y="231467"/>
                    <a:pt x="268859" y="236888"/>
                    <a:pt x="262095" y="236888"/>
                  </a:cubicBezTo>
                  <a:lnTo>
                    <a:pt x="184672" y="236888"/>
                  </a:lnTo>
                  <a:cubicBezTo>
                    <a:pt x="177909" y="236888"/>
                    <a:pt x="172391" y="231467"/>
                    <a:pt x="172391" y="224713"/>
                  </a:cubicBezTo>
                  <a:cubicBezTo>
                    <a:pt x="172391" y="175302"/>
                    <a:pt x="212616" y="135133"/>
                    <a:pt x="262095" y="135133"/>
                  </a:cubicBezTo>
                  <a:close/>
                  <a:moveTo>
                    <a:pt x="58120" y="108514"/>
                  </a:moveTo>
                  <a:lnTo>
                    <a:pt x="58120" y="413970"/>
                  </a:lnTo>
                  <a:lnTo>
                    <a:pt x="549430" y="413970"/>
                  </a:lnTo>
                  <a:lnTo>
                    <a:pt x="549430" y="108514"/>
                  </a:lnTo>
                  <a:close/>
                  <a:moveTo>
                    <a:pt x="27236" y="56079"/>
                  </a:moveTo>
                  <a:lnTo>
                    <a:pt x="27236" y="81319"/>
                  </a:lnTo>
                  <a:lnTo>
                    <a:pt x="580403" y="81319"/>
                  </a:lnTo>
                  <a:lnTo>
                    <a:pt x="580403" y="56079"/>
                  </a:lnTo>
                  <a:close/>
                  <a:moveTo>
                    <a:pt x="303775" y="0"/>
                  </a:moveTo>
                  <a:cubicBezTo>
                    <a:pt x="311341" y="0"/>
                    <a:pt x="317393" y="6132"/>
                    <a:pt x="317393" y="13597"/>
                  </a:cubicBezTo>
                  <a:lnTo>
                    <a:pt x="317393" y="28884"/>
                  </a:lnTo>
                  <a:lnTo>
                    <a:pt x="580403" y="28884"/>
                  </a:lnTo>
                  <a:cubicBezTo>
                    <a:pt x="595356" y="28884"/>
                    <a:pt x="607639" y="41148"/>
                    <a:pt x="607639" y="56079"/>
                  </a:cubicBezTo>
                  <a:lnTo>
                    <a:pt x="607639" y="81319"/>
                  </a:lnTo>
                  <a:cubicBezTo>
                    <a:pt x="607639" y="96338"/>
                    <a:pt x="595356" y="108514"/>
                    <a:pt x="580403" y="108514"/>
                  </a:cubicBezTo>
                  <a:lnTo>
                    <a:pt x="576665" y="108514"/>
                  </a:lnTo>
                  <a:lnTo>
                    <a:pt x="576665" y="413970"/>
                  </a:lnTo>
                  <a:cubicBezTo>
                    <a:pt x="576665" y="428990"/>
                    <a:pt x="564472" y="441165"/>
                    <a:pt x="549430" y="441165"/>
                  </a:cubicBezTo>
                  <a:lnTo>
                    <a:pt x="317393" y="441165"/>
                  </a:lnTo>
                  <a:lnTo>
                    <a:pt x="317393" y="481069"/>
                  </a:lnTo>
                  <a:lnTo>
                    <a:pt x="418236" y="554923"/>
                  </a:lnTo>
                  <a:cubicBezTo>
                    <a:pt x="424377" y="559366"/>
                    <a:pt x="425623" y="567898"/>
                    <a:pt x="421173" y="573942"/>
                  </a:cubicBezTo>
                  <a:cubicBezTo>
                    <a:pt x="418503" y="577585"/>
                    <a:pt x="414409" y="579452"/>
                    <a:pt x="410225" y="579452"/>
                  </a:cubicBezTo>
                  <a:cubicBezTo>
                    <a:pt x="407466" y="579452"/>
                    <a:pt x="404618" y="578652"/>
                    <a:pt x="402215" y="576874"/>
                  </a:cubicBezTo>
                  <a:lnTo>
                    <a:pt x="317393" y="514752"/>
                  </a:lnTo>
                  <a:lnTo>
                    <a:pt x="317393" y="565854"/>
                  </a:lnTo>
                  <a:cubicBezTo>
                    <a:pt x="317393" y="573408"/>
                    <a:pt x="311341" y="579452"/>
                    <a:pt x="303775" y="579452"/>
                  </a:cubicBezTo>
                  <a:cubicBezTo>
                    <a:pt x="296299" y="579452"/>
                    <a:pt x="290157" y="573408"/>
                    <a:pt x="290157" y="565854"/>
                  </a:cubicBezTo>
                  <a:lnTo>
                    <a:pt x="290157" y="514752"/>
                  </a:lnTo>
                  <a:lnTo>
                    <a:pt x="205424" y="576874"/>
                  </a:lnTo>
                  <a:cubicBezTo>
                    <a:pt x="199372" y="581318"/>
                    <a:pt x="190827" y="579985"/>
                    <a:pt x="186377" y="573942"/>
                  </a:cubicBezTo>
                  <a:cubicBezTo>
                    <a:pt x="181927" y="567898"/>
                    <a:pt x="183262" y="559366"/>
                    <a:pt x="189314" y="554923"/>
                  </a:cubicBezTo>
                  <a:lnTo>
                    <a:pt x="290157" y="481069"/>
                  </a:lnTo>
                  <a:lnTo>
                    <a:pt x="290157" y="441165"/>
                  </a:lnTo>
                  <a:lnTo>
                    <a:pt x="58120" y="441165"/>
                  </a:lnTo>
                  <a:cubicBezTo>
                    <a:pt x="43167" y="441165"/>
                    <a:pt x="30885" y="428990"/>
                    <a:pt x="30885" y="413970"/>
                  </a:cubicBezTo>
                  <a:lnTo>
                    <a:pt x="30885" y="108514"/>
                  </a:lnTo>
                  <a:lnTo>
                    <a:pt x="27236" y="108514"/>
                  </a:lnTo>
                  <a:cubicBezTo>
                    <a:pt x="12194" y="108514"/>
                    <a:pt x="0" y="96338"/>
                    <a:pt x="0" y="81319"/>
                  </a:cubicBezTo>
                  <a:lnTo>
                    <a:pt x="0" y="56079"/>
                  </a:lnTo>
                  <a:cubicBezTo>
                    <a:pt x="0" y="41148"/>
                    <a:pt x="12194" y="28884"/>
                    <a:pt x="27236" y="28884"/>
                  </a:cubicBezTo>
                  <a:lnTo>
                    <a:pt x="290157" y="28884"/>
                  </a:lnTo>
                  <a:lnTo>
                    <a:pt x="290157" y="13597"/>
                  </a:lnTo>
                  <a:cubicBezTo>
                    <a:pt x="290157" y="6132"/>
                    <a:pt x="296299" y="0"/>
                    <a:pt x="303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33" name="iśľîḑè">
              <a:extLst>
                <a:ext uri="{FF2B5EF4-FFF2-40B4-BE49-F238E27FC236}">
                  <a16:creationId xmlns:a16="http://schemas.microsoft.com/office/drawing/2014/main" id="{5DA431B3-0458-47F0-8558-3AE6512B3B98}"/>
                </a:ext>
              </a:extLst>
            </p:cNvPr>
            <p:cNvSpPr/>
            <p:nvPr/>
          </p:nvSpPr>
          <p:spPr>
            <a:xfrm>
              <a:off x="3089359" y="4532432"/>
              <a:ext cx="517936" cy="517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/>
            </a:p>
          </p:txBody>
        </p:sp>
        <p:sp>
          <p:nvSpPr>
            <p:cNvPr id="34" name="íṥļiḑè">
              <a:extLst>
                <a:ext uri="{FF2B5EF4-FFF2-40B4-BE49-F238E27FC236}">
                  <a16:creationId xmlns:a16="http://schemas.microsoft.com/office/drawing/2014/main" id="{3D1F7568-8260-47D0-B1B0-AF7527116353}"/>
                </a:ext>
              </a:extLst>
            </p:cNvPr>
            <p:cNvSpPr/>
            <p:nvPr/>
          </p:nvSpPr>
          <p:spPr bwMode="auto">
            <a:xfrm>
              <a:off x="3264411" y="4692166"/>
              <a:ext cx="167831" cy="190288"/>
            </a:xfrm>
            <a:custGeom>
              <a:avLst/>
              <a:gdLst>
                <a:gd name="T0" fmla="*/ 2125 w 2288"/>
                <a:gd name="T1" fmla="*/ 924 h 2598"/>
                <a:gd name="T2" fmla="*/ 1863 w 2288"/>
                <a:gd name="T3" fmla="*/ 1258 h 2598"/>
                <a:gd name="T4" fmla="*/ 1848 w 2288"/>
                <a:gd name="T5" fmla="*/ 1586 h 2598"/>
                <a:gd name="T6" fmla="*/ 1899 w 2288"/>
                <a:gd name="T7" fmla="*/ 1716 h 2598"/>
                <a:gd name="T8" fmla="*/ 1211 w 2288"/>
                <a:gd name="T9" fmla="*/ 2079 h 2598"/>
                <a:gd name="T10" fmla="*/ 1176 w 2288"/>
                <a:gd name="T11" fmla="*/ 2038 h 2598"/>
                <a:gd name="T12" fmla="*/ 1200 w 2288"/>
                <a:gd name="T13" fmla="*/ 965 h 2598"/>
                <a:gd name="T14" fmla="*/ 1409 w 2288"/>
                <a:gd name="T15" fmla="*/ 1012 h 2598"/>
                <a:gd name="T16" fmla="*/ 1522 w 2288"/>
                <a:gd name="T17" fmla="*/ 978 h 2598"/>
                <a:gd name="T18" fmla="*/ 1526 w 2288"/>
                <a:gd name="T19" fmla="*/ 847 h 2598"/>
                <a:gd name="T20" fmla="*/ 1387 w 2288"/>
                <a:gd name="T21" fmla="*/ 828 h 2598"/>
                <a:gd name="T22" fmla="*/ 1193 w 2288"/>
                <a:gd name="T23" fmla="*/ 584 h 2598"/>
                <a:gd name="T24" fmla="*/ 1375 w 2288"/>
                <a:gd name="T25" fmla="*/ 124 h 2598"/>
                <a:gd name="T26" fmla="*/ 1109 w 2288"/>
                <a:gd name="T27" fmla="*/ 37 h 2598"/>
                <a:gd name="T28" fmla="*/ 1013 w 2288"/>
                <a:gd name="T29" fmla="*/ 570 h 2598"/>
                <a:gd name="T30" fmla="*/ 1056 w 2288"/>
                <a:gd name="T31" fmla="*/ 808 h 2598"/>
                <a:gd name="T32" fmla="*/ 891 w 2288"/>
                <a:gd name="T33" fmla="*/ 784 h 2598"/>
                <a:gd name="T34" fmla="*/ 748 w 2288"/>
                <a:gd name="T35" fmla="*/ 921 h 2598"/>
                <a:gd name="T36" fmla="*/ 899 w 2288"/>
                <a:gd name="T37" fmla="*/ 946 h 2598"/>
                <a:gd name="T38" fmla="*/ 1024 w 2288"/>
                <a:gd name="T39" fmla="*/ 1479 h 2598"/>
                <a:gd name="T40" fmla="*/ 1022 w 2288"/>
                <a:gd name="T41" fmla="*/ 2081 h 2598"/>
                <a:gd name="T42" fmla="*/ 434 w 2288"/>
                <a:gd name="T43" fmla="*/ 1569 h 2598"/>
                <a:gd name="T44" fmla="*/ 395 w 2288"/>
                <a:gd name="T45" fmla="*/ 1470 h 2598"/>
                <a:gd name="T46" fmla="*/ 88 w 2288"/>
                <a:gd name="T47" fmla="*/ 1148 h 2598"/>
                <a:gd name="T48" fmla="*/ 101 w 2288"/>
                <a:gd name="T49" fmla="*/ 1658 h 2598"/>
                <a:gd name="T50" fmla="*/ 906 w 2288"/>
                <a:gd name="T51" fmla="*/ 2228 h 2598"/>
                <a:gd name="T52" fmla="*/ 1177 w 2288"/>
                <a:gd name="T53" fmla="*/ 2500 h 2598"/>
                <a:gd name="T54" fmla="*/ 1223 w 2288"/>
                <a:gd name="T55" fmla="*/ 2405 h 2598"/>
                <a:gd name="T56" fmla="*/ 1273 w 2288"/>
                <a:gd name="T57" fmla="*/ 2328 h 2598"/>
                <a:gd name="T58" fmla="*/ 1280 w 2288"/>
                <a:gd name="T59" fmla="*/ 2234 h 2598"/>
                <a:gd name="T60" fmla="*/ 2094 w 2288"/>
                <a:gd name="T61" fmla="*/ 1624 h 2598"/>
                <a:gd name="T62" fmla="*/ 2274 w 2288"/>
                <a:gd name="T63" fmla="*/ 1517 h 2598"/>
                <a:gd name="T64" fmla="*/ 1065 w 2288"/>
                <a:gd name="T65" fmla="*/ 420 h 2598"/>
                <a:gd name="T66" fmla="*/ 1131 w 2288"/>
                <a:gd name="T67" fmla="*/ 148 h 2598"/>
                <a:gd name="T68" fmla="*/ 1165 w 2288"/>
                <a:gd name="T69" fmla="*/ 430 h 2598"/>
                <a:gd name="T70" fmla="*/ 1065 w 2288"/>
                <a:gd name="T71" fmla="*/ 420 h 2598"/>
                <a:gd name="T72" fmla="*/ 1040 w 2288"/>
                <a:gd name="T73" fmla="*/ 2287 h 2598"/>
                <a:gd name="T74" fmla="*/ 1032 w 2288"/>
                <a:gd name="T75" fmla="*/ 2241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88" h="2598">
                  <a:moveTo>
                    <a:pt x="2281" y="1465"/>
                  </a:moveTo>
                  <a:cubicBezTo>
                    <a:pt x="2220" y="1286"/>
                    <a:pt x="2159" y="1111"/>
                    <a:pt x="2125" y="924"/>
                  </a:cubicBezTo>
                  <a:cubicBezTo>
                    <a:pt x="2112" y="850"/>
                    <a:pt x="2015" y="868"/>
                    <a:pt x="1992" y="924"/>
                  </a:cubicBezTo>
                  <a:cubicBezTo>
                    <a:pt x="1948" y="1035"/>
                    <a:pt x="1904" y="1146"/>
                    <a:pt x="1863" y="1258"/>
                  </a:cubicBezTo>
                  <a:cubicBezTo>
                    <a:pt x="1840" y="1319"/>
                    <a:pt x="1790" y="1411"/>
                    <a:pt x="1809" y="1480"/>
                  </a:cubicBezTo>
                  <a:cubicBezTo>
                    <a:pt x="1783" y="1516"/>
                    <a:pt x="1783" y="1565"/>
                    <a:pt x="1848" y="1586"/>
                  </a:cubicBezTo>
                  <a:cubicBezTo>
                    <a:pt x="1878" y="1596"/>
                    <a:pt x="1908" y="1602"/>
                    <a:pt x="1938" y="1607"/>
                  </a:cubicBezTo>
                  <a:cubicBezTo>
                    <a:pt x="1927" y="1644"/>
                    <a:pt x="1916" y="1681"/>
                    <a:pt x="1899" y="1716"/>
                  </a:cubicBezTo>
                  <a:cubicBezTo>
                    <a:pt x="1861" y="1789"/>
                    <a:pt x="1799" y="1850"/>
                    <a:pt x="1734" y="1899"/>
                  </a:cubicBezTo>
                  <a:cubicBezTo>
                    <a:pt x="1586" y="2012"/>
                    <a:pt x="1393" y="2062"/>
                    <a:pt x="1211" y="2079"/>
                  </a:cubicBezTo>
                  <a:cubicBezTo>
                    <a:pt x="1201" y="2080"/>
                    <a:pt x="1190" y="2080"/>
                    <a:pt x="1180" y="2081"/>
                  </a:cubicBezTo>
                  <a:cubicBezTo>
                    <a:pt x="1178" y="2066"/>
                    <a:pt x="1177" y="2052"/>
                    <a:pt x="1176" y="2038"/>
                  </a:cubicBezTo>
                  <a:cubicBezTo>
                    <a:pt x="1167" y="1852"/>
                    <a:pt x="1173" y="1665"/>
                    <a:pt x="1178" y="1479"/>
                  </a:cubicBezTo>
                  <a:cubicBezTo>
                    <a:pt x="1183" y="1309"/>
                    <a:pt x="1195" y="1137"/>
                    <a:pt x="1200" y="965"/>
                  </a:cubicBezTo>
                  <a:cubicBezTo>
                    <a:pt x="1262" y="972"/>
                    <a:pt x="1326" y="981"/>
                    <a:pt x="1388" y="979"/>
                  </a:cubicBezTo>
                  <a:cubicBezTo>
                    <a:pt x="1391" y="992"/>
                    <a:pt x="1399" y="1003"/>
                    <a:pt x="1409" y="1012"/>
                  </a:cubicBezTo>
                  <a:cubicBezTo>
                    <a:pt x="1434" y="1041"/>
                    <a:pt x="1476" y="1041"/>
                    <a:pt x="1501" y="1012"/>
                  </a:cubicBezTo>
                  <a:cubicBezTo>
                    <a:pt x="1511" y="1003"/>
                    <a:pt x="1519" y="991"/>
                    <a:pt x="1522" y="978"/>
                  </a:cubicBezTo>
                  <a:cubicBezTo>
                    <a:pt x="1528" y="956"/>
                    <a:pt x="1526" y="931"/>
                    <a:pt x="1526" y="908"/>
                  </a:cubicBezTo>
                  <a:lnTo>
                    <a:pt x="1526" y="847"/>
                  </a:lnTo>
                  <a:cubicBezTo>
                    <a:pt x="1526" y="809"/>
                    <a:pt x="1493" y="776"/>
                    <a:pt x="1455" y="776"/>
                  </a:cubicBezTo>
                  <a:cubicBezTo>
                    <a:pt x="1423" y="776"/>
                    <a:pt x="1395" y="799"/>
                    <a:pt x="1387" y="828"/>
                  </a:cubicBezTo>
                  <a:cubicBezTo>
                    <a:pt x="1327" y="813"/>
                    <a:pt x="1264" y="812"/>
                    <a:pt x="1202" y="810"/>
                  </a:cubicBezTo>
                  <a:cubicBezTo>
                    <a:pt x="1202" y="735"/>
                    <a:pt x="1199" y="659"/>
                    <a:pt x="1193" y="584"/>
                  </a:cubicBezTo>
                  <a:cubicBezTo>
                    <a:pt x="1297" y="558"/>
                    <a:pt x="1391" y="480"/>
                    <a:pt x="1431" y="385"/>
                  </a:cubicBezTo>
                  <a:cubicBezTo>
                    <a:pt x="1470" y="292"/>
                    <a:pt x="1441" y="197"/>
                    <a:pt x="1375" y="124"/>
                  </a:cubicBezTo>
                  <a:cubicBezTo>
                    <a:pt x="1315" y="57"/>
                    <a:pt x="1196" y="0"/>
                    <a:pt x="1109" y="37"/>
                  </a:cubicBezTo>
                  <a:cubicBezTo>
                    <a:pt x="1109" y="37"/>
                    <a:pt x="1109" y="37"/>
                    <a:pt x="1109" y="37"/>
                  </a:cubicBezTo>
                  <a:cubicBezTo>
                    <a:pt x="988" y="48"/>
                    <a:pt x="885" y="127"/>
                    <a:pt x="860" y="255"/>
                  </a:cubicBezTo>
                  <a:cubicBezTo>
                    <a:pt x="837" y="376"/>
                    <a:pt x="900" y="516"/>
                    <a:pt x="1013" y="570"/>
                  </a:cubicBezTo>
                  <a:cubicBezTo>
                    <a:pt x="1033" y="580"/>
                    <a:pt x="1055" y="586"/>
                    <a:pt x="1077" y="590"/>
                  </a:cubicBezTo>
                  <a:cubicBezTo>
                    <a:pt x="1068" y="662"/>
                    <a:pt x="1062" y="735"/>
                    <a:pt x="1056" y="808"/>
                  </a:cubicBezTo>
                  <a:cubicBezTo>
                    <a:pt x="1001" y="808"/>
                    <a:pt x="947" y="810"/>
                    <a:pt x="892" y="813"/>
                  </a:cubicBezTo>
                  <a:cubicBezTo>
                    <a:pt x="892" y="803"/>
                    <a:pt x="891" y="793"/>
                    <a:pt x="891" y="784"/>
                  </a:cubicBezTo>
                  <a:cubicBezTo>
                    <a:pt x="896" y="691"/>
                    <a:pt x="748" y="690"/>
                    <a:pt x="747" y="784"/>
                  </a:cubicBezTo>
                  <a:cubicBezTo>
                    <a:pt x="747" y="829"/>
                    <a:pt x="742" y="876"/>
                    <a:pt x="748" y="921"/>
                  </a:cubicBezTo>
                  <a:cubicBezTo>
                    <a:pt x="756" y="983"/>
                    <a:pt x="811" y="1002"/>
                    <a:pt x="851" y="981"/>
                  </a:cubicBezTo>
                  <a:cubicBezTo>
                    <a:pt x="872" y="980"/>
                    <a:pt x="891" y="967"/>
                    <a:pt x="899" y="946"/>
                  </a:cubicBezTo>
                  <a:cubicBezTo>
                    <a:pt x="948" y="949"/>
                    <a:pt x="998" y="951"/>
                    <a:pt x="1047" y="954"/>
                  </a:cubicBezTo>
                  <a:cubicBezTo>
                    <a:pt x="1037" y="1129"/>
                    <a:pt x="1031" y="1305"/>
                    <a:pt x="1024" y="1479"/>
                  </a:cubicBezTo>
                  <a:cubicBezTo>
                    <a:pt x="1017" y="1665"/>
                    <a:pt x="1014" y="1851"/>
                    <a:pt x="1021" y="2038"/>
                  </a:cubicBezTo>
                  <a:cubicBezTo>
                    <a:pt x="1022" y="2051"/>
                    <a:pt x="1022" y="2066"/>
                    <a:pt x="1022" y="2081"/>
                  </a:cubicBezTo>
                  <a:cubicBezTo>
                    <a:pt x="722" y="2061"/>
                    <a:pt x="421" y="1927"/>
                    <a:pt x="289" y="1649"/>
                  </a:cubicBezTo>
                  <a:cubicBezTo>
                    <a:pt x="342" y="1639"/>
                    <a:pt x="422" y="1633"/>
                    <a:pt x="434" y="1569"/>
                  </a:cubicBezTo>
                  <a:cubicBezTo>
                    <a:pt x="439" y="1539"/>
                    <a:pt x="429" y="1506"/>
                    <a:pt x="402" y="1492"/>
                  </a:cubicBezTo>
                  <a:cubicBezTo>
                    <a:pt x="401" y="1485"/>
                    <a:pt x="399" y="1478"/>
                    <a:pt x="395" y="1470"/>
                  </a:cubicBezTo>
                  <a:cubicBezTo>
                    <a:pt x="338" y="1362"/>
                    <a:pt x="258" y="1263"/>
                    <a:pt x="215" y="1148"/>
                  </a:cubicBezTo>
                  <a:cubicBezTo>
                    <a:pt x="192" y="1085"/>
                    <a:pt x="111" y="1085"/>
                    <a:pt x="88" y="1148"/>
                  </a:cubicBezTo>
                  <a:cubicBezTo>
                    <a:pt x="29" y="1306"/>
                    <a:pt x="0" y="1457"/>
                    <a:pt x="39" y="1624"/>
                  </a:cubicBezTo>
                  <a:cubicBezTo>
                    <a:pt x="45" y="1653"/>
                    <a:pt x="75" y="1663"/>
                    <a:pt x="101" y="1658"/>
                  </a:cubicBezTo>
                  <a:cubicBezTo>
                    <a:pt x="125" y="1661"/>
                    <a:pt x="149" y="1661"/>
                    <a:pt x="172" y="1661"/>
                  </a:cubicBezTo>
                  <a:cubicBezTo>
                    <a:pt x="253" y="2008"/>
                    <a:pt x="572" y="2179"/>
                    <a:pt x="906" y="2228"/>
                  </a:cubicBezTo>
                  <a:cubicBezTo>
                    <a:pt x="931" y="2337"/>
                    <a:pt x="982" y="2443"/>
                    <a:pt x="1043" y="2536"/>
                  </a:cubicBezTo>
                  <a:cubicBezTo>
                    <a:pt x="1083" y="2598"/>
                    <a:pt x="1172" y="2572"/>
                    <a:pt x="1177" y="2500"/>
                  </a:cubicBezTo>
                  <a:cubicBezTo>
                    <a:pt x="1177" y="2509"/>
                    <a:pt x="1185" y="2477"/>
                    <a:pt x="1189" y="2468"/>
                  </a:cubicBezTo>
                  <a:cubicBezTo>
                    <a:pt x="1199" y="2446"/>
                    <a:pt x="1211" y="2426"/>
                    <a:pt x="1223" y="2405"/>
                  </a:cubicBezTo>
                  <a:cubicBezTo>
                    <a:pt x="1234" y="2386"/>
                    <a:pt x="1247" y="2368"/>
                    <a:pt x="1259" y="2349"/>
                  </a:cubicBezTo>
                  <a:cubicBezTo>
                    <a:pt x="1264" y="2342"/>
                    <a:pt x="1268" y="2335"/>
                    <a:pt x="1273" y="2328"/>
                  </a:cubicBezTo>
                  <a:cubicBezTo>
                    <a:pt x="1277" y="2322"/>
                    <a:pt x="1293" y="2305"/>
                    <a:pt x="1277" y="2322"/>
                  </a:cubicBezTo>
                  <a:cubicBezTo>
                    <a:pt x="1304" y="2294"/>
                    <a:pt x="1300" y="2258"/>
                    <a:pt x="1280" y="2234"/>
                  </a:cubicBezTo>
                  <a:cubicBezTo>
                    <a:pt x="1483" y="2210"/>
                    <a:pt x="1683" y="2139"/>
                    <a:pt x="1845" y="2015"/>
                  </a:cubicBezTo>
                  <a:cubicBezTo>
                    <a:pt x="1948" y="1936"/>
                    <a:pt x="2086" y="1773"/>
                    <a:pt x="2094" y="1624"/>
                  </a:cubicBezTo>
                  <a:cubicBezTo>
                    <a:pt x="2146" y="1628"/>
                    <a:pt x="2201" y="1630"/>
                    <a:pt x="2245" y="1609"/>
                  </a:cubicBezTo>
                  <a:cubicBezTo>
                    <a:pt x="2278" y="1594"/>
                    <a:pt x="2287" y="1550"/>
                    <a:pt x="2274" y="1517"/>
                  </a:cubicBezTo>
                  <a:cubicBezTo>
                    <a:pt x="2284" y="1503"/>
                    <a:pt x="2288" y="1485"/>
                    <a:pt x="2281" y="1465"/>
                  </a:cubicBezTo>
                  <a:close/>
                  <a:moveTo>
                    <a:pt x="1065" y="420"/>
                  </a:moveTo>
                  <a:cubicBezTo>
                    <a:pt x="1019" y="392"/>
                    <a:pt x="1002" y="323"/>
                    <a:pt x="1010" y="274"/>
                  </a:cubicBezTo>
                  <a:cubicBezTo>
                    <a:pt x="1021" y="207"/>
                    <a:pt x="1073" y="171"/>
                    <a:pt x="1131" y="148"/>
                  </a:cubicBezTo>
                  <a:cubicBezTo>
                    <a:pt x="1208" y="195"/>
                    <a:pt x="1340" y="234"/>
                    <a:pt x="1280" y="343"/>
                  </a:cubicBezTo>
                  <a:cubicBezTo>
                    <a:pt x="1258" y="383"/>
                    <a:pt x="1213" y="417"/>
                    <a:pt x="1165" y="430"/>
                  </a:cubicBezTo>
                  <a:cubicBezTo>
                    <a:pt x="1148" y="418"/>
                    <a:pt x="1121" y="420"/>
                    <a:pt x="1105" y="434"/>
                  </a:cubicBezTo>
                  <a:cubicBezTo>
                    <a:pt x="1091" y="432"/>
                    <a:pt x="1077" y="428"/>
                    <a:pt x="1065" y="420"/>
                  </a:cubicBezTo>
                  <a:close/>
                  <a:moveTo>
                    <a:pt x="1032" y="2241"/>
                  </a:moveTo>
                  <a:cubicBezTo>
                    <a:pt x="1034" y="2257"/>
                    <a:pt x="1037" y="2272"/>
                    <a:pt x="1040" y="2287"/>
                  </a:cubicBezTo>
                  <a:cubicBezTo>
                    <a:pt x="1029" y="2271"/>
                    <a:pt x="1019" y="2255"/>
                    <a:pt x="1010" y="2239"/>
                  </a:cubicBezTo>
                  <a:cubicBezTo>
                    <a:pt x="1017" y="2240"/>
                    <a:pt x="1025" y="2241"/>
                    <a:pt x="1032" y="22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/>
              <a:endParaRPr/>
            </a:p>
          </p:txBody>
        </p:sp>
        <p:cxnSp>
          <p:nvCxnSpPr>
            <p:cNvPr id="35" name="直接连接符 34">
              <a:extLst>
                <a:ext uri="{FF2B5EF4-FFF2-40B4-BE49-F238E27FC236}">
                  <a16:creationId xmlns:a16="http://schemas.microsoft.com/office/drawing/2014/main" id="{CCA108CF-1027-4DC7-B751-14DC0375A3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3825" y="2896613"/>
              <a:ext cx="2693716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8F864B2B-CB08-4246-9D25-D16957D0B0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3825" y="4214905"/>
              <a:ext cx="2693716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41909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71D69A-9C2F-479D-8E3A-F4B68D52B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D802903-1AC1-4269-9308-50A7614D8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2F2E151-9F17-4BD7-86FC-9050640D7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5" name="20961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F0FF17F-2727-45DE-971A-9DB5B81AD743}"/>
              </a:ext>
            </a:extLst>
          </p:cNvPr>
          <p:cNvGrpSpPr>
            <a:grpSpLocks noChangeAspect="1"/>
          </p:cNvGrpSpPr>
          <p:nvPr/>
        </p:nvGrpSpPr>
        <p:grpSpPr>
          <a:xfrm>
            <a:off x="1139" y="2286758"/>
            <a:ext cx="12190861" cy="2514532"/>
            <a:chOff x="1139" y="2286758"/>
            <a:chExt cx="12190861" cy="2514532"/>
          </a:xfrm>
        </p:grpSpPr>
        <p:sp>
          <p:nvSpPr>
            <p:cNvPr id="6" name="ïşḷidé">
              <a:extLst>
                <a:ext uri="{FF2B5EF4-FFF2-40B4-BE49-F238E27FC236}">
                  <a16:creationId xmlns:a16="http://schemas.microsoft.com/office/drawing/2014/main" id="{3E8CC31A-EEB7-4BC2-B65E-7CD6395572F0}"/>
                </a:ext>
              </a:extLst>
            </p:cNvPr>
            <p:cNvSpPr/>
            <p:nvPr/>
          </p:nvSpPr>
          <p:spPr>
            <a:xfrm>
              <a:off x="11468100" y="2591601"/>
              <a:ext cx="723900" cy="2209689"/>
            </a:xfrm>
            <a:custGeom>
              <a:avLst/>
              <a:gdLst>
                <a:gd name="connsiteX0" fmla="*/ 723900 w 723900"/>
                <a:gd name="connsiteY0" fmla="*/ 0 h 2209689"/>
                <a:gd name="connsiteX1" fmla="*/ 723900 w 723900"/>
                <a:gd name="connsiteY1" fmla="*/ 2209689 h 2209689"/>
                <a:gd name="connsiteX2" fmla="*/ 630916 w 723900"/>
                <a:gd name="connsiteY2" fmla="*/ 2164895 h 2209689"/>
                <a:gd name="connsiteX3" fmla="*/ 0 w 723900"/>
                <a:gd name="connsiteY3" fmla="*/ 1104844 h 2209689"/>
                <a:gd name="connsiteX4" fmla="*/ 630916 w 723900"/>
                <a:gd name="connsiteY4" fmla="*/ 44793 h 2209689"/>
                <a:gd name="connsiteX5" fmla="*/ 723900 w 723900"/>
                <a:gd name="connsiteY5" fmla="*/ 0 h 220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0" h="2209689">
                  <a:moveTo>
                    <a:pt x="723900" y="0"/>
                  </a:moveTo>
                  <a:lnTo>
                    <a:pt x="723900" y="2209689"/>
                  </a:lnTo>
                  <a:lnTo>
                    <a:pt x="630916" y="2164895"/>
                  </a:lnTo>
                  <a:cubicBezTo>
                    <a:pt x="255114" y="1960748"/>
                    <a:pt x="0" y="1562589"/>
                    <a:pt x="0" y="1104844"/>
                  </a:cubicBezTo>
                  <a:cubicBezTo>
                    <a:pt x="0" y="647100"/>
                    <a:pt x="255114" y="248941"/>
                    <a:pt x="630916" y="44793"/>
                  </a:cubicBezTo>
                  <a:lnTo>
                    <a:pt x="72390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íṩļidê">
              <a:extLst>
                <a:ext uri="{FF2B5EF4-FFF2-40B4-BE49-F238E27FC236}">
                  <a16:creationId xmlns:a16="http://schemas.microsoft.com/office/drawing/2014/main" id="{2899CFF5-AB85-45AD-9E95-63D38785D416}"/>
                </a:ext>
              </a:extLst>
            </p:cNvPr>
            <p:cNvSpPr/>
            <p:nvPr/>
          </p:nvSpPr>
          <p:spPr bwMode="auto">
            <a:xfrm rot="10800000">
              <a:off x="11830050" y="3565512"/>
              <a:ext cx="162940" cy="261868"/>
            </a:xfrm>
            <a:custGeom>
              <a:avLst/>
              <a:gdLst>
                <a:gd name="T0" fmla="*/ 173 w 217"/>
                <a:gd name="T1" fmla="*/ 349 h 349"/>
                <a:gd name="T2" fmla="*/ 144 w 217"/>
                <a:gd name="T3" fmla="*/ 337 h 349"/>
                <a:gd name="T4" fmla="*/ 12 w 217"/>
                <a:gd name="T5" fmla="*/ 205 h 349"/>
                <a:gd name="T6" fmla="*/ 0 w 217"/>
                <a:gd name="T7" fmla="*/ 176 h 349"/>
                <a:gd name="T8" fmla="*/ 12 w 217"/>
                <a:gd name="T9" fmla="*/ 148 h 349"/>
                <a:gd name="T10" fmla="*/ 144 w 217"/>
                <a:gd name="T11" fmla="*/ 16 h 349"/>
                <a:gd name="T12" fmla="*/ 201 w 217"/>
                <a:gd name="T13" fmla="*/ 16 h 349"/>
                <a:gd name="T14" fmla="*/ 201 w 217"/>
                <a:gd name="T15" fmla="*/ 72 h 349"/>
                <a:gd name="T16" fmla="*/ 97 w 217"/>
                <a:gd name="T17" fmla="*/ 176 h 349"/>
                <a:gd name="T18" fmla="*/ 201 w 217"/>
                <a:gd name="T19" fmla="*/ 281 h 349"/>
                <a:gd name="T20" fmla="*/ 201 w 217"/>
                <a:gd name="T21" fmla="*/ 337 h 349"/>
                <a:gd name="T22" fmla="*/ 173 w 217"/>
                <a:gd name="T23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7" h="349">
                  <a:moveTo>
                    <a:pt x="173" y="349"/>
                  </a:moveTo>
                  <a:cubicBezTo>
                    <a:pt x="162" y="349"/>
                    <a:pt x="152" y="345"/>
                    <a:pt x="144" y="337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4" y="197"/>
                    <a:pt x="0" y="187"/>
                    <a:pt x="0" y="176"/>
                  </a:cubicBezTo>
                  <a:cubicBezTo>
                    <a:pt x="0" y="166"/>
                    <a:pt x="4" y="156"/>
                    <a:pt x="12" y="148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60" y="0"/>
                    <a:pt x="185" y="0"/>
                    <a:pt x="201" y="16"/>
                  </a:cubicBezTo>
                  <a:cubicBezTo>
                    <a:pt x="217" y="31"/>
                    <a:pt x="217" y="57"/>
                    <a:pt x="201" y="72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201" y="281"/>
                    <a:pt x="201" y="281"/>
                    <a:pt x="201" y="281"/>
                  </a:cubicBezTo>
                  <a:cubicBezTo>
                    <a:pt x="217" y="296"/>
                    <a:pt x="217" y="322"/>
                    <a:pt x="201" y="337"/>
                  </a:cubicBezTo>
                  <a:cubicBezTo>
                    <a:pt x="193" y="345"/>
                    <a:pt x="183" y="349"/>
                    <a:pt x="173" y="3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íṧ1ïḍe">
              <a:extLst>
                <a:ext uri="{FF2B5EF4-FFF2-40B4-BE49-F238E27FC236}">
                  <a16:creationId xmlns:a16="http://schemas.microsoft.com/office/drawing/2014/main" id="{72374AC9-5F88-47CF-930D-E8E1A49CEABC}"/>
                </a:ext>
              </a:extLst>
            </p:cNvPr>
            <p:cNvSpPr/>
            <p:nvPr/>
          </p:nvSpPr>
          <p:spPr>
            <a:xfrm rot="10800000">
              <a:off x="1139" y="2591601"/>
              <a:ext cx="723900" cy="2209689"/>
            </a:xfrm>
            <a:custGeom>
              <a:avLst/>
              <a:gdLst>
                <a:gd name="connsiteX0" fmla="*/ 723900 w 723900"/>
                <a:gd name="connsiteY0" fmla="*/ 0 h 2209689"/>
                <a:gd name="connsiteX1" fmla="*/ 723900 w 723900"/>
                <a:gd name="connsiteY1" fmla="*/ 2209689 h 2209689"/>
                <a:gd name="connsiteX2" fmla="*/ 630916 w 723900"/>
                <a:gd name="connsiteY2" fmla="*/ 2164895 h 2209689"/>
                <a:gd name="connsiteX3" fmla="*/ 0 w 723900"/>
                <a:gd name="connsiteY3" fmla="*/ 1104844 h 2209689"/>
                <a:gd name="connsiteX4" fmla="*/ 630916 w 723900"/>
                <a:gd name="connsiteY4" fmla="*/ 44793 h 2209689"/>
                <a:gd name="connsiteX5" fmla="*/ 723900 w 723900"/>
                <a:gd name="connsiteY5" fmla="*/ 0 h 220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0" h="2209689">
                  <a:moveTo>
                    <a:pt x="723900" y="0"/>
                  </a:moveTo>
                  <a:lnTo>
                    <a:pt x="723900" y="2209689"/>
                  </a:lnTo>
                  <a:lnTo>
                    <a:pt x="630916" y="2164895"/>
                  </a:lnTo>
                  <a:cubicBezTo>
                    <a:pt x="255114" y="1960748"/>
                    <a:pt x="0" y="1562589"/>
                    <a:pt x="0" y="1104844"/>
                  </a:cubicBezTo>
                  <a:cubicBezTo>
                    <a:pt x="0" y="647100"/>
                    <a:pt x="255114" y="248941"/>
                    <a:pt x="630916" y="44793"/>
                  </a:cubicBezTo>
                  <a:lnTo>
                    <a:pt x="72390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ï$1íḓè">
              <a:extLst>
                <a:ext uri="{FF2B5EF4-FFF2-40B4-BE49-F238E27FC236}">
                  <a16:creationId xmlns:a16="http://schemas.microsoft.com/office/drawing/2014/main" id="{FA6E775C-5FEF-4B9A-B2F9-B1408AF41681}"/>
                </a:ext>
              </a:extLst>
            </p:cNvPr>
            <p:cNvSpPr/>
            <p:nvPr/>
          </p:nvSpPr>
          <p:spPr bwMode="auto">
            <a:xfrm>
              <a:off x="179847" y="3565512"/>
              <a:ext cx="162940" cy="261868"/>
            </a:xfrm>
            <a:custGeom>
              <a:avLst/>
              <a:gdLst>
                <a:gd name="T0" fmla="*/ 173 w 217"/>
                <a:gd name="T1" fmla="*/ 349 h 349"/>
                <a:gd name="T2" fmla="*/ 144 w 217"/>
                <a:gd name="T3" fmla="*/ 337 h 349"/>
                <a:gd name="T4" fmla="*/ 12 w 217"/>
                <a:gd name="T5" fmla="*/ 205 h 349"/>
                <a:gd name="T6" fmla="*/ 0 w 217"/>
                <a:gd name="T7" fmla="*/ 176 h 349"/>
                <a:gd name="T8" fmla="*/ 12 w 217"/>
                <a:gd name="T9" fmla="*/ 148 h 349"/>
                <a:gd name="T10" fmla="*/ 144 w 217"/>
                <a:gd name="T11" fmla="*/ 16 h 349"/>
                <a:gd name="T12" fmla="*/ 201 w 217"/>
                <a:gd name="T13" fmla="*/ 16 h 349"/>
                <a:gd name="T14" fmla="*/ 201 w 217"/>
                <a:gd name="T15" fmla="*/ 72 h 349"/>
                <a:gd name="T16" fmla="*/ 97 w 217"/>
                <a:gd name="T17" fmla="*/ 176 h 349"/>
                <a:gd name="T18" fmla="*/ 201 w 217"/>
                <a:gd name="T19" fmla="*/ 281 h 349"/>
                <a:gd name="T20" fmla="*/ 201 w 217"/>
                <a:gd name="T21" fmla="*/ 337 h 349"/>
                <a:gd name="T22" fmla="*/ 173 w 217"/>
                <a:gd name="T23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7" h="349">
                  <a:moveTo>
                    <a:pt x="173" y="349"/>
                  </a:moveTo>
                  <a:cubicBezTo>
                    <a:pt x="162" y="349"/>
                    <a:pt x="152" y="345"/>
                    <a:pt x="144" y="337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4" y="197"/>
                    <a:pt x="0" y="187"/>
                    <a:pt x="0" y="176"/>
                  </a:cubicBezTo>
                  <a:cubicBezTo>
                    <a:pt x="0" y="166"/>
                    <a:pt x="4" y="156"/>
                    <a:pt x="12" y="148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60" y="0"/>
                    <a:pt x="185" y="0"/>
                    <a:pt x="201" y="16"/>
                  </a:cubicBezTo>
                  <a:cubicBezTo>
                    <a:pt x="217" y="31"/>
                    <a:pt x="217" y="57"/>
                    <a:pt x="201" y="72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201" y="281"/>
                    <a:pt x="201" y="281"/>
                    <a:pt x="201" y="281"/>
                  </a:cubicBezTo>
                  <a:cubicBezTo>
                    <a:pt x="217" y="296"/>
                    <a:pt x="217" y="322"/>
                    <a:pt x="201" y="337"/>
                  </a:cubicBezTo>
                  <a:cubicBezTo>
                    <a:pt x="193" y="345"/>
                    <a:pt x="183" y="349"/>
                    <a:pt x="173" y="3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ïṡļîḍe">
              <a:extLst>
                <a:ext uri="{FF2B5EF4-FFF2-40B4-BE49-F238E27FC236}">
                  <a16:creationId xmlns:a16="http://schemas.microsoft.com/office/drawing/2014/main" id="{45CB8D82-A923-4EE2-8B11-38BF785B0D54}"/>
                </a:ext>
              </a:extLst>
            </p:cNvPr>
            <p:cNvGrpSpPr/>
            <p:nvPr/>
          </p:nvGrpSpPr>
          <p:grpSpPr>
            <a:xfrm>
              <a:off x="1143251" y="2286758"/>
              <a:ext cx="2723956" cy="2446392"/>
              <a:chOff x="952694" y="2286758"/>
              <a:chExt cx="2723956" cy="2446392"/>
            </a:xfrm>
          </p:grpSpPr>
          <p:grpSp>
            <p:nvGrpSpPr>
              <p:cNvPr id="25" name="iSľiďê">
                <a:extLst>
                  <a:ext uri="{FF2B5EF4-FFF2-40B4-BE49-F238E27FC236}">
                    <a16:creationId xmlns:a16="http://schemas.microsoft.com/office/drawing/2014/main" id="{BEAE6B32-67F2-42F5-BF88-EC31D4E9097F}"/>
                  </a:ext>
                </a:extLst>
              </p:cNvPr>
              <p:cNvGrpSpPr/>
              <p:nvPr/>
            </p:nvGrpSpPr>
            <p:grpSpPr>
              <a:xfrm>
                <a:off x="952694" y="3023829"/>
                <a:ext cx="2723956" cy="1228220"/>
                <a:chOff x="812066" y="3023829"/>
                <a:chExt cx="3005212" cy="1228220"/>
              </a:xfrm>
            </p:grpSpPr>
            <p:sp>
              <p:nvSpPr>
                <p:cNvPr id="28" name="îşļîḓê">
                  <a:extLst>
                    <a:ext uri="{FF2B5EF4-FFF2-40B4-BE49-F238E27FC236}">
                      <a16:creationId xmlns:a16="http://schemas.microsoft.com/office/drawing/2014/main" id="{1032F775-10A6-4E15-9078-723E2E890835}"/>
                    </a:ext>
                  </a:extLst>
                </p:cNvPr>
                <p:cNvSpPr/>
                <p:nvPr/>
              </p:nvSpPr>
              <p:spPr>
                <a:xfrm>
                  <a:off x="812066" y="3023829"/>
                  <a:ext cx="3005212" cy="1228220"/>
                </a:xfrm>
                <a:prstGeom prst="roundRect">
                  <a:avLst>
                    <a:gd name="adj" fmla="val 5186"/>
                  </a:avLst>
                </a:prstGeom>
                <a:noFill/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9" name="ïSlíḑé">
                  <a:extLst>
                    <a:ext uri="{FF2B5EF4-FFF2-40B4-BE49-F238E27FC236}">
                      <a16:creationId xmlns:a16="http://schemas.microsoft.com/office/drawing/2014/main" id="{91D91FB0-6BF6-4FB5-8DF4-108DEA99C677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162659"/>
                  <a:ext cx="2998710" cy="46402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 latinLnBrk="0"/>
                  <a:r>
                    <a:rPr lang="en-US" altLang="zh-CN" b="1" dirty="0">
                      <a:effectLst/>
                    </a:rPr>
                    <a:t>Text here</a:t>
                  </a:r>
                  <a:endParaRPr lang="zh-CN" altLang="en-US" b="1" dirty="0">
                    <a:effectLst/>
                  </a:endParaRPr>
                </a:p>
              </p:txBody>
            </p:sp>
            <p:sp>
              <p:nvSpPr>
                <p:cNvPr id="30" name="islïḋe">
                  <a:extLst>
                    <a:ext uri="{FF2B5EF4-FFF2-40B4-BE49-F238E27FC236}">
                      <a16:creationId xmlns:a16="http://schemas.microsoft.com/office/drawing/2014/main" id="{C9C7A7F0-73D1-42B6-9B86-489775664525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631574"/>
                  <a:ext cx="2998710" cy="55617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000" dirty="0"/>
                    <a:t>Copy paste fonts. Choose the only option to retain text……</a:t>
                  </a:r>
                </a:p>
              </p:txBody>
            </p:sp>
          </p:grpSp>
          <p:sp>
            <p:nvSpPr>
              <p:cNvPr id="26" name="î$ľîḓê">
                <a:extLst>
                  <a:ext uri="{FF2B5EF4-FFF2-40B4-BE49-F238E27FC236}">
                    <a16:creationId xmlns:a16="http://schemas.microsoft.com/office/drawing/2014/main" id="{7FEB2163-366C-47A9-9952-465647A0BA3D}"/>
                  </a:ext>
                </a:extLst>
              </p:cNvPr>
              <p:cNvSpPr/>
              <p:nvPr/>
            </p:nvSpPr>
            <p:spPr bwMode="auto">
              <a:xfrm>
                <a:off x="2026816" y="2286758"/>
                <a:ext cx="575710" cy="609685"/>
              </a:xfrm>
              <a:custGeom>
                <a:avLst/>
                <a:gdLst>
                  <a:gd name="connsiteX0" fmla="*/ 435703 w 572779"/>
                  <a:gd name="connsiteY0" fmla="*/ 160183 h 606580"/>
                  <a:gd name="connsiteX1" fmla="*/ 479697 w 572779"/>
                  <a:gd name="connsiteY1" fmla="*/ 160183 h 606580"/>
                  <a:gd name="connsiteX2" fmla="*/ 479581 w 572779"/>
                  <a:gd name="connsiteY2" fmla="*/ 160472 h 606580"/>
                  <a:gd name="connsiteX3" fmla="*/ 479812 w 572779"/>
                  <a:gd name="connsiteY3" fmla="*/ 160472 h 606580"/>
                  <a:gd name="connsiteX4" fmla="*/ 478713 w 572779"/>
                  <a:gd name="connsiteY4" fmla="*/ 162726 h 606580"/>
                  <a:gd name="connsiteX5" fmla="*/ 469682 w 572779"/>
                  <a:gd name="connsiteY5" fmla="*/ 187227 h 606580"/>
                  <a:gd name="connsiteX6" fmla="*/ 474776 w 572779"/>
                  <a:gd name="connsiteY6" fmla="*/ 242470 h 606580"/>
                  <a:gd name="connsiteX7" fmla="*/ 494284 w 572779"/>
                  <a:gd name="connsiteY7" fmla="*/ 242470 h 606580"/>
                  <a:gd name="connsiteX8" fmla="*/ 510840 w 572779"/>
                  <a:gd name="connsiteY8" fmla="*/ 160183 h 606580"/>
                  <a:gd name="connsiteX9" fmla="*/ 527338 w 572779"/>
                  <a:gd name="connsiteY9" fmla="*/ 160183 h 606580"/>
                  <a:gd name="connsiteX10" fmla="*/ 572779 w 572779"/>
                  <a:gd name="connsiteY10" fmla="*/ 205430 h 606580"/>
                  <a:gd name="connsiteX11" fmla="*/ 572779 w 572779"/>
                  <a:gd name="connsiteY11" fmla="*/ 337413 h 606580"/>
                  <a:gd name="connsiteX12" fmla="*/ 527396 w 572779"/>
                  <a:gd name="connsiteY12" fmla="*/ 382717 h 606580"/>
                  <a:gd name="connsiteX13" fmla="*/ 521607 w 572779"/>
                  <a:gd name="connsiteY13" fmla="*/ 382717 h 606580"/>
                  <a:gd name="connsiteX14" fmla="*/ 521607 w 572779"/>
                  <a:gd name="connsiteY14" fmla="*/ 574624 h 606580"/>
                  <a:gd name="connsiteX15" fmla="*/ 489595 w 572779"/>
                  <a:gd name="connsiteY15" fmla="*/ 606580 h 606580"/>
                  <a:gd name="connsiteX16" fmla="*/ 457815 w 572779"/>
                  <a:gd name="connsiteY16" fmla="*/ 578149 h 606580"/>
                  <a:gd name="connsiteX17" fmla="*/ 425978 w 572779"/>
                  <a:gd name="connsiteY17" fmla="*/ 606580 h 606580"/>
                  <a:gd name="connsiteX18" fmla="*/ 393966 w 572779"/>
                  <a:gd name="connsiteY18" fmla="*/ 574624 h 606580"/>
                  <a:gd name="connsiteX19" fmla="*/ 393966 w 572779"/>
                  <a:gd name="connsiteY19" fmla="*/ 392541 h 606580"/>
                  <a:gd name="connsiteX20" fmla="*/ 422967 w 572779"/>
                  <a:gd name="connsiteY20" fmla="*/ 337528 h 606580"/>
                  <a:gd name="connsiteX21" fmla="*/ 422967 w 572779"/>
                  <a:gd name="connsiteY21" fmla="*/ 242528 h 606580"/>
                  <a:gd name="connsiteX22" fmla="*/ 440739 w 572779"/>
                  <a:gd name="connsiteY22" fmla="*/ 242528 h 606580"/>
                  <a:gd name="connsiteX23" fmla="*/ 445833 w 572779"/>
                  <a:gd name="connsiteY23" fmla="*/ 186996 h 606580"/>
                  <a:gd name="connsiteX24" fmla="*/ 445196 w 572779"/>
                  <a:gd name="connsiteY24" fmla="*/ 183991 h 606580"/>
                  <a:gd name="connsiteX25" fmla="*/ 436860 w 572779"/>
                  <a:gd name="connsiteY25" fmla="*/ 162726 h 606580"/>
                  <a:gd name="connsiteX26" fmla="*/ 435818 w 572779"/>
                  <a:gd name="connsiteY26" fmla="*/ 160472 h 606580"/>
                  <a:gd name="connsiteX27" fmla="*/ 435876 w 572779"/>
                  <a:gd name="connsiteY27" fmla="*/ 160472 h 606580"/>
                  <a:gd name="connsiteX28" fmla="*/ 435703 w 572779"/>
                  <a:gd name="connsiteY28" fmla="*/ 160183 h 606580"/>
                  <a:gd name="connsiteX29" fmla="*/ 264349 w 572779"/>
                  <a:gd name="connsiteY29" fmla="*/ 160183 h 606580"/>
                  <a:gd name="connsiteX30" fmla="*/ 308327 w 572779"/>
                  <a:gd name="connsiteY30" fmla="*/ 160183 h 606580"/>
                  <a:gd name="connsiteX31" fmla="*/ 308154 w 572779"/>
                  <a:gd name="connsiteY31" fmla="*/ 160472 h 606580"/>
                  <a:gd name="connsiteX32" fmla="*/ 308385 w 572779"/>
                  <a:gd name="connsiteY32" fmla="*/ 160472 h 606580"/>
                  <a:gd name="connsiteX33" fmla="*/ 307344 w 572779"/>
                  <a:gd name="connsiteY33" fmla="*/ 162726 h 606580"/>
                  <a:gd name="connsiteX34" fmla="*/ 298316 w 572779"/>
                  <a:gd name="connsiteY34" fmla="*/ 187227 h 606580"/>
                  <a:gd name="connsiteX35" fmla="*/ 303409 w 572779"/>
                  <a:gd name="connsiteY35" fmla="*/ 242470 h 606580"/>
                  <a:gd name="connsiteX36" fmla="*/ 322910 w 572779"/>
                  <a:gd name="connsiteY36" fmla="*/ 242470 h 606580"/>
                  <a:gd name="connsiteX37" fmla="*/ 339401 w 572779"/>
                  <a:gd name="connsiteY37" fmla="*/ 160183 h 606580"/>
                  <a:gd name="connsiteX38" fmla="*/ 355951 w 572779"/>
                  <a:gd name="connsiteY38" fmla="*/ 160183 h 606580"/>
                  <a:gd name="connsiteX39" fmla="*/ 401376 w 572779"/>
                  <a:gd name="connsiteY39" fmla="*/ 205430 h 606580"/>
                  <a:gd name="connsiteX40" fmla="*/ 401376 w 572779"/>
                  <a:gd name="connsiteY40" fmla="*/ 337413 h 606580"/>
                  <a:gd name="connsiteX41" fmla="*/ 356009 w 572779"/>
                  <a:gd name="connsiteY41" fmla="*/ 382717 h 606580"/>
                  <a:gd name="connsiteX42" fmla="*/ 350222 w 572779"/>
                  <a:gd name="connsiteY42" fmla="*/ 382717 h 606580"/>
                  <a:gd name="connsiteX43" fmla="*/ 350222 w 572779"/>
                  <a:gd name="connsiteY43" fmla="*/ 574624 h 606580"/>
                  <a:gd name="connsiteX44" fmla="*/ 318222 w 572779"/>
                  <a:gd name="connsiteY44" fmla="*/ 606580 h 606580"/>
                  <a:gd name="connsiteX45" fmla="*/ 286396 w 572779"/>
                  <a:gd name="connsiteY45" fmla="*/ 578149 h 606580"/>
                  <a:gd name="connsiteX46" fmla="*/ 254628 w 572779"/>
                  <a:gd name="connsiteY46" fmla="*/ 606580 h 606580"/>
                  <a:gd name="connsiteX47" fmla="*/ 222628 w 572779"/>
                  <a:gd name="connsiteY47" fmla="*/ 574624 h 606580"/>
                  <a:gd name="connsiteX48" fmla="*/ 222628 w 572779"/>
                  <a:gd name="connsiteY48" fmla="*/ 382833 h 606580"/>
                  <a:gd name="connsiteX49" fmla="*/ 216841 w 572779"/>
                  <a:gd name="connsiteY49" fmla="*/ 382833 h 606580"/>
                  <a:gd name="connsiteX50" fmla="*/ 171474 w 572779"/>
                  <a:gd name="connsiteY50" fmla="*/ 337528 h 606580"/>
                  <a:gd name="connsiteX51" fmla="*/ 171474 w 572779"/>
                  <a:gd name="connsiteY51" fmla="*/ 205545 h 606580"/>
                  <a:gd name="connsiteX52" fmla="*/ 216841 w 572779"/>
                  <a:gd name="connsiteY52" fmla="*/ 160241 h 606580"/>
                  <a:gd name="connsiteX53" fmla="*/ 233333 w 572779"/>
                  <a:gd name="connsiteY53" fmla="*/ 160241 h 606580"/>
                  <a:gd name="connsiteX54" fmla="*/ 249825 w 572779"/>
                  <a:gd name="connsiteY54" fmla="*/ 242528 h 606580"/>
                  <a:gd name="connsiteX55" fmla="*/ 269383 w 572779"/>
                  <a:gd name="connsiteY55" fmla="*/ 242528 h 606580"/>
                  <a:gd name="connsiteX56" fmla="*/ 274476 w 572779"/>
                  <a:gd name="connsiteY56" fmla="*/ 186996 h 606580"/>
                  <a:gd name="connsiteX57" fmla="*/ 273839 w 572779"/>
                  <a:gd name="connsiteY57" fmla="*/ 183991 h 606580"/>
                  <a:gd name="connsiteX58" fmla="*/ 265506 w 572779"/>
                  <a:gd name="connsiteY58" fmla="*/ 162726 h 606580"/>
                  <a:gd name="connsiteX59" fmla="*/ 264407 w 572779"/>
                  <a:gd name="connsiteY59" fmla="*/ 160472 h 606580"/>
                  <a:gd name="connsiteX60" fmla="*/ 264523 w 572779"/>
                  <a:gd name="connsiteY60" fmla="*/ 160472 h 606580"/>
                  <a:gd name="connsiteX61" fmla="*/ 264349 w 572779"/>
                  <a:gd name="connsiteY61" fmla="*/ 160183 h 606580"/>
                  <a:gd name="connsiteX62" fmla="*/ 92987 w 572779"/>
                  <a:gd name="connsiteY62" fmla="*/ 160183 h 606580"/>
                  <a:gd name="connsiteX63" fmla="*/ 136964 w 572779"/>
                  <a:gd name="connsiteY63" fmla="*/ 160183 h 606580"/>
                  <a:gd name="connsiteX64" fmla="*/ 136791 w 572779"/>
                  <a:gd name="connsiteY64" fmla="*/ 160472 h 606580"/>
                  <a:gd name="connsiteX65" fmla="*/ 137022 w 572779"/>
                  <a:gd name="connsiteY65" fmla="*/ 160472 h 606580"/>
                  <a:gd name="connsiteX66" fmla="*/ 135923 w 572779"/>
                  <a:gd name="connsiteY66" fmla="*/ 162726 h 606580"/>
                  <a:gd name="connsiteX67" fmla="*/ 126896 w 572779"/>
                  <a:gd name="connsiteY67" fmla="*/ 187227 h 606580"/>
                  <a:gd name="connsiteX68" fmla="*/ 131988 w 572779"/>
                  <a:gd name="connsiteY68" fmla="*/ 242470 h 606580"/>
                  <a:gd name="connsiteX69" fmla="*/ 149752 w 572779"/>
                  <a:gd name="connsiteY69" fmla="*/ 242470 h 606580"/>
                  <a:gd name="connsiteX70" fmla="*/ 149752 w 572779"/>
                  <a:gd name="connsiteY70" fmla="*/ 337471 h 606580"/>
                  <a:gd name="connsiteX71" fmla="*/ 178742 w 572779"/>
                  <a:gd name="connsiteY71" fmla="*/ 392483 h 606580"/>
                  <a:gd name="connsiteX72" fmla="*/ 178742 w 572779"/>
                  <a:gd name="connsiteY72" fmla="*/ 574624 h 606580"/>
                  <a:gd name="connsiteX73" fmla="*/ 146743 w 572779"/>
                  <a:gd name="connsiteY73" fmla="*/ 606580 h 606580"/>
                  <a:gd name="connsiteX74" fmla="*/ 114976 w 572779"/>
                  <a:gd name="connsiteY74" fmla="*/ 578149 h 606580"/>
                  <a:gd name="connsiteX75" fmla="*/ 83151 w 572779"/>
                  <a:gd name="connsiteY75" fmla="*/ 606580 h 606580"/>
                  <a:gd name="connsiteX76" fmla="*/ 51152 w 572779"/>
                  <a:gd name="connsiteY76" fmla="*/ 574624 h 606580"/>
                  <a:gd name="connsiteX77" fmla="*/ 51152 w 572779"/>
                  <a:gd name="connsiteY77" fmla="*/ 382833 h 606580"/>
                  <a:gd name="connsiteX78" fmla="*/ 45365 w 572779"/>
                  <a:gd name="connsiteY78" fmla="*/ 382833 h 606580"/>
                  <a:gd name="connsiteX79" fmla="*/ 0 w 572779"/>
                  <a:gd name="connsiteY79" fmla="*/ 337528 h 606580"/>
                  <a:gd name="connsiteX80" fmla="*/ 0 w 572779"/>
                  <a:gd name="connsiteY80" fmla="*/ 205545 h 606580"/>
                  <a:gd name="connsiteX81" fmla="*/ 45365 w 572779"/>
                  <a:gd name="connsiteY81" fmla="*/ 160241 h 606580"/>
                  <a:gd name="connsiteX82" fmla="*/ 61972 w 572779"/>
                  <a:gd name="connsiteY82" fmla="*/ 160241 h 606580"/>
                  <a:gd name="connsiteX83" fmla="*/ 78464 w 572779"/>
                  <a:gd name="connsiteY83" fmla="*/ 242528 h 606580"/>
                  <a:gd name="connsiteX84" fmla="*/ 97964 w 572779"/>
                  <a:gd name="connsiteY84" fmla="*/ 242528 h 606580"/>
                  <a:gd name="connsiteX85" fmla="*/ 103056 w 572779"/>
                  <a:gd name="connsiteY85" fmla="*/ 186996 h 606580"/>
                  <a:gd name="connsiteX86" fmla="*/ 102477 w 572779"/>
                  <a:gd name="connsiteY86" fmla="*/ 183991 h 606580"/>
                  <a:gd name="connsiteX87" fmla="*/ 94145 w 572779"/>
                  <a:gd name="connsiteY87" fmla="*/ 162726 h 606580"/>
                  <a:gd name="connsiteX88" fmla="*/ 93045 w 572779"/>
                  <a:gd name="connsiteY88" fmla="*/ 160472 h 606580"/>
                  <a:gd name="connsiteX89" fmla="*/ 93103 w 572779"/>
                  <a:gd name="connsiteY89" fmla="*/ 160472 h 606580"/>
                  <a:gd name="connsiteX90" fmla="*/ 92987 w 572779"/>
                  <a:gd name="connsiteY90" fmla="*/ 160183 h 606580"/>
                  <a:gd name="connsiteX91" fmla="*/ 457411 w 572779"/>
                  <a:gd name="connsiteY91" fmla="*/ 751 h 606580"/>
                  <a:gd name="connsiteX92" fmla="*/ 458047 w 572779"/>
                  <a:gd name="connsiteY92" fmla="*/ 751 h 606580"/>
                  <a:gd name="connsiteX93" fmla="*/ 521621 w 572779"/>
                  <a:gd name="connsiteY93" fmla="*/ 49915 h 606580"/>
                  <a:gd name="connsiteX94" fmla="*/ 523761 w 572779"/>
                  <a:gd name="connsiteY94" fmla="*/ 66553 h 606580"/>
                  <a:gd name="connsiteX95" fmla="*/ 458105 w 572779"/>
                  <a:gd name="connsiteY95" fmla="*/ 132124 h 606580"/>
                  <a:gd name="connsiteX96" fmla="*/ 457469 w 572779"/>
                  <a:gd name="connsiteY96" fmla="*/ 132124 h 606580"/>
                  <a:gd name="connsiteX97" fmla="*/ 393895 w 572779"/>
                  <a:gd name="connsiteY97" fmla="*/ 82960 h 606580"/>
                  <a:gd name="connsiteX98" fmla="*/ 391755 w 572779"/>
                  <a:gd name="connsiteY98" fmla="*/ 66322 h 606580"/>
                  <a:gd name="connsiteX99" fmla="*/ 457411 w 572779"/>
                  <a:gd name="connsiteY99" fmla="*/ 751 h 606580"/>
                  <a:gd name="connsiteX100" fmla="*/ 285868 w 572779"/>
                  <a:gd name="connsiteY100" fmla="*/ 751 h 606580"/>
                  <a:gd name="connsiteX101" fmla="*/ 286621 w 572779"/>
                  <a:gd name="connsiteY101" fmla="*/ 751 h 606580"/>
                  <a:gd name="connsiteX102" fmla="*/ 350227 w 572779"/>
                  <a:gd name="connsiteY102" fmla="*/ 49915 h 606580"/>
                  <a:gd name="connsiteX103" fmla="*/ 352369 w 572779"/>
                  <a:gd name="connsiteY103" fmla="*/ 66553 h 606580"/>
                  <a:gd name="connsiteX104" fmla="*/ 286736 w 572779"/>
                  <a:gd name="connsiteY104" fmla="*/ 132124 h 606580"/>
                  <a:gd name="connsiteX105" fmla="*/ 286100 w 572779"/>
                  <a:gd name="connsiteY105" fmla="*/ 132124 h 606580"/>
                  <a:gd name="connsiteX106" fmla="*/ 222493 w 572779"/>
                  <a:gd name="connsiteY106" fmla="*/ 82845 h 606580"/>
                  <a:gd name="connsiteX107" fmla="*/ 220351 w 572779"/>
                  <a:gd name="connsiteY107" fmla="*/ 66264 h 606580"/>
                  <a:gd name="connsiteX108" fmla="*/ 285868 w 572779"/>
                  <a:gd name="connsiteY108" fmla="*/ 751 h 606580"/>
                  <a:gd name="connsiteX109" fmla="*/ 114639 w 572779"/>
                  <a:gd name="connsiteY109" fmla="*/ 751 h 606580"/>
                  <a:gd name="connsiteX110" fmla="*/ 115275 w 572779"/>
                  <a:gd name="connsiteY110" fmla="*/ 751 h 606580"/>
                  <a:gd name="connsiteX111" fmla="*/ 178882 w 572779"/>
                  <a:gd name="connsiteY111" fmla="*/ 49915 h 606580"/>
                  <a:gd name="connsiteX112" fmla="*/ 181024 w 572779"/>
                  <a:gd name="connsiteY112" fmla="*/ 66553 h 606580"/>
                  <a:gd name="connsiteX113" fmla="*/ 115333 w 572779"/>
                  <a:gd name="connsiteY113" fmla="*/ 132124 h 606580"/>
                  <a:gd name="connsiteX114" fmla="*/ 114754 w 572779"/>
                  <a:gd name="connsiteY114" fmla="*/ 132124 h 606580"/>
                  <a:gd name="connsiteX115" fmla="*/ 51148 w 572779"/>
                  <a:gd name="connsiteY115" fmla="*/ 82960 h 606580"/>
                  <a:gd name="connsiteX116" fmla="*/ 49006 w 572779"/>
                  <a:gd name="connsiteY116" fmla="*/ 66322 h 606580"/>
                  <a:gd name="connsiteX117" fmla="*/ 114639 w 572779"/>
                  <a:gd name="connsiteY117" fmla="*/ 751 h 606580"/>
                  <a:gd name="connsiteX118" fmla="*/ 457410 w 572779"/>
                  <a:gd name="connsiteY118" fmla="*/ 423 h 606580"/>
                  <a:gd name="connsiteX119" fmla="*/ 391355 w 572779"/>
                  <a:gd name="connsiteY119" fmla="*/ 66356 h 606580"/>
                  <a:gd name="connsiteX120" fmla="*/ 393497 w 572779"/>
                  <a:gd name="connsiteY120" fmla="*/ 83056 h 606580"/>
                  <a:gd name="connsiteX121" fmla="*/ 457468 w 572779"/>
                  <a:gd name="connsiteY121" fmla="*/ 132521 h 606580"/>
                  <a:gd name="connsiteX122" fmla="*/ 457815 w 572779"/>
                  <a:gd name="connsiteY122" fmla="*/ 132521 h 606580"/>
                  <a:gd name="connsiteX123" fmla="*/ 458104 w 572779"/>
                  <a:gd name="connsiteY123" fmla="*/ 132521 h 606580"/>
                  <a:gd name="connsiteX124" fmla="*/ 524159 w 572779"/>
                  <a:gd name="connsiteY124" fmla="*/ 66587 h 606580"/>
                  <a:gd name="connsiteX125" fmla="*/ 522017 w 572779"/>
                  <a:gd name="connsiteY125" fmla="*/ 49887 h 606580"/>
                  <a:gd name="connsiteX126" fmla="*/ 458046 w 572779"/>
                  <a:gd name="connsiteY126" fmla="*/ 423 h 606580"/>
                  <a:gd name="connsiteX127" fmla="*/ 457699 w 572779"/>
                  <a:gd name="connsiteY127" fmla="*/ 423 h 606580"/>
                  <a:gd name="connsiteX128" fmla="*/ 114646 w 572779"/>
                  <a:gd name="connsiteY128" fmla="*/ 423 h 606580"/>
                  <a:gd name="connsiteX129" fmla="*/ 48620 w 572779"/>
                  <a:gd name="connsiteY129" fmla="*/ 66356 h 606580"/>
                  <a:gd name="connsiteX130" fmla="*/ 50761 w 572779"/>
                  <a:gd name="connsiteY130" fmla="*/ 83056 h 606580"/>
                  <a:gd name="connsiteX131" fmla="*/ 114762 w 572779"/>
                  <a:gd name="connsiteY131" fmla="*/ 132521 h 606580"/>
                  <a:gd name="connsiteX132" fmla="*/ 115051 w 572779"/>
                  <a:gd name="connsiteY132" fmla="*/ 132521 h 606580"/>
                  <a:gd name="connsiteX133" fmla="*/ 115340 w 572779"/>
                  <a:gd name="connsiteY133" fmla="*/ 132521 h 606580"/>
                  <a:gd name="connsiteX134" fmla="*/ 181424 w 572779"/>
                  <a:gd name="connsiteY134" fmla="*/ 66587 h 606580"/>
                  <a:gd name="connsiteX135" fmla="*/ 179225 w 572779"/>
                  <a:gd name="connsiteY135" fmla="*/ 49887 h 606580"/>
                  <a:gd name="connsiteX136" fmla="*/ 115282 w 572779"/>
                  <a:gd name="connsiteY136" fmla="*/ 423 h 606580"/>
                  <a:gd name="connsiteX137" fmla="*/ 114993 w 572779"/>
                  <a:gd name="connsiteY137" fmla="*/ 423 h 606580"/>
                  <a:gd name="connsiteX138" fmla="*/ 286036 w 572779"/>
                  <a:gd name="connsiteY138" fmla="*/ 397 h 606580"/>
                  <a:gd name="connsiteX139" fmla="*/ 219952 w 572779"/>
                  <a:gd name="connsiteY139" fmla="*/ 66286 h 606580"/>
                  <a:gd name="connsiteX140" fmla="*/ 222151 w 572779"/>
                  <a:gd name="connsiteY140" fmla="*/ 82990 h 606580"/>
                  <a:gd name="connsiteX141" fmla="*/ 286094 w 572779"/>
                  <a:gd name="connsiteY141" fmla="*/ 132522 h 606580"/>
                  <a:gd name="connsiteX142" fmla="*/ 286383 w 572779"/>
                  <a:gd name="connsiteY142" fmla="*/ 132522 h 606580"/>
                  <a:gd name="connsiteX143" fmla="*/ 286730 w 572779"/>
                  <a:gd name="connsiteY143" fmla="*/ 132522 h 606580"/>
                  <a:gd name="connsiteX144" fmla="*/ 352756 w 572779"/>
                  <a:gd name="connsiteY144" fmla="*/ 66575 h 606580"/>
                  <a:gd name="connsiteX145" fmla="*/ 350615 w 572779"/>
                  <a:gd name="connsiteY145" fmla="*/ 49872 h 606580"/>
                  <a:gd name="connsiteX146" fmla="*/ 286614 w 572779"/>
                  <a:gd name="connsiteY146" fmla="*/ 397 h 606580"/>
                  <a:gd name="connsiteX147" fmla="*/ 286325 w 572779"/>
                  <a:gd name="connsiteY147" fmla="*/ 397 h 606580"/>
                  <a:gd name="connsiteX148" fmla="*/ 457411 w 572779"/>
                  <a:gd name="connsiteY148" fmla="*/ 0 h 606580"/>
                  <a:gd name="connsiteX149" fmla="*/ 458047 w 572779"/>
                  <a:gd name="connsiteY149" fmla="*/ 0 h 606580"/>
                  <a:gd name="connsiteX150" fmla="*/ 522315 w 572779"/>
                  <a:gd name="connsiteY150" fmla="*/ 49741 h 606580"/>
                  <a:gd name="connsiteX151" fmla="*/ 524513 w 572779"/>
                  <a:gd name="connsiteY151" fmla="*/ 66553 h 606580"/>
                  <a:gd name="connsiteX152" fmla="*/ 458105 w 572779"/>
                  <a:gd name="connsiteY152" fmla="*/ 132875 h 606580"/>
                  <a:gd name="connsiteX153" fmla="*/ 457469 w 572779"/>
                  <a:gd name="connsiteY153" fmla="*/ 132875 h 606580"/>
                  <a:gd name="connsiteX154" fmla="*/ 393201 w 572779"/>
                  <a:gd name="connsiteY154" fmla="*/ 83133 h 606580"/>
                  <a:gd name="connsiteX155" fmla="*/ 391003 w 572779"/>
                  <a:gd name="connsiteY155" fmla="*/ 66322 h 606580"/>
                  <a:gd name="connsiteX156" fmla="*/ 457411 w 572779"/>
                  <a:gd name="connsiteY156" fmla="*/ 0 h 606580"/>
                  <a:gd name="connsiteX157" fmla="*/ 285868 w 572779"/>
                  <a:gd name="connsiteY157" fmla="*/ 0 h 606580"/>
                  <a:gd name="connsiteX158" fmla="*/ 286621 w 572779"/>
                  <a:gd name="connsiteY158" fmla="*/ 0 h 606580"/>
                  <a:gd name="connsiteX159" fmla="*/ 350980 w 572779"/>
                  <a:gd name="connsiteY159" fmla="*/ 49741 h 606580"/>
                  <a:gd name="connsiteX160" fmla="*/ 353179 w 572779"/>
                  <a:gd name="connsiteY160" fmla="*/ 66553 h 606580"/>
                  <a:gd name="connsiteX161" fmla="*/ 286736 w 572779"/>
                  <a:gd name="connsiteY161" fmla="*/ 132875 h 606580"/>
                  <a:gd name="connsiteX162" fmla="*/ 286100 w 572779"/>
                  <a:gd name="connsiteY162" fmla="*/ 132875 h 606580"/>
                  <a:gd name="connsiteX163" fmla="*/ 221740 w 572779"/>
                  <a:gd name="connsiteY163" fmla="*/ 83076 h 606580"/>
                  <a:gd name="connsiteX164" fmla="*/ 219599 w 572779"/>
                  <a:gd name="connsiteY164" fmla="*/ 66264 h 606580"/>
                  <a:gd name="connsiteX165" fmla="*/ 285868 w 572779"/>
                  <a:gd name="connsiteY165" fmla="*/ 0 h 606580"/>
                  <a:gd name="connsiteX166" fmla="*/ 114639 w 572779"/>
                  <a:gd name="connsiteY166" fmla="*/ 0 h 606580"/>
                  <a:gd name="connsiteX167" fmla="*/ 115275 w 572779"/>
                  <a:gd name="connsiteY167" fmla="*/ 0 h 606580"/>
                  <a:gd name="connsiteX168" fmla="*/ 179635 w 572779"/>
                  <a:gd name="connsiteY168" fmla="*/ 49741 h 606580"/>
                  <a:gd name="connsiteX169" fmla="*/ 181776 w 572779"/>
                  <a:gd name="connsiteY169" fmla="*/ 66553 h 606580"/>
                  <a:gd name="connsiteX170" fmla="*/ 115333 w 572779"/>
                  <a:gd name="connsiteY170" fmla="*/ 132875 h 606580"/>
                  <a:gd name="connsiteX171" fmla="*/ 114754 w 572779"/>
                  <a:gd name="connsiteY171" fmla="*/ 132875 h 606580"/>
                  <a:gd name="connsiteX172" fmla="*/ 50395 w 572779"/>
                  <a:gd name="connsiteY172" fmla="*/ 83133 h 606580"/>
                  <a:gd name="connsiteX173" fmla="*/ 48196 w 572779"/>
                  <a:gd name="connsiteY173" fmla="*/ 66322 h 606580"/>
                  <a:gd name="connsiteX174" fmla="*/ 114639 w 572779"/>
                  <a:gd name="connsiteY174" fmla="*/ 0 h 60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572779" h="606580">
                    <a:moveTo>
                      <a:pt x="435703" y="160183"/>
                    </a:moveTo>
                    <a:lnTo>
                      <a:pt x="479697" y="160183"/>
                    </a:lnTo>
                    <a:cubicBezTo>
                      <a:pt x="479639" y="160241"/>
                      <a:pt x="479639" y="160414"/>
                      <a:pt x="479581" y="160472"/>
                    </a:cubicBezTo>
                    <a:lnTo>
                      <a:pt x="479812" y="160472"/>
                    </a:lnTo>
                    <a:cubicBezTo>
                      <a:pt x="479407" y="161281"/>
                      <a:pt x="478713" y="162726"/>
                      <a:pt x="478713" y="162726"/>
                    </a:cubicBezTo>
                    <a:cubicBezTo>
                      <a:pt x="474834" y="170989"/>
                      <a:pt x="471245" y="178848"/>
                      <a:pt x="469682" y="187227"/>
                    </a:cubicBezTo>
                    <a:lnTo>
                      <a:pt x="474776" y="242470"/>
                    </a:lnTo>
                    <a:lnTo>
                      <a:pt x="494284" y="242470"/>
                    </a:lnTo>
                    <a:lnTo>
                      <a:pt x="510840" y="160183"/>
                    </a:lnTo>
                    <a:lnTo>
                      <a:pt x="527338" y="160183"/>
                    </a:lnTo>
                    <a:cubicBezTo>
                      <a:pt x="552345" y="160183"/>
                      <a:pt x="572663" y="180466"/>
                      <a:pt x="572779" y="205430"/>
                    </a:cubicBezTo>
                    <a:lnTo>
                      <a:pt x="572779" y="337413"/>
                    </a:lnTo>
                    <a:cubicBezTo>
                      <a:pt x="572779" y="362434"/>
                      <a:pt x="552519" y="382717"/>
                      <a:pt x="527396" y="382717"/>
                    </a:cubicBezTo>
                    <a:lnTo>
                      <a:pt x="521607" y="382717"/>
                    </a:lnTo>
                    <a:lnTo>
                      <a:pt x="521607" y="574624"/>
                    </a:lnTo>
                    <a:cubicBezTo>
                      <a:pt x="521607" y="592249"/>
                      <a:pt x="507251" y="606580"/>
                      <a:pt x="489595" y="606580"/>
                    </a:cubicBezTo>
                    <a:cubicBezTo>
                      <a:pt x="473155" y="606580"/>
                      <a:pt x="459552" y="594098"/>
                      <a:pt x="457815" y="578149"/>
                    </a:cubicBezTo>
                    <a:cubicBezTo>
                      <a:pt x="456021" y="594214"/>
                      <a:pt x="442417" y="606580"/>
                      <a:pt x="425978" y="606580"/>
                    </a:cubicBezTo>
                    <a:cubicBezTo>
                      <a:pt x="408322" y="606580"/>
                      <a:pt x="393966" y="592249"/>
                      <a:pt x="393966" y="574624"/>
                    </a:cubicBezTo>
                    <a:lnTo>
                      <a:pt x="393966" y="392541"/>
                    </a:lnTo>
                    <a:cubicBezTo>
                      <a:pt x="411506" y="380521"/>
                      <a:pt x="422967" y="360354"/>
                      <a:pt x="422967" y="337528"/>
                    </a:cubicBezTo>
                    <a:lnTo>
                      <a:pt x="422967" y="242528"/>
                    </a:lnTo>
                    <a:lnTo>
                      <a:pt x="440739" y="242528"/>
                    </a:lnTo>
                    <a:lnTo>
                      <a:pt x="445833" y="186996"/>
                    </a:lnTo>
                    <a:cubicBezTo>
                      <a:pt x="445659" y="186013"/>
                      <a:pt x="445428" y="184973"/>
                      <a:pt x="445196" y="183991"/>
                    </a:cubicBezTo>
                    <a:cubicBezTo>
                      <a:pt x="443459" y="176768"/>
                      <a:pt x="440276" y="169891"/>
                      <a:pt x="436860" y="162726"/>
                    </a:cubicBezTo>
                    <a:cubicBezTo>
                      <a:pt x="436860" y="162726"/>
                      <a:pt x="436166" y="161281"/>
                      <a:pt x="435818" y="160472"/>
                    </a:cubicBezTo>
                    <a:lnTo>
                      <a:pt x="435876" y="160472"/>
                    </a:lnTo>
                    <a:cubicBezTo>
                      <a:pt x="435818" y="160356"/>
                      <a:pt x="435818" y="160241"/>
                      <a:pt x="435703" y="160183"/>
                    </a:cubicBezTo>
                    <a:close/>
                    <a:moveTo>
                      <a:pt x="264349" y="160183"/>
                    </a:moveTo>
                    <a:lnTo>
                      <a:pt x="308327" y="160183"/>
                    </a:lnTo>
                    <a:cubicBezTo>
                      <a:pt x="308269" y="160241"/>
                      <a:pt x="308269" y="160414"/>
                      <a:pt x="308154" y="160472"/>
                    </a:cubicBezTo>
                    <a:lnTo>
                      <a:pt x="308385" y="160472"/>
                    </a:lnTo>
                    <a:cubicBezTo>
                      <a:pt x="308038" y="161281"/>
                      <a:pt x="307344" y="162726"/>
                      <a:pt x="307344" y="162726"/>
                    </a:cubicBezTo>
                    <a:cubicBezTo>
                      <a:pt x="303467" y="170989"/>
                      <a:pt x="299821" y="178848"/>
                      <a:pt x="298316" y="187227"/>
                    </a:cubicBezTo>
                    <a:lnTo>
                      <a:pt x="303409" y="242470"/>
                    </a:lnTo>
                    <a:lnTo>
                      <a:pt x="322910" y="242470"/>
                    </a:lnTo>
                    <a:lnTo>
                      <a:pt x="339401" y="160183"/>
                    </a:lnTo>
                    <a:lnTo>
                      <a:pt x="355951" y="160183"/>
                    </a:lnTo>
                    <a:cubicBezTo>
                      <a:pt x="380949" y="160183"/>
                      <a:pt x="401202" y="180466"/>
                      <a:pt x="401376" y="205430"/>
                    </a:cubicBezTo>
                    <a:lnTo>
                      <a:pt x="401376" y="337413"/>
                    </a:lnTo>
                    <a:cubicBezTo>
                      <a:pt x="401376" y="362434"/>
                      <a:pt x="381065" y="382717"/>
                      <a:pt x="356009" y="382717"/>
                    </a:cubicBezTo>
                    <a:lnTo>
                      <a:pt x="350222" y="382717"/>
                    </a:lnTo>
                    <a:lnTo>
                      <a:pt x="350222" y="574624"/>
                    </a:lnTo>
                    <a:cubicBezTo>
                      <a:pt x="350222" y="592249"/>
                      <a:pt x="335872" y="606580"/>
                      <a:pt x="318222" y="606580"/>
                    </a:cubicBezTo>
                    <a:cubicBezTo>
                      <a:pt x="301788" y="606580"/>
                      <a:pt x="288190" y="594098"/>
                      <a:pt x="286396" y="578149"/>
                    </a:cubicBezTo>
                    <a:cubicBezTo>
                      <a:pt x="284660" y="594214"/>
                      <a:pt x="271062" y="606580"/>
                      <a:pt x="254628" y="606580"/>
                    </a:cubicBezTo>
                    <a:cubicBezTo>
                      <a:pt x="236978" y="606580"/>
                      <a:pt x="222628" y="592249"/>
                      <a:pt x="222628" y="574624"/>
                    </a:cubicBezTo>
                    <a:lnTo>
                      <a:pt x="222628" y="382833"/>
                    </a:lnTo>
                    <a:lnTo>
                      <a:pt x="216841" y="382833"/>
                    </a:lnTo>
                    <a:cubicBezTo>
                      <a:pt x="191727" y="382833"/>
                      <a:pt x="171474" y="362608"/>
                      <a:pt x="171474" y="337528"/>
                    </a:cubicBezTo>
                    <a:lnTo>
                      <a:pt x="171474" y="205545"/>
                    </a:lnTo>
                    <a:cubicBezTo>
                      <a:pt x="171474" y="180524"/>
                      <a:pt x="191727" y="160241"/>
                      <a:pt x="216841" y="160241"/>
                    </a:cubicBezTo>
                    <a:lnTo>
                      <a:pt x="233333" y="160241"/>
                    </a:lnTo>
                    <a:lnTo>
                      <a:pt x="249825" y="242528"/>
                    </a:lnTo>
                    <a:lnTo>
                      <a:pt x="269383" y="242528"/>
                    </a:lnTo>
                    <a:lnTo>
                      <a:pt x="274476" y="186996"/>
                    </a:lnTo>
                    <a:cubicBezTo>
                      <a:pt x="274302" y="186013"/>
                      <a:pt x="274071" y="184973"/>
                      <a:pt x="273839" y="183991"/>
                    </a:cubicBezTo>
                    <a:cubicBezTo>
                      <a:pt x="272045" y="176768"/>
                      <a:pt x="268921" y="169891"/>
                      <a:pt x="265506" y="162726"/>
                    </a:cubicBezTo>
                    <a:cubicBezTo>
                      <a:pt x="265506" y="162726"/>
                      <a:pt x="264812" y="161281"/>
                      <a:pt x="264407" y="160472"/>
                    </a:cubicBezTo>
                    <a:lnTo>
                      <a:pt x="264523" y="160472"/>
                    </a:lnTo>
                    <a:cubicBezTo>
                      <a:pt x="264407" y="160356"/>
                      <a:pt x="264407" y="160241"/>
                      <a:pt x="264349" y="160183"/>
                    </a:cubicBezTo>
                    <a:close/>
                    <a:moveTo>
                      <a:pt x="92987" y="160183"/>
                    </a:moveTo>
                    <a:lnTo>
                      <a:pt x="136964" y="160183"/>
                    </a:lnTo>
                    <a:cubicBezTo>
                      <a:pt x="136848" y="160241"/>
                      <a:pt x="136848" y="160414"/>
                      <a:pt x="136791" y="160472"/>
                    </a:cubicBezTo>
                    <a:lnTo>
                      <a:pt x="137022" y="160472"/>
                    </a:lnTo>
                    <a:cubicBezTo>
                      <a:pt x="136617" y="161281"/>
                      <a:pt x="135923" y="162726"/>
                      <a:pt x="135923" y="162726"/>
                    </a:cubicBezTo>
                    <a:cubicBezTo>
                      <a:pt x="132104" y="170989"/>
                      <a:pt x="128458" y="178848"/>
                      <a:pt x="126896" y="187227"/>
                    </a:cubicBezTo>
                    <a:lnTo>
                      <a:pt x="131988" y="242470"/>
                    </a:lnTo>
                    <a:lnTo>
                      <a:pt x="149752" y="242470"/>
                    </a:lnTo>
                    <a:lnTo>
                      <a:pt x="149752" y="337471"/>
                    </a:lnTo>
                    <a:cubicBezTo>
                      <a:pt x="149752" y="360296"/>
                      <a:pt x="161267" y="380406"/>
                      <a:pt x="178742" y="392483"/>
                    </a:cubicBezTo>
                    <a:lnTo>
                      <a:pt x="178742" y="574624"/>
                    </a:lnTo>
                    <a:cubicBezTo>
                      <a:pt x="178742" y="592249"/>
                      <a:pt x="164392" y="606580"/>
                      <a:pt x="146743" y="606580"/>
                    </a:cubicBezTo>
                    <a:cubicBezTo>
                      <a:pt x="130310" y="606580"/>
                      <a:pt x="116712" y="594098"/>
                      <a:pt x="114976" y="578149"/>
                    </a:cubicBezTo>
                    <a:cubicBezTo>
                      <a:pt x="113182" y="594214"/>
                      <a:pt x="99584" y="606580"/>
                      <a:pt x="83151" y="606580"/>
                    </a:cubicBezTo>
                    <a:cubicBezTo>
                      <a:pt x="65502" y="606580"/>
                      <a:pt x="51152" y="592249"/>
                      <a:pt x="51152" y="574624"/>
                    </a:cubicBezTo>
                    <a:lnTo>
                      <a:pt x="51152" y="382833"/>
                    </a:lnTo>
                    <a:lnTo>
                      <a:pt x="45365" y="382833"/>
                    </a:lnTo>
                    <a:cubicBezTo>
                      <a:pt x="20310" y="382833"/>
                      <a:pt x="0" y="362608"/>
                      <a:pt x="0" y="337528"/>
                    </a:cubicBezTo>
                    <a:lnTo>
                      <a:pt x="0" y="205545"/>
                    </a:lnTo>
                    <a:cubicBezTo>
                      <a:pt x="0" y="180524"/>
                      <a:pt x="20310" y="160241"/>
                      <a:pt x="45365" y="160241"/>
                    </a:cubicBezTo>
                    <a:lnTo>
                      <a:pt x="61972" y="160241"/>
                    </a:lnTo>
                    <a:lnTo>
                      <a:pt x="78464" y="242528"/>
                    </a:lnTo>
                    <a:lnTo>
                      <a:pt x="97964" y="242528"/>
                    </a:lnTo>
                    <a:lnTo>
                      <a:pt x="103056" y="186996"/>
                    </a:lnTo>
                    <a:cubicBezTo>
                      <a:pt x="102940" y="186013"/>
                      <a:pt x="102709" y="184973"/>
                      <a:pt x="102477" y="183991"/>
                    </a:cubicBezTo>
                    <a:cubicBezTo>
                      <a:pt x="100683" y="176768"/>
                      <a:pt x="97501" y="169891"/>
                      <a:pt x="94145" y="162726"/>
                    </a:cubicBezTo>
                    <a:cubicBezTo>
                      <a:pt x="94145" y="162726"/>
                      <a:pt x="93450" y="161281"/>
                      <a:pt x="93045" y="160472"/>
                    </a:cubicBezTo>
                    <a:lnTo>
                      <a:pt x="93103" y="160472"/>
                    </a:lnTo>
                    <a:cubicBezTo>
                      <a:pt x="93045" y="160356"/>
                      <a:pt x="93045" y="160241"/>
                      <a:pt x="92987" y="160183"/>
                    </a:cubicBezTo>
                    <a:close/>
                    <a:moveTo>
                      <a:pt x="457411" y="751"/>
                    </a:moveTo>
                    <a:lnTo>
                      <a:pt x="458047" y="751"/>
                    </a:lnTo>
                    <a:cubicBezTo>
                      <a:pt x="488012" y="751"/>
                      <a:pt x="514158" y="20971"/>
                      <a:pt x="521621" y="49915"/>
                    </a:cubicBezTo>
                    <a:cubicBezTo>
                      <a:pt x="523009" y="55403"/>
                      <a:pt x="523761" y="61007"/>
                      <a:pt x="523761" y="66553"/>
                    </a:cubicBezTo>
                    <a:cubicBezTo>
                      <a:pt x="523761" y="102718"/>
                      <a:pt x="494317" y="132124"/>
                      <a:pt x="458105" y="132124"/>
                    </a:cubicBezTo>
                    <a:lnTo>
                      <a:pt x="457469" y="132124"/>
                    </a:lnTo>
                    <a:cubicBezTo>
                      <a:pt x="427504" y="132124"/>
                      <a:pt x="401358" y="111904"/>
                      <a:pt x="393895" y="82960"/>
                    </a:cubicBezTo>
                    <a:cubicBezTo>
                      <a:pt x="392507" y="77472"/>
                      <a:pt x="391755" y="71868"/>
                      <a:pt x="391755" y="66322"/>
                    </a:cubicBezTo>
                    <a:cubicBezTo>
                      <a:pt x="391755" y="30157"/>
                      <a:pt x="421199" y="751"/>
                      <a:pt x="457411" y="751"/>
                    </a:cubicBezTo>
                    <a:close/>
                    <a:moveTo>
                      <a:pt x="285868" y="751"/>
                    </a:moveTo>
                    <a:lnTo>
                      <a:pt x="286621" y="751"/>
                    </a:lnTo>
                    <a:cubicBezTo>
                      <a:pt x="316601" y="751"/>
                      <a:pt x="342761" y="20971"/>
                      <a:pt x="350227" y="49915"/>
                    </a:cubicBezTo>
                    <a:cubicBezTo>
                      <a:pt x="351674" y="55403"/>
                      <a:pt x="352369" y="61007"/>
                      <a:pt x="352369" y="66553"/>
                    </a:cubicBezTo>
                    <a:cubicBezTo>
                      <a:pt x="352369" y="102718"/>
                      <a:pt x="322909" y="132124"/>
                      <a:pt x="286736" y="132124"/>
                    </a:cubicBezTo>
                    <a:lnTo>
                      <a:pt x="286100" y="132124"/>
                    </a:lnTo>
                    <a:cubicBezTo>
                      <a:pt x="256119" y="132124"/>
                      <a:pt x="229959" y="111846"/>
                      <a:pt x="222493" y="82845"/>
                    </a:cubicBezTo>
                    <a:cubicBezTo>
                      <a:pt x="221046" y="77414"/>
                      <a:pt x="220351" y="71810"/>
                      <a:pt x="220351" y="66264"/>
                    </a:cubicBezTo>
                    <a:cubicBezTo>
                      <a:pt x="220351" y="30157"/>
                      <a:pt x="249753" y="751"/>
                      <a:pt x="285868" y="751"/>
                    </a:cubicBezTo>
                    <a:close/>
                    <a:moveTo>
                      <a:pt x="114639" y="751"/>
                    </a:moveTo>
                    <a:lnTo>
                      <a:pt x="115275" y="751"/>
                    </a:lnTo>
                    <a:cubicBezTo>
                      <a:pt x="145256" y="751"/>
                      <a:pt x="171416" y="20971"/>
                      <a:pt x="178882" y="49915"/>
                    </a:cubicBezTo>
                    <a:cubicBezTo>
                      <a:pt x="180329" y="55403"/>
                      <a:pt x="181024" y="61007"/>
                      <a:pt x="181024" y="66553"/>
                    </a:cubicBezTo>
                    <a:cubicBezTo>
                      <a:pt x="181024" y="102718"/>
                      <a:pt x="151564" y="132124"/>
                      <a:pt x="115333" y="132124"/>
                    </a:cubicBezTo>
                    <a:lnTo>
                      <a:pt x="114754" y="132124"/>
                    </a:lnTo>
                    <a:cubicBezTo>
                      <a:pt x="84774" y="132124"/>
                      <a:pt x="58614" y="111904"/>
                      <a:pt x="51148" y="82960"/>
                    </a:cubicBezTo>
                    <a:cubicBezTo>
                      <a:pt x="49701" y="77472"/>
                      <a:pt x="49006" y="71868"/>
                      <a:pt x="49006" y="66322"/>
                    </a:cubicBezTo>
                    <a:cubicBezTo>
                      <a:pt x="49006" y="30157"/>
                      <a:pt x="78466" y="751"/>
                      <a:pt x="114639" y="751"/>
                    </a:cubicBezTo>
                    <a:close/>
                    <a:moveTo>
                      <a:pt x="457410" y="423"/>
                    </a:moveTo>
                    <a:cubicBezTo>
                      <a:pt x="420880" y="423"/>
                      <a:pt x="391355" y="29894"/>
                      <a:pt x="391355" y="66356"/>
                    </a:cubicBezTo>
                    <a:cubicBezTo>
                      <a:pt x="391355" y="72135"/>
                      <a:pt x="392108" y="77740"/>
                      <a:pt x="393497" y="83056"/>
                    </a:cubicBezTo>
                    <a:cubicBezTo>
                      <a:pt x="400849" y="111487"/>
                      <a:pt x="426669" y="132521"/>
                      <a:pt x="457468" y="132521"/>
                    </a:cubicBezTo>
                    <a:lnTo>
                      <a:pt x="457815" y="132521"/>
                    </a:lnTo>
                    <a:lnTo>
                      <a:pt x="458104" y="132521"/>
                    </a:lnTo>
                    <a:cubicBezTo>
                      <a:pt x="494634" y="132521"/>
                      <a:pt x="524159" y="103050"/>
                      <a:pt x="524159" y="66587"/>
                    </a:cubicBezTo>
                    <a:cubicBezTo>
                      <a:pt x="524159" y="60809"/>
                      <a:pt x="523406" y="55204"/>
                      <a:pt x="522017" y="49887"/>
                    </a:cubicBezTo>
                    <a:cubicBezTo>
                      <a:pt x="514665" y="21457"/>
                      <a:pt x="488845" y="423"/>
                      <a:pt x="458046" y="423"/>
                    </a:cubicBezTo>
                    <a:lnTo>
                      <a:pt x="457699" y="423"/>
                    </a:lnTo>
                    <a:close/>
                    <a:moveTo>
                      <a:pt x="114646" y="423"/>
                    </a:moveTo>
                    <a:cubicBezTo>
                      <a:pt x="78190" y="423"/>
                      <a:pt x="48620" y="29894"/>
                      <a:pt x="48620" y="66356"/>
                    </a:cubicBezTo>
                    <a:cubicBezTo>
                      <a:pt x="48620" y="72135"/>
                      <a:pt x="49372" y="77740"/>
                      <a:pt x="50761" y="83056"/>
                    </a:cubicBezTo>
                    <a:cubicBezTo>
                      <a:pt x="58110" y="111487"/>
                      <a:pt x="83977" y="132521"/>
                      <a:pt x="114762" y="132521"/>
                    </a:cubicBezTo>
                    <a:lnTo>
                      <a:pt x="115051" y="132521"/>
                    </a:lnTo>
                    <a:lnTo>
                      <a:pt x="115340" y="132521"/>
                    </a:lnTo>
                    <a:cubicBezTo>
                      <a:pt x="151854" y="132521"/>
                      <a:pt x="181424" y="103050"/>
                      <a:pt x="181424" y="66587"/>
                    </a:cubicBezTo>
                    <a:cubicBezTo>
                      <a:pt x="181424" y="60809"/>
                      <a:pt x="180614" y="55204"/>
                      <a:pt x="179225" y="49887"/>
                    </a:cubicBezTo>
                    <a:cubicBezTo>
                      <a:pt x="171934" y="21457"/>
                      <a:pt x="146067" y="423"/>
                      <a:pt x="115282" y="423"/>
                    </a:cubicBezTo>
                    <a:lnTo>
                      <a:pt x="114993" y="423"/>
                    </a:lnTo>
                    <a:close/>
                    <a:moveTo>
                      <a:pt x="286036" y="397"/>
                    </a:moveTo>
                    <a:cubicBezTo>
                      <a:pt x="249522" y="282"/>
                      <a:pt x="219952" y="29874"/>
                      <a:pt x="219952" y="66286"/>
                    </a:cubicBezTo>
                    <a:cubicBezTo>
                      <a:pt x="219952" y="72066"/>
                      <a:pt x="220762" y="77672"/>
                      <a:pt x="222151" y="82990"/>
                    </a:cubicBezTo>
                    <a:cubicBezTo>
                      <a:pt x="229442" y="111484"/>
                      <a:pt x="255309" y="132522"/>
                      <a:pt x="286094" y="132522"/>
                    </a:cubicBezTo>
                    <a:lnTo>
                      <a:pt x="286383" y="132522"/>
                    </a:lnTo>
                    <a:lnTo>
                      <a:pt x="286730" y="132522"/>
                    </a:lnTo>
                    <a:cubicBezTo>
                      <a:pt x="323186" y="132522"/>
                      <a:pt x="352756" y="103045"/>
                      <a:pt x="352756" y="66575"/>
                    </a:cubicBezTo>
                    <a:cubicBezTo>
                      <a:pt x="352756" y="60796"/>
                      <a:pt x="352004" y="55189"/>
                      <a:pt x="350615" y="49872"/>
                    </a:cubicBezTo>
                    <a:cubicBezTo>
                      <a:pt x="343266" y="21436"/>
                      <a:pt x="317399" y="397"/>
                      <a:pt x="286614" y="397"/>
                    </a:cubicBezTo>
                    <a:lnTo>
                      <a:pt x="286325" y="397"/>
                    </a:lnTo>
                    <a:close/>
                    <a:moveTo>
                      <a:pt x="457411" y="0"/>
                    </a:moveTo>
                    <a:lnTo>
                      <a:pt x="458047" y="0"/>
                    </a:lnTo>
                    <a:cubicBezTo>
                      <a:pt x="488359" y="0"/>
                      <a:pt x="514795" y="20451"/>
                      <a:pt x="522315" y="49741"/>
                    </a:cubicBezTo>
                    <a:cubicBezTo>
                      <a:pt x="523761" y="55230"/>
                      <a:pt x="524513" y="60891"/>
                      <a:pt x="524513" y="66553"/>
                    </a:cubicBezTo>
                    <a:cubicBezTo>
                      <a:pt x="524513" y="103122"/>
                      <a:pt x="494722" y="132875"/>
                      <a:pt x="458105" y="132875"/>
                    </a:cubicBezTo>
                    <a:lnTo>
                      <a:pt x="457469" y="132875"/>
                    </a:lnTo>
                    <a:cubicBezTo>
                      <a:pt x="427157" y="132875"/>
                      <a:pt x="400721" y="112424"/>
                      <a:pt x="393201" y="83133"/>
                    </a:cubicBezTo>
                    <a:cubicBezTo>
                      <a:pt x="391755" y="77645"/>
                      <a:pt x="391003" y="71983"/>
                      <a:pt x="391003" y="66322"/>
                    </a:cubicBezTo>
                    <a:cubicBezTo>
                      <a:pt x="391003" y="29752"/>
                      <a:pt x="420794" y="0"/>
                      <a:pt x="457411" y="0"/>
                    </a:cubicBezTo>
                    <a:close/>
                    <a:moveTo>
                      <a:pt x="285868" y="0"/>
                    </a:moveTo>
                    <a:lnTo>
                      <a:pt x="286621" y="0"/>
                    </a:lnTo>
                    <a:cubicBezTo>
                      <a:pt x="316948" y="0"/>
                      <a:pt x="343456" y="20451"/>
                      <a:pt x="350980" y="49741"/>
                    </a:cubicBezTo>
                    <a:cubicBezTo>
                      <a:pt x="352427" y="55287"/>
                      <a:pt x="353179" y="60891"/>
                      <a:pt x="353179" y="66553"/>
                    </a:cubicBezTo>
                    <a:cubicBezTo>
                      <a:pt x="353179" y="103122"/>
                      <a:pt x="323372" y="132875"/>
                      <a:pt x="286736" y="132875"/>
                    </a:cubicBezTo>
                    <a:lnTo>
                      <a:pt x="286100" y="132875"/>
                    </a:lnTo>
                    <a:cubicBezTo>
                      <a:pt x="255772" y="132875"/>
                      <a:pt x="229322" y="112366"/>
                      <a:pt x="221740" y="83076"/>
                    </a:cubicBezTo>
                    <a:cubicBezTo>
                      <a:pt x="220294" y="77530"/>
                      <a:pt x="219599" y="71868"/>
                      <a:pt x="219599" y="66264"/>
                    </a:cubicBezTo>
                    <a:cubicBezTo>
                      <a:pt x="219599" y="29695"/>
                      <a:pt x="249348" y="0"/>
                      <a:pt x="285868" y="0"/>
                    </a:cubicBezTo>
                    <a:close/>
                    <a:moveTo>
                      <a:pt x="114639" y="0"/>
                    </a:moveTo>
                    <a:lnTo>
                      <a:pt x="115275" y="0"/>
                    </a:lnTo>
                    <a:cubicBezTo>
                      <a:pt x="145603" y="0"/>
                      <a:pt x="172053" y="20451"/>
                      <a:pt x="179635" y="49741"/>
                    </a:cubicBezTo>
                    <a:cubicBezTo>
                      <a:pt x="181081" y="55230"/>
                      <a:pt x="181776" y="60891"/>
                      <a:pt x="181776" y="66553"/>
                    </a:cubicBezTo>
                    <a:cubicBezTo>
                      <a:pt x="181776" y="103122"/>
                      <a:pt x="151969" y="132875"/>
                      <a:pt x="115333" y="132875"/>
                    </a:cubicBezTo>
                    <a:lnTo>
                      <a:pt x="114754" y="132875"/>
                    </a:lnTo>
                    <a:cubicBezTo>
                      <a:pt x="84427" y="132875"/>
                      <a:pt x="57919" y="112424"/>
                      <a:pt x="50395" y="83133"/>
                    </a:cubicBezTo>
                    <a:cubicBezTo>
                      <a:pt x="48948" y="77645"/>
                      <a:pt x="48196" y="71983"/>
                      <a:pt x="48196" y="66322"/>
                    </a:cubicBezTo>
                    <a:cubicBezTo>
                      <a:pt x="48196" y="29752"/>
                      <a:pt x="78003" y="0"/>
                      <a:pt x="114639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íṧļîḋé">
                <a:extLst>
                  <a:ext uri="{FF2B5EF4-FFF2-40B4-BE49-F238E27FC236}">
                    <a16:creationId xmlns:a16="http://schemas.microsoft.com/office/drawing/2014/main" id="{4BFDED79-9629-4D3D-B7E6-0796F39749C2}"/>
                  </a:ext>
                </a:extLst>
              </p:cNvPr>
              <p:cNvSpPr txBox="1"/>
              <p:nvPr/>
            </p:nvSpPr>
            <p:spPr>
              <a:xfrm>
                <a:off x="1321874" y="4390879"/>
                <a:ext cx="1985594" cy="34227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 fontScale="92500" lnSpcReduction="20000"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de-DE" altLang="zh-CN" sz="2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... ￥ | 27 %</a:t>
                </a:r>
              </a:p>
            </p:txBody>
          </p:sp>
        </p:grpSp>
        <p:grpSp>
          <p:nvGrpSpPr>
            <p:cNvPr id="11" name="îṧľíḑé">
              <a:extLst>
                <a:ext uri="{FF2B5EF4-FFF2-40B4-BE49-F238E27FC236}">
                  <a16:creationId xmlns:a16="http://schemas.microsoft.com/office/drawing/2014/main" id="{5A1D4158-871A-4C9A-9224-FDB1EDE47BDB}"/>
                </a:ext>
              </a:extLst>
            </p:cNvPr>
            <p:cNvGrpSpPr/>
            <p:nvPr/>
          </p:nvGrpSpPr>
          <p:grpSpPr>
            <a:xfrm>
              <a:off x="4734023" y="2286758"/>
              <a:ext cx="2723956" cy="2446392"/>
              <a:chOff x="952694" y="2286758"/>
              <a:chExt cx="2723956" cy="2446392"/>
            </a:xfrm>
          </p:grpSpPr>
          <p:grpSp>
            <p:nvGrpSpPr>
              <p:cNvPr id="19" name="îŝ1îdè">
                <a:extLst>
                  <a:ext uri="{FF2B5EF4-FFF2-40B4-BE49-F238E27FC236}">
                    <a16:creationId xmlns:a16="http://schemas.microsoft.com/office/drawing/2014/main" id="{B2E98392-F7A7-4176-92F2-288CCDDF8E07}"/>
                  </a:ext>
                </a:extLst>
              </p:cNvPr>
              <p:cNvGrpSpPr/>
              <p:nvPr/>
            </p:nvGrpSpPr>
            <p:grpSpPr>
              <a:xfrm>
                <a:off x="952694" y="3023829"/>
                <a:ext cx="2723956" cy="1228220"/>
                <a:chOff x="812066" y="3023829"/>
                <a:chExt cx="3005212" cy="1228220"/>
              </a:xfrm>
            </p:grpSpPr>
            <p:sp>
              <p:nvSpPr>
                <p:cNvPr id="22" name="ïṩlíḍe">
                  <a:extLst>
                    <a:ext uri="{FF2B5EF4-FFF2-40B4-BE49-F238E27FC236}">
                      <a16:creationId xmlns:a16="http://schemas.microsoft.com/office/drawing/2014/main" id="{109BFF7C-07EE-4499-8644-5B8A569190D2}"/>
                    </a:ext>
                  </a:extLst>
                </p:cNvPr>
                <p:cNvSpPr/>
                <p:nvPr/>
              </p:nvSpPr>
              <p:spPr>
                <a:xfrm>
                  <a:off x="812066" y="3023829"/>
                  <a:ext cx="3005212" cy="1228220"/>
                </a:xfrm>
                <a:prstGeom prst="roundRect">
                  <a:avLst>
                    <a:gd name="adj" fmla="val 5186"/>
                  </a:avLst>
                </a:prstGeom>
                <a:noFill/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3" name="iṧḷïḋe">
                  <a:extLst>
                    <a:ext uri="{FF2B5EF4-FFF2-40B4-BE49-F238E27FC236}">
                      <a16:creationId xmlns:a16="http://schemas.microsoft.com/office/drawing/2014/main" id="{51E2D4C6-2AB0-492C-A0C4-4512C74BCB1E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162659"/>
                  <a:ext cx="2998710" cy="46402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 latinLnBrk="0"/>
                  <a:r>
                    <a:rPr lang="en-US" altLang="zh-CN" b="1" dirty="0">
                      <a:effectLst/>
                    </a:rPr>
                    <a:t>Text here</a:t>
                  </a:r>
                  <a:endParaRPr lang="zh-CN" altLang="en-US" b="1" dirty="0">
                    <a:effectLst/>
                  </a:endParaRPr>
                </a:p>
              </p:txBody>
            </p:sp>
            <p:sp>
              <p:nvSpPr>
                <p:cNvPr id="24" name="îş1íḑe">
                  <a:extLst>
                    <a:ext uri="{FF2B5EF4-FFF2-40B4-BE49-F238E27FC236}">
                      <a16:creationId xmlns:a16="http://schemas.microsoft.com/office/drawing/2014/main" id="{46F875BB-C12F-4625-A4E5-B899DE399FD6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631574"/>
                  <a:ext cx="2998710" cy="55617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000" dirty="0"/>
                    <a:t>Copy paste fonts. Choose the only option to retain text……</a:t>
                  </a:r>
                </a:p>
              </p:txBody>
            </p:sp>
          </p:grpSp>
          <p:sp>
            <p:nvSpPr>
              <p:cNvPr id="20" name="ïSḻiḑé">
                <a:extLst>
                  <a:ext uri="{FF2B5EF4-FFF2-40B4-BE49-F238E27FC236}">
                    <a16:creationId xmlns:a16="http://schemas.microsoft.com/office/drawing/2014/main" id="{6A6E2257-E732-4788-BD39-3AAA0FB665A4}"/>
                  </a:ext>
                </a:extLst>
              </p:cNvPr>
              <p:cNvSpPr/>
              <p:nvPr/>
            </p:nvSpPr>
            <p:spPr bwMode="auto">
              <a:xfrm>
                <a:off x="2026816" y="2286758"/>
                <a:ext cx="575710" cy="609685"/>
              </a:xfrm>
              <a:custGeom>
                <a:avLst/>
                <a:gdLst>
                  <a:gd name="connsiteX0" fmla="*/ 435703 w 572779"/>
                  <a:gd name="connsiteY0" fmla="*/ 160183 h 606580"/>
                  <a:gd name="connsiteX1" fmla="*/ 479697 w 572779"/>
                  <a:gd name="connsiteY1" fmla="*/ 160183 h 606580"/>
                  <a:gd name="connsiteX2" fmla="*/ 479581 w 572779"/>
                  <a:gd name="connsiteY2" fmla="*/ 160472 h 606580"/>
                  <a:gd name="connsiteX3" fmla="*/ 479812 w 572779"/>
                  <a:gd name="connsiteY3" fmla="*/ 160472 h 606580"/>
                  <a:gd name="connsiteX4" fmla="*/ 478713 w 572779"/>
                  <a:gd name="connsiteY4" fmla="*/ 162726 h 606580"/>
                  <a:gd name="connsiteX5" fmla="*/ 469682 w 572779"/>
                  <a:gd name="connsiteY5" fmla="*/ 187227 h 606580"/>
                  <a:gd name="connsiteX6" fmla="*/ 474776 w 572779"/>
                  <a:gd name="connsiteY6" fmla="*/ 242470 h 606580"/>
                  <a:gd name="connsiteX7" fmla="*/ 494284 w 572779"/>
                  <a:gd name="connsiteY7" fmla="*/ 242470 h 606580"/>
                  <a:gd name="connsiteX8" fmla="*/ 510840 w 572779"/>
                  <a:gd name="connsiteY8" fmla="*/ 160183 h 606580"/>
                  <a:gd name="connsiteX9" fmla="*/ 527338 w 572779"/>
                  <a:gd name="connsiteY9" fmla="*/ 160183 h 606580"/>
                  <a:gd name="connsiteX10" fmla="*/ 572779 w 572779"/>
                  <a:gd name="connsiteY10" fmla="*/ 205430 h 606580"/>
                  <a:gd name="connsiteX11" fmla="*/ 572779 w 572779"/>
                  <a:gd name="connsiteY11" fmla="*/ 337413 h 606580"/>
                  <a:gd name="connsiteX12" fmla="*/ 527396 w 572779"/>
                  <a:gd name="connsiteY12" fmla="*/ 382717 h 606580"/>
                  <a:gd name="connsiteX13" fmla="*/ 521607 w 572779"/>
                  <a:gd name="connsiteY13" fmla="*/ 382717 h 606580"/>
                  <a:gd name="connsiteX14" fmla="*/ 521607 w 572779"/>
                  <a:gd name="connsiteY14" fmla="*/ 574624 h 606580"/>
                  <a:gd name="connsiteX15" fmla="*/ 489595 w 572779"/>
                  <a:gd name="connsiteY15" fmla="*/ 606580 h 606580"/>
                  <a:gd name="connsiteX16" fmla="*/ 457815 w 572779"/>
                  <a:gd name="connsiteY16" fmla="*/ 578149 h 606580"/>
                  <a:gd name="connsiteX17" fmla="*/ 425978 w 572779"/>
                  <a:gd name="connsiteY17" fmla="*/ 606580 h 606580"/>
                  <a:gd name="connsiteX18" fmla="*/ 393966 w 572779"/>
                  <a:gd name="connsiteY18" fmla="*/ 574624 h 606580"/>
                  <a:gd name="connsiteX19" fmla="*/ 393966 w 572779"/>
                  <a:gd name="connsiteY19" fmla="*/ 392541 h 606580"/>
                  <a:gd name="connsiteX20" fmla="*/ 422967 w 572779"/>
                  <a:gd name="connsiteY20" fmla="*/ 337528 h 606580"/>
                  <a:gd name="connsiteX21" fmla="*/ 422967 w 572779"/>
                  <a:gd name="connsiteY21" fmla="*/ 242528 h 606580"/>
                  <a:gd name="connsiteX22" fmla="*/ 440739 w 572779"/>
                  <a:gd name="connsiteY22" fmla="*/ 242528 h 606580"/>
                  <a:gd name="connsiteX23" fmla="*/ 445833 w 572779"/>
                  <a:gd name="connsiteY23" fmla="*/ 186996 h 606580"/>
                  <a:gd name="connsiteX24" fmla="*/ 445196 w 572779"/>
                  <a:gd name="connsiteY24" fmla="*/ 183991 h 606580"/>
                  <a:gd name="connsiteX25" fmla="*/ 436860 w 572779"/>
                  <a:gd name="connsiteY25" fmla="*/ 162726 h 606580"/>
                  <a:gd name="connsiteX26" fmla="*/ 435818 w 572779"/>
                  <a:gd name="connsiteY26" fmla="*/ 160472 h 606580"/>
                  <a:gd name="connsiteX27" fmla="*/ 435876 w 572779"/>
                  <a:gd name="connsiteY27" fmla="*/ 160472 h 606580"/>
                  <a:gd name="connsiteX28" fmla="*/ 435703 w 572779"/>
                  <a:gd name="connsiteY28" fmla="*/ 160183 h 606580"/>
                  <a:gd name="connsiteX29" fmla="*/ 264349 w 572779"/>
                  <a:gd name="connsiteY29" fmla="*/ 160183 h 606580"/>
                  <a:gd name="connsiteX30" fmla="*/ 308327 w 572779"/>
                  <a:gd name="connsiteY30" fmla="*/ 160183 h 606580"/>
                  <a:gd name="connsiteX31" fmla="*/ 308154 w 572779"/>
                  <a:gd name="connsiteY31" fmla="*/ 160472 h 606580"/>
                  <a:gd name="connsiteX32" fmla="*/ 308385 w 572779"/>
                  <a:gd name="connsiteY32" fmla="*/ 160472 h 606580"/>
                  <a:gd name="connsiteX33" fmla="*/ 307344 w 572779"/>
                  <a:gd name="connsiteY33" fmla="*/ 162726 h 606580"/>
                  <a:gd name="connsiteX34" fmla="*/ 298316 w 572779"/>
                  <a:gd name="connsiteY34" fmla="*/ 187227 h 606580"/>
                  <a:gd name="connsiteX35" fmla="*/ 303409 w 572779"/>
                  <a:gd name="connsiteY35" fmla="*/ 242470 h 606580"/>
                  <a:gd name="connsiteX36" fmla="*/ 322910 w 572779"/>
                  <a:gd name="connsiteY36" fmla="*/ 242470 h 606580"/>
                  <a:gd name="connsiteX37" fmla="*/ 339401 w 572779"/>
                  <a:gd name="connsiteY37" fmla="*/ 160183 h 606580"/>
                  <a:gd name="connsiteX38" fmla="*/ 355951 w 572779"/>
                  <a:gd name="connsiteY38" fmla="*/ 160183 h 606580"/>
                  <a:gd name="connsiteX39" fmla="*/ 401376 w 572779"/>
                  <a:gd name="connsiteY39" fmla="*/ 205430 h 606580"/>
                  <a:gd name="connsiteX40" fmla="*/ 401376 w 572779"/>
                  <a:gd name="connsiteY40" fmla="*/ 337413 h 606580"/>
                  <a:gd name="connsiteX41" fmla="*/ 356009 w 572779"/>
                  <a:gd name="connsiteY41" fmla="*/ 382717 h 606580"/>
                  <a:gd name="connsiteX42" fmla="*/ 350222 w 572779"/>
                  <a:gd name="connsiteY42" fmla="*/ 382717 h 606580"/>
                  <a:gd name="connsiteX43" fmla="*/ 350222 w 572779"/>
                  <a:gd name="connsiteY43" fmla="*/ 574624 h 606580"/>
                  <a:gd name="connsiteX44" fmla="*/ 318222 w 572779"/>
                  <a:gd name="connsiteY44" fmla="*/ 606580 h 606580"/>
                  <a:gd name="connsiteX45" fmla="*/ 286396 w 572779"/>
                  <a:gd name="connsiteY45" fmla="*/ 578149 h 606580"/>
                  <a:gd name="connsiteX46" fmla="*/ 254628 w 572779"/>
                  <a:gd name="connsiteY46" fmla="*/ 606580 h 606580"/>
                  <a:gd name="connsiteX47" fmla="*/ 222628 w 572779"/>
                  <a:gd name="connsiteY47" fmla="*/ 574624 h 606580"/>
                  <a:gd name="connsiteX48" fmla="*/ 222628 w 572779"/>
                  <a:gd name="connsiteY48" fmla="*/ 382833 h 606580"/>
                  <a:gd name="connsiteX49" fmla="*/ 216841 w 572779"/>
                  <a:gd name="connsiteY49" fmla="*/ 382833 h 606580"/>
                  <a:gd name="connsiteX50" fmla="*/ 171474 w 572779"/>
                  <a:gd name="connsiteY50" fmla="*/ 337528 h 606580"/>
                  <a:gd name="connsiteX51" fmla="*/ 171474 w 572779"/>
                  <a:gd name="connsiteY51" fmla="*/ 205545 h 606580"/>
                  <a:gd name="connsiteX52" fmla="*/ 216841 w 572779"/>
                  <a:gd name="connsiteY52" fmla="*/ 160241 h 606580"/>
                  <a:gd name="connsiteX53" fmla="*/ 233333 w 572779"/>
                  <a:gd name="connsiteY53" fmla="*/ 160241 h 606580"/>
                  <a:gd name="connsiteX54" fmla="*/ 249825 w 572779"/>
                  <a:gd name="connsiteY54" fmla="*/ 242528 h 606580"/>
                  <a:gd name="connsiteX55" fmla="*/ 269383 w 572779"/>
                  <a:gd name="connsiteY55" fmla="*/ 242528 h 606580"/>
                  <a:gd name="connsiteX56" fmla="*/ 274476 w 572779"/>
                  <a:gd name="connsiteY56" fmla="*/ 186996 h 606580"/>
                  <a:gd name="connsiteX57" fmla="*/ 273839 w 572779"/>
                  <a:gd name="connsiteY57" fmla="*/ 183991 h 606580"/>
                  <a:gd name="connsiteX58" fmla="*/ 265506 w 572779"/>
                  <a:gd name="connsiteY58" fmla="*/ 162726 h 606580"/>
                  <a:gd name="connsiteX59" fmla="*/ 264407 w 572779"/>
                  <a:gd name="connsiteY59" fmla="*/ 160472 h 606580"/>
                  <a:gd name="connsiteX60" fmla="*/ 264523 w 572779"/>
                  <a:gd name="connsiteY60" fmla="*/ 160472 h 606580"/>
                  <a:gd name="connsiteX61" fmla="*/ 264349 w 572779"/>
                  <a:gd name="connsiteY61" fmla="*/ 160183 h 606580"/>
                  <a:gd name="connsiteX62" fmla="*/ 92987 w 572779"/>
                  <a:gd name="connsiteY62" fmla="*/ 160183 h 606580"/>
                  <a:gd name="connsiteX63" fmla="*/ 136964 w 572779"/>
                  <a:gd name="connsiteY63" fmla="*/ 160183 h 606580"/>
                  <a:gd name="connsiteX64" fmla="*/ 136791 w 572779"/>
                  <a:gd name="connsiteY64" fmla="*/ 160472 h 606580"/>
                  <a:gd name="connsiteX65" fmla="*/ 137022 w 572779"/>
                  <a:gd name="connsiteY65" fmla="*/ 160472 h 606580"/>
                  <a:gd name="connsiteX66" fmla="*/ 135923 w 572779"/>
                  <a:gd name="connsiteY66" fmla="*/ 162726 h 606580"/>
                  <a:gd name="connsiteX67" fmla="*/ 126896 w 572779"/>
                  <a:gd name="connsiteY67" fmla="*/ 187227 h 606580"/>
                  <a:gd name="connsiteX68" fmla="*/ 131988 w 572779"/>
                  <a:gd name="connsiteY68" fmla="*/ 242470 h 606580"/>
                  <a:gd name="connsiteX69" fmla="*/ 149752 w 572779"/>
                  <a:gd name="connsiteY69" fmla="*/ 242470 h 606580"/>
                  <a:gd name="connsiteX70" fmla="*/ 149752 w 572779"/>
                  <a:gd name="connsiteY70" fmla="*/ 337471 h 606580"/>
                  <a:gd name="connsiteX71" fmla="*/ 178742 w 572779"/>
                  <a:gd name="connsiteY71" fmla="*/ 392483 h 606580"/>
                  <a:gd name="connsiteX72" fmla="*/ 178742 w 572779"/>
                  <a:gd name="connsiteY72" fmla="*/ 574624 h 606580"/>
                  <a:gd name="connsiteX73" fmla="*/ 146743 w 572779"/>
                  <a:gd name="connsiteY73" fmla="*/ 606580 h 606580"/>
                  <a:gd name="connsiteX74" fmla="*/ 114976 w 572779"/>
                  <a:gd name="connsiteY74" fmla="*/ 578149 h 606580"/>
                  <a:gd name="connsiteX75" fmla="*/ 83151 w 572779"/>
                  <a:gd name="connsiteY75" fmla="*/ 606580 h 606580"/>
                  <a:gd name="connsiteX76" fmla="*/ 51152 w 572779"/>
                  <a:gd name="connsiteY76" fmla="*/ 574624 h 606580"/>
                  <a:gd name="connsiteX77" fmla="*/ 51152 w 572779"/>
                  <a:gd name="connsiteY77" fmla="*/ 382833 h 606580"/>
                  <a:gd name="connsiteX78" fmla="*/ 45365 w 572779"/>
                  <a:gd name="connsiteY78" fmla="*/ 382833 h 606580"/>
                  <a:gd name="connsiteX79" fmla="*/ 0 w 572779"/>
                  <a:gd name="connsiteY79" fmla="*/ 337528 h 606580"/>
                  <a:gd name="connsiteX80" fmla="*/ 0 w 572779"/>
                  <a:gd name="connsiteY80" fmla="*/ 205545 h 606580"/>
                  <a:gd name="connsiteX81" fmla="*/ 45365 w 572779"/>
                  <a:gd name="connsiteY81" fmla="*/ 160241 h 606580"/>
                  <a:gd name="connsiteX82" fmla="*/ 61972 w 572779"/>
                  <a:gd name="connsiteY82" fmla="*/ 160241 h 606580"/>
                  <a:gd name="connsiteX83" fmla="*/ 78464 w 572779"/>
                  <a:gd name="connsiteY83" fmla="*/ 242528 h 606580"/>
                  <a:gd name="connsiteX84" fmla="*/ 97964 w 572779"/>
                  <a:gd name="connsiteY84" fmla="*/ 242528 h 606580"/>
                  <a:gd name="connsiteX85" fmla="*/ 103056 w 572779"/>
                  <a:gd name="connsiteY85" fmla="*/ 186996 h 606580"/>
                  <a:gd name="connsiteX86" fmla="*/ 102477 w 572779"/>
                  <a:gd name="connsiteY86" fmla="*/ 183991 h 606580"/>
                  <a:gd name="connsiteX87" fmla="*/ 94145 w 572779"/>
                  <a:gd name="connsiteY87" fmla="*/ 162726 h 606580"/>
                  <a:gd name="connsiteX88" fmla="*/ 93045 w 572779"/>
                  <a:gd name="connsiteY88" fmla="*/ 160472 h 606580"/>
                  <a:gd name="connsiteX89" fmla="*/ 93103 w 572779"/>
                  <a:gd name="connsiteY89" fmla="*/ 160472 h 606580"/>
                  <a:gd name="connsiteX90" fmla="*/ 92987 w 572779"/>
                  <a:gd name="connsiteY90" fmla="*/ 160183 h 606580"/>
                  <a:gd name="connsiteX91" fmla="*/ 457411 w 572779"/>
                  <a:gd name="connsiteY91" fmla="*/ 751 h 606580"/>
                  <a:gd name="connsiteX92" fmla="*/ 458047 w 572779"/>
                  <a:gd name="connsiteY92" fmla="*/ 751 h 606580"/>
                  <a:gd name="connsiteX93" fmla="*/ 521621 w 572779"/>
                  <a:gd name="connsiteY93" fmla="*/ 49915 h 606580"/>
                  <a:gd name="connsiteX94" fmla="*/ 523761 w 572779"/>
                  <a:gd name="connsiteY94" fmla="*/ 66553 h 606580"/>
                  <a:gd name="connsiteX95" fmla="*/ 458105 w 572779"/>
                  <a:gd name="connsiteY95" fmla="*/ 132124 h 606580"/>
                  <a:gd name="connsiteX96" fmla="*/ 457469 w 572779"/>
                  <a:gd name="connsiteY96" fmla="*/ 132124 h 606580"/>
                  <a:gd name="connsiteX97" fmla="*/ 393895 w 572779"/>
                  <a:gd name="connsiteY97" fmla="*/ 82960 h 606580"/>
                  <a:gd name="connsiteX98" fmla="*/ 391755 w 572779"/>
                  <a:gd name="connsiteY98" fmla="*/ 66322 h 606580"/>
                  <a:gd name="connsiteX99" fmla="*/ 457411 w 572779"/>
                  <a:gd name="connsiteY99" fmla="*/ 751 h 606580"/>
                  <a:gd name="connsiteX100" fmla="*/ 285868 w 572779"/>
                  <a:gd name="connsiteY100" fmla="*/ 751 h 606580"/>
                  <a:gd name="connsiteX101" fmla="*/ 286621 w 572779"/>
                  <a:gd name="connsiteY101" fmla="*/ 751 h 606580"/>
                  <a:gd name="connsiteX102" fmla="*/ 350227 w 572779"/>
                  <a:gd name="connsiteY102" fmla="*/ 49915 h 606580"/>
                  <a:gd name="connsiteX103" fmla="*/ 352369 w 572779"/>
                  <a:gd name="connsiteY103" fmla="*/ 66553 h 606580"/>
                  <a:gd name="connsiteX104" fmla="*/ 286736 w 572779"/>
                  <a:gd name="connsiteY104" fmla="*/ 132124 h 606580"/>
                  <a:gd name="connsiteX105" fmla="*/ 286100 w 572779"/>
                  <a:gd name="connsiteY105" fmla="*/ 132124 h 606580"/>
                  <a:gd name="connsiteX106" fmla="*/ 222493 w 572779"/>
                  <a:gd name="connsiteY106" fmla="*/ 82845 h 606580"/>
                  <a:gd name="connsiteX107" fmla="*/ 220351 w 572779"/>
                  <a:gd name="connsiteY107" fmla="*/ 66264 h 606580"/>
                  <a:gd name="connsiteX108" fmla="*/ 285868 w 572779"/>
                  <a:gd name="connsiteY108" fmla="*/ 751 h 606580"/>
                  <a:gd name="connsiteX109" fmla="*/ 114639 w 572779"/>
                  <a:gd name="connsiteY109" fmla="*/ 751 h 606580"/>
                  <a:gd name="connsiteX110" fmla="*/ 115275 w 572779"/>
                  <a:gd name="connsiteY110" fmla="*/ 751 h 606580"/>
                  <a:gd name="connsiteX111" fmla="*/ 178882 w 572779"/>
                  <a:gd name="connsiteY111" fmla="*/ 49915 h 606580"/>
                  <a:gd name="connsiteX112" fmla="*/ 181024 w 572779"/>
                  <a:gd name="connsiteY112" fmla="*/ 66553 h 606580"/>
                  <a:gd name="connsiteX113" fmla="*/ 115333 w 572779"/>
                  <a:gd name="connsiteY113" fmla="*/ 132124 h 606580"/>
                  <a:gd name="connsiteX114" fmla="*/ 114754 w 572779"/>
                  <a:gd name="connsiteY114" fmla="*/ 132124 h 606580"/>
                  <a:gd name="connsiteX115" fmla="*/ 51148 w 572779"/>
                  <a:gd name="connsiteY115" fmla="*/ 82960 h 606580"/>
                  <a:gd name="connsiteX116" fmla="*/ 49006 w 572779"/>
                  <a:gd name="connsiteY116" fmla="*/ 66322 h 606580"/>
                  <a:gd name="connsiteX117" fmla="*/ 114639 w 572779"/>
                  <a:gd name="connsiteY117" fmla="*/ 751 h 606580"/>
                  <a:gd name="connsiteX118" fmla="*/ 457410 w 572779"/>
                  <a:gd name="connsiteY118" fmla="*/ 423 h 606580"/>
                  <a:gd name="connsiteX119" fmla="*/ 391355 w 572779"/>
                  <a:gd name="connsiteY119" fmla="*/ 66356 h 606580"/>
                  <a:gd name="connsiteX120" fmla="*/ 393497 w 572779"/>
                  <a:gd name="connsiteY120" fmla="*/ 83056 h 606580"/>
                  <a:gd name="connsiteX121" fmla="*/ 457468 w 572779"/>
                  <a:gd name="connsiteY121" fmla="*/ 132521 h 606580"/>
                  <a:gd name="connsiteX122" fmla="*/ 457815 w 572779"/>
                  <a:gd name="connsiteY122" fmla="*/ 132521 h 606580"/>
                  <a:gd name="connsiteX123" fmla="*/ 458104 w 572779"/>
                  <a:gd name="connsiteY123" fmla="*/ 132521 h 606580"/>
                  <a:gd name="connsiteX124" fmla="*/ 524159 w 572779"/>
                  <a:gd name="connsiteY124" fmla="*/ 66587 h 606580"/>
                  <a:gd name="connsiteX125" fmla="*/ 522017 w 572779"/>
                  <a:gd name="connsiteY125" fmla="*/ 49887 h 606580"/>
                  <a:gd name="connsiteX126" fmla="*/ 458046 w 572779"/>
                  <a:gd name="connsiteY126" fmla="*/ 423 h 606580"/>
                  <a:gd name="connsiteX127" fmla="*/ 457699 w 572779"/>
                  <a:gd name="connsiteY127" fmla="*/ 423 h 606580"/>
                  <a:gd name="connsiteX128" fmla="*/ 114646 w 572779"/>
                  <a:gd name="connsiteY128" fmla="*/ 423 h 606580"/>
                  <a:gd name="connsiteX129" fmla="*/ 48620 w 572779"/>
                  <a:gd name="connsiteY129" fmla="*/ 66356 h 606580"/>
                  <a:gd name="connsiteX130" fmla="*/ 50761 w 572779"/>
                  <a:gd name="connsiteY130" fmla="*/ 83056 h 606580"/>
                  <a:gd name="connsiteX131" fmla="*/ 114762 w 572779"/>
                  <a:gd name="connsiteY131" fmla="*/ 132521 h 606580"/>
                  <a:gd name="connsiteX132" fmla="*/ 115051 w 572779"/>
                  <a:gd name="connsiteY132" fmla="*/ 132521 h 606580"/>
                  <a:gd name="connsiteX133" fmla="*/ 115340 w 572779"/>
                  <a:gd name="connsiteY133" fmla="*/ 132521 h 606580"/>
                  <a:gd name="connsiteX134" fmla="*/ 181424 w 572779"/>
                  <a:gd name="connsiteY134" fmla="*/ 66587 h 606580"/>
                  <a:gd name="connsiteX135" fmla="*/ 179225 w 572779"/>
                  <a:gd name="connsiteY135" fmla="*/ 49887 h 606580"/>
                  <a:gd name="connsiteX136" fmla="*/ 115282 w 572779"/>
                  <a:gd name="connsiteY136" fmla="*/ 423 h 606580"/>
                  <a:gd name="connsiteX137" fmla="*/ 114993 w 572779"/>
                  <a:gd name="connsiteY137" fmla="*/ 423 h 606580"/>
                  <a:gd name="connsiteX138" fmla="*/ 286036 w 572779"/>
                  <a:gd name="connsiteY138" fmla="*/ 397 h 606580"/>
                  <a:gd name="connsiteX139" fmla="*/ 219952 w 572779"/>
                  <a:gd name="connsiteY139" fmla="*/ 66286 h 606580"/>
                  <a:gd name="connsiteX140" fmla="*/ 222151 w 572779"/>
                  <a:gd name="connsiteY140" fmla="*/ 82990 h 606580"/>
                  <a:gd name="connsiteX141" fmla="*/ 286094 w 572779"/>
                  <a:gd name="connsiteY141" fmla="*/ 132522 h 606580"/>
                  <a:gd name="connsiteX142" fmla="*/ 286383 w 572779"/>
                  <a:gd name="connsiteY142" fmla="*/ 132522 h 606580"/>
                  <a:gd name="connsiteX143" fmla="*/ 286730 w 572779"/>
                  <a:gd name="connsiteY143" fmla="*/ 132522 h 606580"/>
                  <a:gd name="connsiteX144" fmla="*/ 352756 w 572779"/>
                  <a:gd name="connsiteY144" fmla="*/ 66575 h 606580"/>
                  <a:gd name="connsiteX145" fmla="*/ 350615 w 572779"/>
                  <a:gd name="connsiteY145" fmla="*/ 49872 h 606580"/>
                  <a:gd name="connsiteX146" fmla="*/ 286614 w 572779"/>
                  <a:gd name="connsiteY146" fmla="*/ 397 h 606580"/>
                  <a:gd name="connsiteX147" fmla="*/ 286325 w 572779"/>
                  <a:gd name="connsiteY147" fmla="*/ 397 h 606580"/>
                  <a:gd name="connsiteX148" fmla="*/ 457411 w 572779"/>
                  <a:gd name="connsiteY148" fmla="*/ 0 h 606580"/>
                  <a:gd name="connsiteX149" fmla="*/ 458047 w 572779"/>
                  <a:gd name="connsiteY149" fmla="*/ 0 h 606580"/>
                  <a:gd name="connsiteX150" fmla="*/ 522315 w 572779"/>
                  <a:gd name="connsiteY150" fmla="*/ 49741 h 606580"/>
                  <a:gd name="connsiteX151" fmla="*/ 524513 w 572779"/>
                  <a:gd name="connsiteY151" fmla="*/ 66553 h 606580"/>
                  <a:gd name="connsiteX152" fmla="*/ 458105 w 572779"/>
                  <a:gd name="connsiteY152" fmla="*/ 132875 h 606580"/>
                  <a:gd name="connsiteX153" fmla="*/ 457469 w 572779"/>
                  <a:gd name="connsiteY153" fmla="*/ 132875 h 606580"/>
                  <a:gd name="connsiteX154" fmla="*/ 393201 w 572779"/>
                  <a:gd name="connsiteY154" fmla="*/ 83133 h 606580"/>
                  <a:gd name="connsiteX155" fmla="*/ 391003 w 572779"/>
                  <a:gd name="connsiteY155" fmla="*/ 66322 h 606580"/>
                  <a:gd name="connsiteX156" fmla="*/ 457411 w 572779"/>
                  <a:gd name="connsiteY156" fmla="*/ 0 h 606580"/>
                  <a:gd name="connsiteX157" fmla="*/ 285868 w 572779"/>
                  <a:gd name="connsiteY157" fmla="*/ 0 h 606580"/>
                  <a:gd name="connsiteX158" fmla="*/ 286621 w 572779"/>
                  <a:gd name="connsiteY158" fmla="*/ 0 h 606580"/>
                  <a:gd name="connsiteX159" fmla="*/ 350980 w 572779"/>
                  <a:gd name="connsiteY159" fmla="*/ 49741 h 606580"/>
                  <a:gd name="connsiteX160" fmla="*/ 353179 w 572779"/>
                  <a:gd name="connsiteY160" fmla="*/ 66553 h 606580"/>
                  <a:gd name="connsiteX161" fmla="*/ 286736 w 572779"/>
                  <a:gd name="connsiteY161" fmla="*/ 132875 h 606580"/>
                  <a:gd name="connsiteX162" fmla="*/ 286100 w 572779"/>
                  <a:gd name="connsiteY162" fmla="*/ 132875 h 606580"/>
                  <a:gd name="connsiteX163" fmla="*/ 221740 w 572779"/>
                  <a:gd name="connsiteY163" fmla="*/ 83076 h 606580"/>
                  <a:gd name="connsiteX164" fmla="*/ 219599 w 572779"/>
                  <a:gd name="connsiteY164" fmla="*/ 66264 h 606580"/>
                  <a:gd name="connsiteX165" fmla="*/ 285868 w 572779"/>
                  <a:gd name="connsiteY165" fmla="*/ 0 h 606580"/>
                  <a:gd name="connsiteX166" fmla="*/ 114639 w 572779"/>
                  <a:gd name="connsiteY166" fmla="*/ 0 h 606580"/>
                  <a:gd name="connsiteX167" fmla="*/ 115275 w 572779"/>
                  <a:gd name="connsiteY167" fmla="*/ 0 h 606580"/>
                  <a:gd name="connsiteX168" fmla="*/ 179635 w 572779"/>
                  <a:gd name="connsiteY168" fmla="*/ 49741 h 606580"/>
                  <a:gd name="connsiteX169" fmla="*/ 181776 w 572779"/>
                  <a:gd name="connsiteY169" fmla="*/ 66553 h 606580"/>
                  <a:gd name="connsiteX170" fmla="*/ 115333 w 572779"/>
                  <a:gd name="connsiteY170" fmla="*/ 132875 h 606580"/>
                  <a:gd name="connsiteX171" fmla="*/ 114754 w 572779"/>
                  <a:gd name="connsiteY171" fmla="*/ 132875 h 606580"/>
                  <a:gd name="connsiteX172" fmla="*/ 50395 w 572779"/>
                  <a:gd name="connsiteY172" fmla="*/ 83133 h 606580"/>
                  <a:gd name="connsiteX173" fmla="*/ 48196 w 572779"/>
                  <a:gd name="connsiteY173" fmla="*/ 66322 h 606580"/>
                  <a:gd name="connsiteX174" fmla="*/ 114639 w 572779"/>
                  <a:gd name="connsiteY174" fmla="*/ 0 h 60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572779" h="606580">
                    <a:moveTo>
                      <a:pt x="435703" y="160183"/>
                    </a:moveTo>
                    <a:lnTo>
                      <a:pt x="479697" y="160183"/>
                    </a:lnTo>
                    <a:cubicBezTo>
                      <a:pt x="479639" y="160241"/>
                      <a:pt x="479639" y="160414"/>
                      <a:pt x="479581" y="160472"/>
                    </a:cubicBezTo>
                    <a:lnTo>
                      <a:pt x="479812" y="160472"/>
                    </a:lnTo>
                    <a:cubicBezTo>
                      <a:pt x="479407" y="161281"/>
                      <a:pt x="478713" y="162726"/>
                      <a:pt x="478713" y="162726"/>
                    </a:cubicBezTo>
                    <a:cubicBezTo>
                      <a:pt x="474834" y="170989"/>
                      <a:pt x="471245" y="178848"/>
                      <a:pt x="469682" y="187227"/>
                    </a:cubicBezTo>
                    <a:lnTo>
                      <a:pt x="474776" y="242470"/>
                    </a:lnTo>
                    <a:lnTo>
                      <a:pt x="494284" y="242470"/>
                    </a:lnTo>
                    <a:lnTo>
                      <a:pt x="510840" y="160183"/>
                    </a:lnTo>
                    <a:lnTo>
                      <a:pt x="527338" y="160183"/>
                    </a:lnTo>
                    <a:cubicBezTo>
                      <a:pt x="552345" y="160183"/>
                      <a:pt x="572663" y="180466"/>
                      <a:pt x="572779" y="205430"/>
                    </a:cubicBezTo>
                    <a:lnTo>
                      <a:pt x="572779" y="337413"/>
                    </a:lnTo>
                    <a:cubicBezTo>
                      <a:pt x="572779" y="362434"/>
                      <a:pt x="552519" y="382717"/>
                      <a:pt x="527396" y="382717"/>
                    </a:cubicBezTo>
                    <a:lnTo>
                      <a:pt x="521607" y="382717"/>
                    </a:lnTo>
                    <a:lnTo>
                      <a:pt x="521607" y="574624"/>
                    </a:lnTo>
                    <a:cubicBezTo>
                      <a:pt x="521607" y="592249"/>
                      <a:pt x="507251" y="606580"/>
                      <a:pt x="489595" y="606580"/>
                    </a:cubicBezTo>
                    <a:cubicBezTo>
                      <a:pt x="473155" y="606580"/>
                      <a:pt x="459552" y="594098"/>
                      <a:pt x="457815" y="578149"/>
                    </a:cubicBezTo>
                    <a:cubicBezTo>
                      <a:pt x="456021" y="594214"/>
                      <a:pt x="442417" y="606580"/>
                      <a:pt x="425978" y="606580"/>
                    </a:cubicBezTo>
                    <a:cubicBezTo>
                      <a:pt x="408322" y="606580"/>
                      <a:pt x="393966" y="592249"/>
                      <a:pt x="393966" y="574624"/>
                    </a:cubicBezTo>
                    <a:lnTo>
                      <a:pt x="393966" y="392541"/>
                    </a:lnTo>
                    <a:cubicBezTo>
                      <a:pt x="411506" y="380521"/>
                      <a:pt x="422967" y="360354"/>
                      <a:pt x="422967" y="337528"/>
                    </a:cubicBezTo>
                    <a:lnTo>
                      <a:pt x="422967" y="242528"/>
                    </a:lnTo>
                    <a:lnTo>
                      <a:pt x="440739" y="242528"/>
                    </a:lnTo>
                    <a:lnTo>
                      <a:pt x="445833" y="186996"/>
                    </a:lnTo>
                    <a:cubicBezTo>
                      <a:pt x="445659" y="186013"/>
                      <a:pt x="445428" y="184973"/>
                      <a:pt x="445196" y="183991"/>
                    </a:cubicBezTo>
                    <a:cubicBezTo>
                      <a:pt x="443459" y="176768"/>
                      <a:pt x="440276" y="169891"/>
                      <a:pt x="436860" y="162726"/>
                    </a:cubicBezTo>
                    <a:cubicBezTo>
                      <a:pt x="436860" y="162726"/>
                      <a:pt x="436166" y="161281"/>
                      <a:pt x="435818" y="160472"/>
                    </a:cubicBezTo>
                    <a:lnTo>
                      <a:pt x="435876" y="160472"/>
                    </a:lnTo>
                    <a:cubicBezTo>
                      <a:pt x="435818" y="160356"/>
                      <a:pt x="435818" y="160241"/>
                      <a:pt x="435703" y="160183"/>
                    </a:cubicBezTo>
                    <a:close/>
                    <a:moveTo>
                      <a:pt x="264349" y="160183"/>
                    </a:moveTo>
                    <a:lnTo>
                      <a:pt x="308327" y="160183"/>
                    </a:lnTo>
                    <a:cubicBezTo>
                      <a:pt x="308269" y="160241"/>
                      <a:pt x="308269" y="160414"/>
                      <a:pt x="308154" y="160472"/>
                    </a:cubicBezTo>
                    <a:lnTo>
                      <a:pt x="308385" y="160472"/>
                    </a:lnTo>
                    <a:cubicBezTo>
                      <a:pt x="308038" y="161281"/>
                      <a:pt x="307344" y="162726"/>
                      <a:pt x="307344" y="162726"/>
                    </a:cubicBezTo>
                    <a:cubicBezTo>
                      <a:pt x="303467" y="170989"/>
                      <a:pt x="299821" y="178848"/>
                      <a:pt x="298316" y="187227"/>
                    </a:cubicBezTo>
                    <a:lnTo>
                      <a:pt x="303409" y="242470"/>
                    </a:lnTo>
                    <a:lnTo>
                      <a:pt x="322910" y="242470"/>
                    </a:lnTo>
                    <a:lnTo>
                      <a:pt x="339401" y="160183"/>
                    </a:lnTo>
                    <a:lnTo>
                      <a:pt x="355951" y="160183"/>
                    </a:lnTo>
                    <a:cubicBezTo>
                      <a:pt x="380949" y="160183"/>
                      <a:pt x="401202" y="180466"/>
                      <a:pt x="401376" y="205430"/>
                    </a:cubicBezTo>
                    <a:lnTo>
                      <a:pt x="401376" y="337413"/>
                    </a:lnTo>
                    <a:cubicBezTo>
                      <a:pt x="401376" y="362434"/>
                      <a:pt x="381065" y="382717"/>
                      <a:pt x="356009" y="382717"/>
                    </a:cubicBezTo>
                    <a:lnTo>
                      <a:pt x="350222" y="382717"/>
                    </a:lnTo>
                    <a:lnTo>
                      <a:pt x="350222" y="574624"/>
                    </a:lnTo>
                    <a:cubicBezTo>
                      <a:pt x="350222" y="592249"/>
                      <a:pt x="335872" y="606580"/>
                      <a:pt x="318222" y="606580"/>
                    </a:cubicBezTo>
                    <a:cubicBezTo>
                      <a:pt x="301788" y="606580"/>
                      <a:pt x="288190" y="594098"/>
                      <a:pt x="286396" y="578149"/>
                    </a:cubicBezTo>
                    <a:cubicBezTo>
                      <a:pt x="284660" y="594214"/>
                      <a:pt x="271062" y="606580"/>
                      <a:pt x="254628" y="606580"/>
                    </a:cubicBezTo>
                    <a:cubicBezTo>
                      <a:pt x="236978" y="606580"/>
                      <a:pt x="222628" y="592249"/>
                      <a:pt x="222628" y="574624"/>
                    </a:cubicBezTo>
                    <a:lnTo>
                      <a:pt x="222628" y="382833"/>
                    </a:lnTo>
                    <a:lnTo>
                      <a:pt x="216841" y="382833"/>
                    </a:lnTo>
                    <a:cubicBezTo>
                      <a:pt x="191727" y="382833"/>
                      <a:pt x="171474" y="362608"/>
                      <a:pt x="171474" y="337528"/>
                    </a:cubicBezTo>
                    <a:lnTo>
                      <a:pt x="171474" y="205545"/>
                    </a:lnTo>
                    <a:cubicBezTo>
                      <a:pt x="171474" y="180524"/>
                      <a:pt x="191727" y="160241"/>
                      <a:pt x="216841" y="160241"/>
                    </a:cubicBezTo>
                    <a:lnTo>
                      <a:pt x="233333" y="160241"/>
                    </a:lnTo>
                    <a:lnTo>
                      <a:pt x="249825" y="242528"/>
                    </a:lnTo>
                    <a:lnTo>
                      <a:pt x="269383" y="242528"/>
                    </a:lnTo>
                    <a:lnTo>
                      <a:pt x="274476" y="186996"/>
                    </a:lnTo>
                    <a:cubicBezTo>
                      <a:pt x="274302" y="186013"/>
                      <a:pt x="274071" y="184973"/>
                      <a:pt x="273839" y="183991"/>
                    </a:cubicBezTo>
                    <a:cubicBezTo>
                      <a:pt x="272045" y="176768"/>
                      <a:pt x="268921" y="169891"/>
                      <a:pt x="265506" y="162726"/>
                    </a:cubicBezTo>
                    <a:cubicBezTo>
                      <a:pt x="265506" y="162726"/>
                      <a:pt x="264812" y="161281"/>
                      <a:pt x="264407" y="160472"/>
                    </a:cubicBezTo>
                    <a:lnTo>
                      <a:pt x="264523" y="160472"/>
                    </a:lnTo>
                    <a:cubicBezTo>
                      <a:pt x="264407" y="160356"/>
                      <a:pt x="264407" y="160241"/>
                      <a:pt x="264349" y="160183"/>
                    </a:cubicBezTo>
                    <a:close/>
                    <a:moveTo>
                      <a:pt x="92987" y="160183"/>
                    </a:moveTo>
                    <a:lnTo>
                      <a:pt x="136964" y="160183"/>
                    </a:lnTo>
                    <a:cubicBezTo>
                      <a:pt x="136848" y="160241"/>
                      <a:pt x="136848" y="160414"/>
                      <a:pt x="136791" y="160472"/>
                    </a:cubicBezTo>
                    <a:lnTo>
                      <a:pt x="137022" y="160472"/>
                    </a:lnTo>
                    <a:cubicBezTo>
                      <a:pt x="136617" y="161281"/>
                      <a:pt x="135923" y="162726"/>
                      <a:pt x="135923" y="162726"/>
                    </a:cubicBezTo>
                    <a:cubicBezTo>
                      <a:pt x="132104" y="170989"/>
                      <a:pt x="128458" y="178848"/>
                      <a:pt x="126896" y="187227"/>
                    </a:cubicBezTo>
                    <a:lnTo>
                      <a:pt x="131988" y="242470"/>
                    </a:lnTo>
                    <a:lnTo>
                      <a:pt x="149752" y="242470"/>
                    </a:lnTo>
                    <a:lnTo>
                      <a:pt x="149752" y="337471"/>
                    </a:lnTo>
                    <a:cubicBezTo>
                      <a:pt x="149752" y="360296"/>
                      <a:pt x="161267" y="380406"/>
                      <a:pt x="178742" y="392483"/>
                    </a:cubicBezTo>
                    <a:lnTo>
                      <a:pt x="178742" y="574624"/>
                    </a:lnTo>
                    <a:cubicBezTo>
                      <a:pt x="178742" y="592249"/>
                      <a:pt x="164392" y="606580"/>
                      <a:pt x="146743" y="606580"/>
                    </a:cubicBezTo>
                    <a:cubicBezTo>
                      <a:pt x="130310" y="606580"/>
                      <a:pt x="116712" y="594098"/>
                      <a:pt x="114976" y="578149"/>
                    </a:cubicBezTo>
                    <a:cubicBezTo>
                      <a:pt x="113182" y="594214"/>
                      <a:pt x="99584" y="606580"/>
                      <a:pt x="83151" y="606580"/>
                    </a:cubicBezTo>
                    <a:cubicBezTo>
                      <a:pt x="65502" y="606580"/>
                      <a:pt x="51152" y="592249"/>
                      <a:pt x="51152" y="574624"/>
                    </a:cubicBezTo>
                    <a:lnTo>
                      <a:pt x="51152" y="382833"/>
                    </a:lnTo>
                    <a:lnTo>
                      <a:pt x="45365" y="382833"/>
                    </a:lnTo>
                    <a:cubicBezTo>
                      <a:pt x="20310" y="382833"/>
                      <a:pt x="0" y="362608"/>
                      <a:pt x="0" y="337528"/>
                    </a:cubicBezTo>
                    <a:lnTo>
                      <a:pt x="0" y="205545"/>
                    </a:lnTo>
                    <a:cubicBezTo>
                      <a:pt x="0" y="180524"/>
                      <a:pt x="20310" y="160241"/>
                      <a:pt x="45365" y="160241"/>
                    </a:cubicBezTo>
                    <a:lnTo>
                      <a:pt x="61972" y="160241"/>
                    </a:lnTo>
                    <a:lnTo>
                      <a:pt x="78464" y="242528"/>
                    </a:lnTo>
                    <a:lnTo>
                      <a:pt x="97964" y="242528"/>
                    </a:lnTo>
                    <a:lnTo>
                      <a:pt x="103056" y="186996"/>
                    </a:lnTo>
                    <a:cubicBezTo>
                      <a:pt x="102940" y="186013"/>
                      <a:pt x="102709" y="184973"/>
                      <a:pt x="102477" y="183991"/>
                    </a:cubicBezTo>
                    <a:cubicBezTo>
                      <a:pt x="100683" y="176768"/>
                      <a:pt x="97501" y="169891"/>
                      <a:pt x="94145" y="162726"/>
                    </a:cubicBezTo>
                    <a:cubicBezTo>
                      <a:pt x="94145" y="162726"/>
                      <a:pt x="93450" y="161281"/>
                      <a:pt x="93045" y="160472"/>
                    </a:cubicBezTo>
                    <a:lnTo>
                      <a:pt x="93103" y="160472"/>
                    </a:lnTo>
                    <a:cubicBezTo>
                      <a:pt x="93045" y="160356"/>
                      <a:pt x="93045" y="160241"/>
                      <a:pt x="92987" y="160183"/>
                    </a:cubicBezTo>
                    <a:close/>
                    <a:moveTo>
                      <a:pt x="457411" y="751"/>
                    </a:moveTo>
                    <a:lnTo>
                      <a:pt x="458047" y="751"/>
                    </a:lnTo>
                    <a:cubicBezTo>
                      <a:pt x="488012" y="751"/>
                      <a:pt x="514158" y="20971"/>
                      <a:pt x="521621" y="49915"/>
                    </a:cubicBezTo>
                    <a:cubicBezTo>
                      <a:pt x="523009" y="55403"/>
                      <a:pt x="523761" y="61007"/>
                      <a:pt x="523761" y="66553"/>
                    </a:cubicBezTo>
                    <a:cubicBezTo>
                      <a:pt x="523761" y="102718"/>
                      <a:pt x="494317" y="132124"/>
                      <a:pt x="458105" y="132124"/>
                    </a:cubicBezTo>
                    <a:lnTo>
                      <a:pt x="457469" y="132124"/>
                    </a:lnTo>
                    <a:cubicBezTo>
                      <a:pt x="427504" y="132124"/>
                      <a:pt x="401358" y="111904"/>
                      <a:pt x="393895" y="82960"/>
                    </a:cubicBezTo>
                    <a:cubicBezTo>
                      <a:pt x="392507" y="77472"/>
                      <a:pt x="391755" y="71868"/>
                      <a:pt x="391755" y="66322"/>
                    </a:cubicBezTo>
                    <a:cubicBezTo>
                      <a:pt x="391755" y="30157"/>
                      <a:pt x="421199" y="751"/>
                      <a:pt x="457411" y="751"/>
                    </a:cubicBezTo>
                    <a:close/>
                    <a:moveTo>
                      <a:pt x="285868" y="751"/>
                    </a:moveTo>
                    <a:lnTo>
                      <a:pt x="286621" y="751"/>
                    </a:lnTo>
                    <a:cubicBezTo>
                      <a:pt x="316601" y="751"/>
                      <a:pt x="342761" y="20971"/>
                      <a:pt x="350227" y="49915"/>
                    </a:cubicBezTo>
                    <a:cubicBezTo>
                      <a:pt x="351674" y="55403"/>
                      <a:pt x="352369" y="61007"/>
                      <a:pt x="352369" y="66553"/>
                    </a:cubicBezTo>
                    <a:cubicBezTo>
                      <a:pt x="352369" y="102718"/>
                      <a:pt x="322909" y="132124"/>
                      <a:pt x="286736" y="132124"/>
                    </a:cubicBezTo>
                    <a:lnTo>
                      <a:pt x="286100" y="132124"/>
                    </a:lnTo>
                    <a:cubicBezTo>
                      <a:pt x="256119" y="132124"/>
                      <a:pt x="229959" y="111846"/>
                      <a:pt x="222493" y="82845"/>
                    </a:cubicBezTo>
                    <a:cubicBezTo>
                      <a:pt x="221046" y="77414"/>
                      <a:pt x="220351" y="71810"/>
                      <a:pt x="220351" y="66264"/>
                    </a:cubicBezTo>
                    <a:cubicBezTo>
                      <a:pt x="220351" y="30157"/>
                      <a:pt x="249753" y="751"/>
                      <a:pt x="285868" y="751"/>
                    </a:cubicBezTo>
                    <a:close/>
                    <a:moveTo>
                      <a:pt x="114639" y="751"/>
                    </a:moveTo>
                    <a:lnTo>
                      <a:pt x="115275" y="751"/>
                    </a:lnTo>
                    <a:cubicBezTo>
                      <a:pt x="145256" y="751"/>
                      <a:pt x="171416" y="20971"/>
                      <a:pt x="178882" y="49915"/>
                    </a:cubicBezTo>
                    <a:cubicBezTo>
                      <a:pt x="180329" y="55403"/>
                      <a:pt x="181024" y="61007"/>
                      <a:pt x="181024" y="66553"/>
                    </a:cubicBezTo>
                    <a:cubicBezTo>
                      <a:pt x="181024" y="102718"/>
                      <a:pt x="151564" y="132124"/>
                      <a:pt x="115333" y="132124"/>
                    </a:cubicBezTo>
                    <a:lnTo>
                      <a:pt x="114754" y="132124"/>
                    </a:lnTo>
                    <a:cubicBezTo>
                      <a:pt x="84774" y="132124"/>
                      <a:pt x="58614" y="111904"/>
                      <a:pt x="51148" y="82960"/>
                    </a:cubicBezTo>
                    <a:cubicBezTo>
                      <a:pt x="49701" y="77472"/>
                      <a:pt x="49006" y="71868"/>
                      <a:pt x="49006" y="66322"/>
                    </a:cubicBezTo>
                    <a:cubicBezTo>
                      <a:pt x="49006" y="30157"/>
                      <a:pt x="78466" y="751"/>
                      <a:pt x="114639" y="751"/>
                    </a:cubicBezTo>
                    <a:close/>
                    <a:moveTo>
                      <a:pt x="457410" y="423"/>
                    </a:moveTo>
                    <a:cubicBezTo>
                      <a:pt x="420880" y="423"/>
                      <a:pt x="391355" y="29894"/>
                      <a:pt x="391355" y="66356"/>
                    </a:cubicBezTo>
                    <a:cubicBezTo>
                      <a:pt x="391355" y="72135"/>
                      <a:pt x="392108" y="77740"/>
                      <a:pt x="393497" y="83056"/>
                    </a:cubicBezTo>
                    <a:cubicBezTo>
                      <a:pt x="400849" y="111487"/>
                      <a:pt x="426669" y="132521"/>
                      <a:pt x="457468" y="132521"/>
                    </a:cubicBezTo>
                    <a:lnTo>
                      <a:pt x="457815" y="132521"/>
                    </a:lnTo>
                    <a:lnTo>
                      <a:pt x="458104" y="132521"/>
                    </a:lnTo>
                    <a:cubicBezTo>
                      <a:pt x="494634" y="132521"/>
                      <a:pt x="524159" y="103050"/>
                      <a:pt x="524159" y="66587"/>
                    </a:cubicBezTo>
                    <a:cubicBezTo>
                      <a:pt x="524159" y="60809"/>
                      <a:pt x="523406" y="55204"/>
                      <a:pt x="522017" y="49887"/>
                    </a:cubicBezTo>
                    <a:cubicBezTo>
                      <a:pt x="514665" y="21457"/>
                      <a:pt x="488845" y="423"/>
                      <a:pt x="458046" y="423"/>
                    </a:cubicBezTo>
                    <a:lnTo>
                      <a:pt x="457699" y="423"/>
                    </a:lnTo>
                    <a:close/>
                    <a:moveTo>
                      <a:pt x="114646" y="423"/>
                    </a:moveTo>
                    <a:cubicBezTo>
                      <a:pt x="78190" y="423"/>
                      <a:pt x="48620" y="29894"/>
                      <a:pt x="48620" y="66356"/>
                    </a:cubicBezTo>
                    <a:cubicBezTo>
                      <a:pt x="48620" y="72135"/>
                      <a:pt x="49372" y="77740"/>
                      <a:pt x="50761" y="83056"/>
                    </a:cubicBezTo>
                    <a:cubicBezTo>
                      <a:pt x="58110" y="111487"/>
                      <a:pt x="83977" y="132521"/>
                      <a:pt x="114762" y="132521"/>
                    </a:cubicBezTo>
                    <a:lnTo>
                      <a:pt x="115051" y="132521"/>
                    </a:lnTo>
                    <a:lnTo>
                      <a:pt x="115340" y="132521"/>
                    </a:lnTo>
                    <a:cubicBezTo>
                      <a:pt x="151854" y="132521"/>
                      <a:pt x="181424" y="103050"/>
                      <a:pt x="181424" y="66587"/>
                    </a:cubicBezTo>
                    <a:cubicBezTo>
                      <a:pt x="181424" y="60809"/>
                      <a:pt x="180614" y="55204"/>
                      <a:pt x="179225" y="49887"/>
                    </a:cubicBezTo>
                    <a:cubicBezTo>
                      <a:pt x="171934" y="21457"/>
                      <a:pt x="146067" y="423"/>
                      <a:pt x="115282" y="423"/>
                    </a:cubicBezTo>
                    <a:lnTo>
                      <a:pt x="114993" y="423"/>
                    </a:lnTo>
                    <a:close/>
                    <a:moveTo>
                      <a:pt x="286036" y="397"/>
                    </a:moveTo>
                    <a:cubicBezTo>
                      <a:pt x="249522" y="282"/>
                      <a:pt x="219952" y="29874"/>
                      <a:pt x="219952" y="66286"/>
                    </a:cubicBezTo>
                    <a:cubicBezTo>
                      <a:pt x="219952" y="72066"/>
                      <a:pt x="220762" y="77672"/>
                      <a:pt x="222151" y="82990"/>
                    </a:cubicBezTo>
                    <a:cubicBezTo>
                      <a:pt x="229442" y="111484"/>
                      <a:pt x="255309" y="132522"/>
                      <a:pt x="286094" y="132522"/>
                    </a:cubicBezTo>
                    <a:lnTo>
                      <a:pt x="286383" y="132522"/>
                    </a:lnTo>
                    <a:lnTo>
                      <a:pt x="286730" y="132522"/>
                    </a:lnTo>
                    <a:cubicBezTo>
                      <a:pt x="323186" y="132522"/>
                      <a:pt x="352756" y="103045"/>
                      <a:pt x="352756" y="66575"/>
                    </a:cubicBezTo>
                    <a:cubicBezTo>
                      <a:pt x="352756" y="60796"/>
                      <a:pt x="352004" y="55189"/>
                      <a:pt x="350615" y="49872"/>
                    </a:cubicBezTo>
                    <a:cubicBezTo>
                      <a:pt x="343266" y="21436"/>
                      <a:pt x="317399" y="397"/>
                      <a:pt x="286614" y="397"/>
                    </a:cubicBezTo>
                    <a:lnTo>
                      <a:pt x="286325" y="397"/>
                    </a:lnTo>
                    <a:close/>
                    <a:moveTo>
                      <a:pt x="457411" y="0"/>
                    </a:moveTo>
                    <a:lnTo>
                      <a:pt x="458047" y="0"/>
                    </a:lnTo>
                    <a:cubicBezTo>
                      <a:pt x="488359" y="0"/>
                      <a:pt x="514795" y="20451"/>
                      <a:pt x="522315" y="49741"/>
                    </a:cubicBezTo>
                    <a:cubicBezTo>
                      <a:pt x="523761" y="55230"/>
                      <a:pt x="524513" y="60891"/>
                      <a:pt x="524513" y="66553"/>
                    </a:cubicBezTo>
                    <a:cubicBezTo>
                      <a:pt x="524513" y="103122"/>
                      <a:pt x="494722" y="132875"/>
                      <a:pt x="458105" y="132875"/>
                    </a:cubicBezTo>
                    <a:lnTo>
                      <a:pt x="457469" y="132875"/>
                    </a:lnTo>
                    <a:cubicBezTo>
                      <a:pt x="427157" y="132875"/>
                      <a:pt x="400721" y="112424"/>
                      <a:pt x="393201" y="83133"/>
                    </a:cubicBezTo>
                    <a:cubicBezTo>
                      <a:pt x="391755" y="77645"/>
                      <a:pt x="391003" y="71983"/>
                      <a:pt x="391003" y="66322"/>
                    </a:cubicBezTo>
                    <a:cubicBezTo>
                      <a:pt x="391003" y="29752"/>
                      <a:pt x="420794" y="0"/>
                      <a:pt x="457411" y="0"/>
                    </a:cubicBezTo>
                    <a:close/>
                    <a:moveTo>
                      <a:pt x="285868" y="0"/>
                    </a:moveTo>
                    <a:lnTo>
                      <a:pt x="286621" y="0"/>
                    </a:lnTo>
                    <a:cubicBezTo>
                      <a:pt x="316948" y="0"/>
                      <a:pt x="343456" y="20451"/>
                      <a:pt x="350980" y="49741"/>
                    </a:cubicBezTo>
                    <a:cubicBezTo>
                      <a:pt x="352427" y="55287"/>
                      <a:pt x="353179" y="60891"/>
                      <a:pt x="353179" y="66553"/>
                    </a:cubicBezTo>
                    <a:cubicBezTo>
                      <a:pt x="353179" y="103122"/>
                      <a:pt x="323372" y="132875"/>
                      <a:pt x="286736" y="132875"/>
                    </a:cubicBezTo>
                    <a:lnTo>
                      <a:pt x="286100" y="132875"/>
                    </a:lnTo>
                    <a:cubicBezTo>
                      <a:pt x="255772" y="132875"/>
                      <a:pt x="229322" y="112366"/>
                      <a:pt x="221740" y="83076"/>
                    </a:cubicBezTo>
                    <a:cubicBezTo>
                      <a:pt x="220294" y="77530"/>
                      <a:pt x="219599" y="71868"/>
                      <a:pt x="219599" y="66264"/>
                    </a:cubicBezTo>
                    <a:cubicBezTo>
                      <a:pt x="219599" y="29695"/>
                      <a:pt x="249348" y="0"/>
                      <a:pt x="285868" y="0"/>
                    </a:cubicBezTo>
                    <a:close/>
                    <a:moveTo>
                      <a:pt x="114639" y="0"/>
                    </a:moveTo>
                    <a:lnTo>
                      <a:pt x="115275" y="0"/>
                    </a:lnTo>
                    <a:cubicBezTo>
                      <a:pt x="145603" y="0"/>
                      <a:pt x="172053" y="20451"/>
                      <a:pt x="179635" y="49741"/>
                    </a:cubicBezTo>
                    <a:cubicBezTo>
                      <a:pt x="181081" y="55230"/>
                      <a:pt x="181776" y="60891"/>
                      <a:pt x="181776" y="66553"/>
                    </a:cubicBezTo>
                    <a:cubicBezTo>
                      <a:pt x="181776" y="103122"/>
                      <a:pt x="151969" y="132875"/>
                      <a:pt x="115333" y="132875"/>
                    </a:cubicBezTo>
                    <a:lnTo>
                      <a:pt x="114754" y="132875"/>
                    </a:lnTo>
                    <a:cubicBezTo>
                      <a:pt x="84427" y="132875"/>
                      <a:pt x="57919" y="112424"/>
                      <a:pt x="50395" y="83133"/>
                    </a:cubicBezTo>
                    <a:cubicBezTo>
                      <a:pt x="48948" y="77645"/>
                      <a:pt x="48196" y="71983"/>
                      <a:pt x="48196" y="66322"/>
                    </a:cubicBezTo>
                    <a:cubicBezTo>
                      <a:pt x="48196" y="29752"/>
                      <a:pt x="78003" y="0"/>
                      <a:pt x="11463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" name="iSlîḋe">
                <a:extLst>
                  <a:ext uri="{FF2B5EF4-FFF2-40B4-BE49-F238E27FC236}">
                    <a16:creationId xmlns:a16="http://schemas.microsoft.com/office/drawing/2014/main" id="{F7C1E5EE-7A2D-47AA-ABC0-90E0AE3ED5AF}"/>
                  </a:ext>
                </a:extLst>
              </p:cNvPr>
              <p:cNvSpPr txBox="1"/>
              <p:nvPr/>
            </p:nvSpPr>
            <p:spPr>
              <a:xfrm>
                <a:off x="1321874" y="4390879"/>
                <a:ext cx="1985594" cy="34227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 fontScale="92500" lnSpcReduction="20000"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de-DE" altLang="zh-CN" sz="2000" b="1" dirty="0">
                    <a:solidFill>
                      <a:schemeClr val="accent1"/>
                    </a:solidFill>
                  </a:rPr>
                  <a:t>... ￥ | 54 %</a:t>
                </a:r>
              </a:p>
            </p:txBody>
          </p:sp>
        </p:grpSp>
        <p:grpSp>
          <p:nvGrpSpPr>
            <p:cNvPr id="12" name="ïSľîḓé">
              <a:extLst>
                <a:ext uri="{FF2B5EF4-FFF2-40B4-BE49-F238E27FC236}">
                  <a16:creationId xmlns:a16="http://schemas.microsoft.com/office/drawing/2014/main" id="{81026FF0-17B7-4F9D-86B2-ECC19AF6030E}"/>
                </a:ext>
              </a:extLst>
            </p:cNvPr>
            <p:cNvGrpSpPr/>
            <p:nvPr/>
          </p:nvGrpSpPr>
          <p:grpSpPr>
            <a:xfrm>
              <a:off x="8324794" y="2286758"/>
              <a:ext cx="2723956" cy="2446392"/>
              <a:chOff x="952694" y="2286758"/>
              <a:chExt cx="2723956" cy="2446392"/>
            </a:xfrm>
          </p:grpSpPr>
          <p:grpSp>
            <p:nvGrpSpPr>
              <p:cNvPr id="13" name="íšļíḍe">
                <a:extLst>
                  <a:ext uri="{FF2B5EF4-FFF2-40B4-BE49-F238E27FC236}">
                    <a16:creationId xmlns:a16="http://schemas.microsoft.com/office/drawing/2014/main" id="{08CEA438-C7D2-4A7C-9A08-AEADEC4C977D}"/>
                  </a:ext>
                </a:extLst>
              </p:cNvPr>
              <p:cNvGrpSpPr/>
              <p:nvPr/>
            </p:nvGrpSpPr>
            <p:grpSpPr>
              <a:xfrm>
                <a:off x="952694" y="3023829"/>
                <a:ext cx="2723956" cy="1228220"/>
                <a:chOff x="812066" y="3023829"/>
                <a:chExt cx="3005212" cy="1228220"/>
              </a:xfrm>
            </p:grpSpPr>
            <p:sp>
              <p:nvSpPr>
                <p:cNvPr id="16" name="ísḷîḑe">
                  <a:extLst>
                    <a:ext uri="{FF2B5EF4-FFF2-40B4-BE49-F238E27FC236}">
                      <a16:creationId xmlns:a16="http://schemas.microsoft.com/office/drawing/2014/main" id="{08137190-52DE-42CD-985E-F1830CE604D3}"/>
                    </a:ext>
                  </a:extLst>
                </p:cNvPr>
                <p:cNvSpPr/>
                <p:nvPr/>
              </p:nvSpPr>
              <p:spPr>
                <a:xfrm>
                  <a:off x="812066" y="3023829"/>
                  <a:ext cx="3005212" cy="1228220"/>
                </a:xfrm>
                <a:prstGeom prst="roundRect">
                  <a:avLst>
                    <a:gd name="adj" fmla="val 5186"/>
                  </a:avLst>
                </a:prstGeom>
                <a:noFill/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7" name="îšḷiḑè">
                  <a:extLst>
                    <a:ext uri="{FF2B5EF4-FFF2-40B4-BE49-F238E27FC236}">
                      <a16:creationId xmlns:a16="http://schemas.microsoft.com/office/drawing/2014/main" id="{DCD61FD7-CED6-46C2-9416-6A33817A8CFE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162659"/>
                  <a:ext cx="2998710" cy="46402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 latinLnBrk="0"/>
                  <a:r>
                    <a:rPr lang="en-US" altLang="zh-CN" b="1" dirty="0">
                      <a:effectLst/>
                    </a:rPr>
                    <a:t>Text here</a:t>
                  </a:r>
                  <a:endParaRPr lang="zh-CN" altLang="en-US" b="1" dirty="0">
                    <a:effectLst/>
                  </a:endParaRPr>
                </a:p>
              </p:txBody>
            </p:sp>
            <p:sp>
              <p:nvSpPr>
                <p:cNvPr id="18" name="íşḻídé">
                  <a:extLst>
                    <a:ext uri="{FF2B5EF4-FFF2-40B4-BE49-F238E27FC236}">
                      <a16:creationId xmlns:a16="http://schemas.microsoft.com/office/drawing/2014/main" id="{3342ABFA-C6CE-4CEA-921C-E11C78291EEF}"/>
                    </a:ext>
                  </a:extLst>
                </p:cNvPr>
                <p:cNvSpPr txBox="1"/>
                <p:nvPr/>
              </p:nvSpPr>
              <p:spPr bwMode="auto">
                <a:xfrm>
                  <a:off x="815316" y="3631574"/>
                  <a:ext cx="2998710" cy="55617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000" dirty="0"/>
                    <a:t>Copy paste fonts. Choose the only option to retain text……</a:t>
                  </a:r>
                </a:p>
              </p:txBody>
            </p:sp>
          </p:grpSp>
          <p:sp>
            <p:nvSpPr>
              <p:cNvPr id="14" name="îš1íḓe">
                <a:extLst>
                  <a:ext uri="{FF2B5EF4-FFF2-40B4-BE49-F238E27FC236}">
                    <a16:creationId xmlns:a16="http://schemas.microsoft.com/office/drawing/2014/main" id="{A128F12C-EA84-4AFE-A855-FCB0117CAC80}"/>
                  </a:ext>
                </a:extLst>
              </p:cNvPr>
              <p:cNvSpPr/>
              <p:nvPr/>
            </p:nvSpPr>
            <p:spPr bwMode="auto">
              <a:xfrm>
                <a:off x="2026816" y="2286758"/>
                <a:ext cx="575710" cy="609685"/>
              </a:xfrm>
              <a:custGeom>
                <a:avLst/>
                <a:gdLst>
                  <a:gd name="connsiteX0" fmla="*/ 435703 w 572779"/>
                  <a:gd name="connsiteY0" fmla="*/ 160183 h 606580"/>
                  <a:gd name="connsiteX1" fmla="*/ 479697 w 572779"/>
                  <a:gd name="connsiteY1" fmla="*/ 160183 h 606580"/>
                  <a:gd name="connsiteX2" fmla="*/ 479581 w 572779"/>
                  <a:gd name="connsiteY2" fmla="*/ 160472 h 606580"/>
                  <a:gd name="connsiteX3" fmla="*/ 479812 w 572779"/>
                  <a:gd name="connsiteY3" fmla="*/ 160472 h 606580"/>
                  <a:gd name="connsiteX4" fmla="*/ 478713 w 572779"/>
                  <a:gd name="connsiteY4" fmla="*/ 162726 h 606580"/>
                  <a:gd name="connsiteX5" fmla="*/ 469682 w 572779"/>
                  <a:gd name="connsiteY5" fmla="*/ 187227 h 606580"/>
                  <a:gd name="connsiteX6" fmla="*/ 474776 w 572779"/>
                  <a:gd name="connsiteY6" fmla="*/ 242470 h 606580"/>
                  <a:gd name="connsiteX7" fmla="*/ 494284 w 572779"/>
                  <a:gd name="connsiteY7" fmla="*/ 242470 h 606580"/>
                  <a:gd name="connsiteX8" fmla="*/ 510840 w 572779"/>
                  <a:gd name="connsiteY8" fmla="*/ 160183 h 606580"/>
                  <a:gd name="connsiteX9" fmla="*/ 527338 w 572779"/>
                  <a:gd name="connsiteY9" fmla="*/ 160183 h 606580"/>
                  <a:gd name="connsiteX10" fmla="*/ 572779 w 572779"/>
                  <a:gd name="connsiteY10" fmla="*/ 205430 h 606580"/>
                  <a:gd name="connsiteX11" fmla="*/ 572779 w 572779"/>
                  <a:gd name="connsiteY11" fmla="*/ 337413 h 606580"/>
                  <a:gd name="connsiteX12" fmla="*/ 527396 w 572779"/>
                  <a:gd name="connsiteY12" fmla="*/ 382717 h 606580"/>
                  <a:gd name="connsiteX13" fmla="*/ 521607 w 572779"/>
                  <a:gd name="connsiteY13" fmla="*/ 382717 h 606580"/>
                  <a:gd name="connsiteX14" fmla="*/ 521607 w 572779"/>
                  <a:gd name="connsiteY14" fmla="*/ 574624 h 606580"/>
                  <a:gd name="connsiteX15" fmla="*/ 489595 w 572779"/>
                  <a:gd name="connsiteY15" fmla="*/ 606580 h 606580"/>
                  <a:gd name="connsiteX16" fmla="*/ 457815 w 572779"/>
                  <a:gd name="connsiteY16" fmla="*/ 578149 h 606580"/>
                  <a:gd name="connsiteX17" fmla="*/ 425978 w 572779"/>
                  <a:gd name="connsiteY17" fmla="*/ 606580 h 606580"/>
                  <a:gd name="connsiteX18" fmla="*/ 393966 w 572779"/>
                  <a:gd name="connsiteY18" fmla="*/ 574624 h 606580"/>
                  <a:gd name="connsiteX19" fmla="*/ 393966 w 572779"/>
                  <a:gd name="connsiteY19" fmla="*/ 392541 h 606580"/>
                  <a:gd name="connsiteX20" fmla="*/ 422967 w 572779"/>
                  <a:gd name="connsiteY20" fmla="*/ 337528 h 606580"/>
                  <a:gd name="connsiteX21" fmla="*/ 422967 w 572779"/>
                  <a:gd name="connsiteY21" fmla="*/ 242528 h 606580"/>
                  <a:gd name="connsiteX22" fmla="*/ 440739 w 572779"/>
                  <a:gd name="connsiteY22" fmla="*/ 242528 h 606580"/>
                  <a:gd name="connsiteX23" fmla="*/ 445833 w 572779"/>
                  <a:gd name="connsiteY23" fmla="*/ 186996 h 606580"/>
                  <a:gd name="connsiteX24" fmla="*/ 445196 w 572779"/>
                  <a:gd name="connsiteY24" fmla="*/ 183991 h 606580"/>
                  <a:gd name="connsiteX25" fmla="*/ 436860 w 572779"/>
                  <a:gd name="connsiteY25" fmla="*/ 162726 h 606580"/>
                  <a:gd name="connsiteX26" fmla="*/ 435818 w 572779"/>
                  <a:gd name="connsiteY26" fmla="*/ 160472 h 606580"/>
                  <a:gd name="connsiteX27" fmla="*/ 435876 w 572779"/>
                  <a:gd name="connsiteY27" fmla="*/ 160472 h 606580"/>
                  <a:gd name="connsiteX28" fmla="*/ 435703 w 572779"/>
                  <a:gd name="connsiteY28" fmla="*/ 160183 h 606580"/>
                  <a:gd name="connsiteX29" fmla="*/ 264349 w 572779"/>
                  <a:gd name="connsiteY29" fmla="*/ 160183 h 606580"/>
                  <a:gd name="connsiteX30" fmla="*/ 308327 w 572779"/>
                  <a:gd name="connsiteY30" fmla="*/ 160183 h 606580"/>
                  <a:gd name="connsiteX31" fmla="*/ 308154 w 572779"/>
                  <a:gd name="connsiteY31" fmla="*/ 160472 h 606580"/>
                  <a:gd name="connsiteX32" fmla="*/ 308385 w 572779"/>
                  <a:gd name="connsiteY32" fmla="*/ 160472 h 606580"/>
                  <a:gd name="connsiteX33" fmla="*/ 307344 w 572779"/>
                  <a:gd name="connsiteY33" fmla="*/ 162726 h 606580"/>
                  <a:gd name="connsiteX34" fmla="*/ 298316 w 572779"/>
                  <a:gd name="connsiteY34" fmla="*/ 187227 h 606580"/>
                  <a:gd name="connsiteX35" fmla="*/ 303409 w 572779"/>
                  <a:gd name="connsiteY35" fmla="*/ 242470 h 606580"/>
                  <a:gd name="connsiteX36" fmla="*/ 322910 w 572779"/>
                  <a:gd name="connsiteY36" fmla="*/ 242470 h 606580"/>
                  <a:gd name="connsiteX37" fmla="*/ 339401 w 572779"/>
                  <a:gd name="connsiteY37" fmla="*/ 160183 h 606580"/>
                  <a:gd name="connsiteX38" fmla="*/ 355951 w 572779"/>
                  <a:gd name="connsiteY38" fmla="*/ 160183 h 606580"/>
                  <a:gd name="connsiteX39" fmla="*/ 401376 w 572779"/>
                  <a:gd name="connsiteY39" fmla="*/ 205430 h 606580"/>
                  <a:gd name="connsiteX40" fmla="*/ 401376 w 572779"/>
                  <a:gd name="connsiteY40" fmla="*/ 337413 h 606580"/>
                  <a:gd name="connsiteX41" fmla="*/ 356009 w 572779"/>
                  <a:gd name="connsiteY41" fmla="*/ 382717 h 606580"/>
                  <a:gd name="connsiteX42" fmla="*/ 350222 w 572779"/>
                  <a:gd name="connsiteY42" fmla="*/ 382717 h 606580"/>
                  <a:gd name="connsiteX43" fmla="*/ 350222 w 572779"/>
                  <a:gd name="connsiteY43" fmla="*/ 574624 h 606580"/>
                  <a:gd name="connsiteX44" fmla="*/ 318222 w 572779"/>
                  <a:gd name="connsiteY44" fmla="*/ 606580 h 606580"/>
                  <a:gd name="connsiteX45" fmla="*/ 286396 w 572779"/>
                  <a:gd name="connsiteY45" fmla="*/ 578149 h 606580"/>
                  <a:gd name="connsiteX46" fmla="*/ 254628 w 572779"/>
                  <a:gd name="connsiteY46" fmla="*/ 606580 h 606580"/>
                  <a:gd name="connsiteX47" fmla="*/ 222628 w 572779"/>
                  <a:gd name="connsiteY47" fmla="*/ 574624 h 606580"/>
                  <a:gd name="connsiteX48" fmla="*/ 222628 w 572779"/>
                  <a:gd name="connsiteY48" fmla="*/ 382833 h 606580"/>
                  <a:gd name="connsiteX49" fmla="*/ 216841 w 572779"/>
                  <a:gd name="connsiteY49" fmla="*/ 382833 h 606580"/>
                  <a:gd name="connsiteX50" fmla="*/ 171474 w 572779"/>
                  <a:gd name="connsiteY50" fmla="*/ 337528 h 606580"/>
                  <a:gd name="connsiteX51" fmla="*/ 171474 w 572779"/>
                  <a:gd name="connsiteY51" fmla="*/ 205545 h 606580"/>
                  <a:gd name="connsiteX52" fmla="*/ 216841 w 572779"/>
                  <a:gd name="connsiteY52" fmla="*/ 160241 h 606580"/>
                  <a:gd name="connsiteX53" fmla="*/ 233333 w 572779"/>
                  <a:gd name="connsiteY53" fmla="*/ 160241 h 606580"/>
                  <a:gd name="connsiteX54" fmla="*/ 249825 w 572779"/>
                  <a:gd name="connsiteY54" fmla="*/ 242528 h 606580"/>
                  <a:gd name="connsiteX55" fmla="*/ 269383 w 572779"/>
                  <a:gd name="connsiteY55" fmla="*/ 242528 h 606580"/>
                  <a:gd name="connsiteX56" fmla="*/ 274476 w 572779"/>
                  <a:gd name="connsiteY56" fmla="*/ 186996 h 606580"/>
                  <a:gd name="connsiteX57" fmla="*/ 273839 w 572779"/>
                  <a:gd name="connsiteY57" fmla="*/ 183991 h 606580"/>
                  <a:gd name="connsiteX58" fmla="*/ 265506 w 572779"/>
                  <a:gd name="connsiteY58" fmla="*/ 162726 h 606580"/>
                  <a:gd name="connsiteX59" fmla="*/ 264407 w 572779"/>
                  <a:gd name="connsiteY59" fmla="*/ 160472 h 606580"/>
                  <a:gd name="connsiteX60" fmla="*/ 264523 w 572779"/>
                  <a:gd name="connsiteY60" fmla="*/ 160472 h 606580"/>
                  <a:gd name="connsiteX61" fmla="*/ 264349 w 572779"/>
                  <a:gd name="connsiteY61" fmla="*/ 160183 h 606580"/>
                  <a:gd name="connsiteX62" fmla="*/ 92987 w 572779"/>
                  <a:gd name="connsiteY62" fmla="*/ 160183 h 606580"/>
                  <a:gd name="connsiteX63" fmla="*/ 136964 w 572779"/>
                  <a:gd name="connsiteY63" fmla="*/ 160183 h 606580"/>
                  <a:gd name="connsiteX64" fmla="*/ 136791 w 572779"/>
                  <a:gd name="connsiteY64" fmla="*/ 160472 h 606580"/>
                  <a:gd name="connsiteX65" fmla="*/ 137022 w 572779"/>
                  <a:gd name="connsiteY65" fmla="*/ 160472 h 606580"/>
                  <a:gd name="connsiteX66" fmla="*/ 135923 w 572779"/>
                  <a:gd name="connsiteY66" fmla="*/ 162726 h 606580"/>
                  <a:gd name="connsiteX67" fmla="*/ 126896 w 572779"/>
                  <a:gd name="connsiteY67" fmla="*/ 187227 h 606580"/>
                  <a:gd name="connsiteX68" fmla="*/ 131988 w 572779"/>
                  <a:gd name="connsiteY68" fmla="*/ 242470 h 606580"/>
                  <a:gd name="connsiteX69" fmla="*/ 149752 w 572779"/>
                  <a:gd name="connsiteY69" fmla="*/ 242470 h 606580"/>
                  <a:gd name="connsiteX70" fmla="*/ 149752 w 572779"/>
                  <a:gd name="connsiteY70" fmla="*/ 337471 h 606580"/>
                  <a:gd name="connsiteX71" fmla="*/ 178742 w 572779"/>
                  <a:gd name="connsiteY71" fmla="*/ 392483 h 606580"/>
                  <a:gd name="connsiteX72" fmla="*/ 178742 w 572779"/>
                  <a:gd name="connsiteY72" fmla="*/ 574624 h 606580"/>
                  <a:gd name="connsiteX73" fmla="*/ 146743 w 572779"/>
                  <a:gd name="connsiteY73" fmla="*/ 606580 h 606580"/>
                  <a:gd name="connsiteX74" fmla="*/ 114976 w 572779"/>
                  <a:gd name="connsiteY74" fmla="*/ 578149 h 606580"/>
                  <a:gd name="connsiteX75" fmla="*/ 83151 w 572779"/>
                  <a:gd name="connsiteY75" fmla="*/ 606580 h 606580"/>
                  <a:gd name="connsiteX76" fmla="*/ 51152 w 572779"/>
                  <a:gd name="connsiteY76" fmla="*/ 574624 h 606580"/>
                  <a:gd name="connsiteX77" fmla="*/ 51152 w 572779"/>
                  <a:gd name="connsiteY77" fmla="*/ 382833 h 606580"/>
                  <a:gd name="connsiteX78" fmla="*/ 45365 w 572779"/>
                  <a:gd name="connsiteY78" fmla="*/ 382833 h 606580"/>
                  <a:gd name="connsiteX79" fmla="*/ 0 w 572779"/>
                  <a:gd name="connsiteY79" fmla="*/ 337528 h 606580"/>
                  <a:gd name="connsiteX80" fmla="*/ 0 w 572779"/>
                  <a:gd name="connsiteY80" fmla="*/ 205545 h 606580"/>
                  <a:gd name="connsiteX81" fmla="*/ 45365 w 572779"/>
                  <a:gd name="connsiteY81" fmla="*/ 160241 h 606580"/>
                  <a:gd name="connsiteX82" fmla="*/ 61972 w 572779"/>
                  <a:gd name="connsiteY82" fmla="*/ 160241 h 606580"/>
                  <a:gd name="connsiteX83" fmla="*/ 78464 w 572779"/>
                  <a:gd name="connsiteY83" fmla="*/ 242528 h 606580"/>
                  <a:gd name="connsiteX84" fmla="*/ 97964 w 572779"/>
                  <a:gd name="connsiteY84" fmla="*/ 242528 h 606580"/>
                  <a:gd name="connsiteX85" fmla="*/ 103056 w 572779"/>
                  <a:gd name="connsiteY85" fmla="*/ 186996 h 606580"/>
                  <a:gd name="connsiteX86" fmla="*/ 102477 w 572779"/>
                  <a:gd name="connsiteY86" fmla="*/ 183991 h 606580"/>
                  <a:gd name="connsiteX87" fmla="*/ 94145 w 572779"/>
                  <a:gd name="connsiteY87" fmla="*/ 162726 h 606580"/>
                  <a:gd name="connsiteX88" fmla="*/ 93045 w 572779"/>
                  <a:gd name="connsiteY88" fmla="*/ 160472 h 606580"/>
                  <a:gd name="connsiteX89" fmla="*/ 93103 w 572779"/>
                  <a:gd name="connsiteY89" fmla="*/ 160472 h 606580"/>
                  <a:gd name="connsiteX90" fmla="*/ 92987 w 572779"/>
                  <a:gd name="connsiteY90" fmla="*/ 160183 h 606580"/>
                  <a:gd name="connsiteX91" fmla="*/ 457411 w 572779"/>
                  <a:gd name="connsiteY91" fmla="*/ 751 h 606580"/>
                  <a:gd name="connsiteX92" fmla="*/ 458047 w 572779"/>
                  <a:gd name="connsiteY92" fmla="*/ 751 h 606580"/>
                  <a:gd name="connsiteX93" fmla="*/ 521621 w 572779"/>
                  <a:gd name="connsiteY93" fmla="*/ 49915 h 606580"/>
                  <a:gd name="connsiteX94" fmla="*/ 523761 w 572779"/>
                  <a:gd name="connsiteY94" fmla="*/ 66553 h 606580"/>
                  <a:gd name="connsiteX95" fmla="*/ 458105 w 572779"/>
                  <a:gd name="connsiteY95" fmla="*/ 132124 h 606580"/>
                  <a:gd name="connsiteX96" fmla="*/ 457469 w 572779"/>
                  <a:gd name="connsiteY96" fmla="*/ 132124 h 606580"/>
                  <a:gd name="connsiteX97" fmla="*/ 393895 w 572779"/>
                  <a:gd name="connsiteY97" fmla="*/ 82960 h 606580"/>
                  <a:gd name="connsiteX98" fmla="*/ 391755 w 572779"/>
                  <a:gd name="connsiteY98" fmla="*/ 66322 h 606580"/>
                  <a:gd name="connsiteX99" fmla="*/ 457411 w 572779"/>
                  <a:gd name="connsiteY99" fmla="*/ 751 h 606580"/>
                  <a:gd name="connsiteX100" fmla="*/ 285868 w 572779"/>
                  <a:gd name="connsiteY100" fmla="*/ 751 h 606580"/>
                  <a:gd name="connsiteX101" fmla="*/ 286621 w 572779"/>
                  <a:gd name="connsiteY101" fmla="*/ 751 h 606580"/>
                  <a:gd name="connsiteX102" fmla="*/ 350227 w 572779"/>
                  <a:gd name="connsiteY102" fmla="*/ 49915 h 606580"/>
                  <a:gd name="connsiteX103" fmla="*/ 352369 w 572779"/>
                  <a:gd name="connsiteY103" fmla="*/ 66553 h 606580"/>
                  <a:gd name="connsiteX104" fmla="*/ 286736 w 572779"/>
                  <a:gd name="connsiteY104" fmla="*/ 132124 h 606580"/>
                  <a:gd name="connsiteX105" fmla="*/ 286100 w 572779"/>
                  <a:gd name="connsiteY105" fmla="*/ 132124 h 606580"/>
                  <a:gd name="connsiteX106" fmla="*/ 222493 w 572779"/>
                  <a:gd name="connsiteY106" fmla="*/ 82845 h 606580"/>
                  <a:gd name="connsiteX107" fmla="*/ 220351 w 572779"/>
                  <a:gd name="connsiteY107" fmla="*/ 66264 h 606580"/>
                  <a:gd name="connsiteX108" fmla="*/ 285868 w 572779"/>
                  <a:gd name="connsiteY108" fmla="*/ 751 h 606580"/>
                  <a:gd name="connsiteX109" fmla="*/ 114639 w 572779"/>
                  <a:gd name="connsiteY109" fmla="*/ 751 h 606580"/>
                  <a:gd name="connsiteX110" fmla="*/ 115275 w 572779"/>
                  <a:gd name="connsiteY110" fmla="*/ 751 h 606580"/>
                  <a:gd name="connsiteX111" fmla="*/ 178882 w 572779"/>
                  <a:gd name="connsiteY111" fmla="*/ 49915 h 606580"/>
                  <a:gd name="connsiteX112" fmla="*/ 181024 w 572779"/>
                  <a:gd name="connsiteY112" fmla="*/ 66553 h 606580"/>
                  <a:gd name="connsiteX113" fmla="*/ 115333 w 572779"/>
                  <a:gd name="connsiteY113" fmla="*/ 132124 h 606580"/>
                  <a:gd name="connsiteX114" fmla="*/ 114754 w 572779"/>
                  <a:gd name="connsiteY114" fmla="*/ 132124 h 606580"/>
                  <a:gd name="connsiteX115" fmla="*/ 51148 w 572779"/>
                  <a:gd name="connsiteY115" fmla="*/ 82960 h 606580"/>
                  <a:gd name="connsiteX116" fmla="*/ 49006 w 572779"/>
                  <a:gd name="connsiteY116" fmla="*/ 66322 h 606580"/>
                  <a:gd name="connsiteX117" fmla="*/ 114639 w 572779"/>
                  <a:gd name="connsiteY117" fmla="*/ 751 h 606580"/>
                  <a:gd name="connsiteX118" fmla="*/ 457410 w 572779"/>
                  <a:gd name="connsiteY118" fmla="*/ 423 h 606580"/>
                  <a:gd name="connsiteX119" fmla="*/ 391355 w 572779"/>
                  <a:gd name="connsiteY119" fmla="*/ 66356 h 606580"/>
                  <a:gd name="connsiteX120" fmla="*/ 393497 w 572779"/>
                  <a:gd name="connsiteY120" fmla="*/ 83056 h 606580"/>
                  <a:gd name="connsiteX121" fmla="*/ 457468 w 572779"/>
                  <a:gd name="connsiteY121" fmla="*/ 132521 h 606580"/>
                  <a:gd name="connsiteX122" fmla="*/ 457815 w 572779"/>
                  <a:gd name="connsiteY122" fmla="*/ 132521 h 606580"/>
                  <a:gd name="connsiteX123" fmla="*/ 458104 w 572779"/>
                  <a:gd name="connsiteY123" fmla="*/ 132521 h 606580"/>
                  <a:gd name="connsiteX124" fmla="*/ 524159 w 572779"/>
                  <a:gd name="connsiteY124" fmla="*/ 66587 h 606580"/>
                  <a:gd name="connsiteX125" fmla="*/ 522017 w 572779"/>
                  <a:gd name="connsiteY125" fmla="*/ 49887 h 606580"/>
                  <a:gd name="connsiteX126" fmla="*/ 458046 w 572779"/>
                  <a:gd name="connsiteY126" fmla="*/ 423 h 606580"/>
                  <a:gd name="connsiteX127" fmla="*/ 457699 w 572779"/>
                  <a:gd name="connsiteY127" fmla="*/ 423 h 606580"/>
                  <a:gd name="connsiteX128" fmla="*/ 114646 w 572779"/>
                  <a:gd name="connsiteY128" fmla="*/ 423 h 606580"/>
                  <a:gd name="connsiteX129" fmla="*/ 48620 w 572779"/>
                  <a:gd name="connsiteY129" fmla="*/ 66356 h 606580"/>
                  <a:gd name="connsiteX130" fmla="*/ 50761 w 572779"/>
                  <a:gd name="connsiteY130" fmla="*/ 83056 h 606580"/>
                  <a:gd name="connsiteX131" fmla="*/ 114762 w 572779"/>
                  <a:gd name="connsiteY131" fmla="*/ 132521 h 606580"/>
                  <a:gd name="connsiteX132" fmla="*/ 115051 w 572779"/>
                  <a:gd name="connsiteY132" fmla="*/ 132521 h 606580"/>
                  <a:gd name="connsiteX133" fmla="*/ 115340 w 572779"/>
                  <a:gd name="connsiteY133" fmla="*/ 132521 h 606580"/>
                  <a:gd name="connsiteX134" fmla="*/ 181424 w 572779"/>
                  <a:gd name="connsiteY134" fmla="*/ 66587 h 606580"/>
                  <a:gd name="connsiteX135" fmla="*/ 179225 w 572779"/>
                  <a:gd name="connsiteY135" fmla="*/ 49887 h 606580"/>
                  <a:gd name="connsiteX136" fmla="*/ 115282 w 572779"/>
                  <a:gd name="connsiteY136" fmla="*/ 423 h 606580"/>
                  <a:gd name="connsiteX137" fmla="*/ 114993 w 572779"/>
                  <a:gd name="connsiteY137" fmla="*/ 423 h 606580"/>
                  <a:gd name="connsiteX138" fmla="*/ 286036 w 572779"/>
                  <a:gd name="connsiteY138" fmla="*/ 397 h 606580"/>
                  <a:gd name="connsiteX139" fmla="*/ 219952 w 572779"/>
                  <a:gd name="connsiteY139" fmla="*/ 66286 h 606580"/>
                  <a:gd name="connsiteX140" fmla="*/ 222151 w 572779"/>
                  <a:gd name="connsiteY140" fmla="*/ 82990 h 606580"/>
                  <a:gd name="connsiteX141" fmla="*/ 286094 w 572779"/>
                  <a:gd name="connsiteY141" fmla="*/ 132522 h 606580"/>
                  <a:gd name="connsiteX142" fmla="*/ 286383 w 572779"/>
                  <a:gd name="connsiteY142" fmla="*/ 132522 h 606580"/>
                  <a:gd name="connsiteX143" fmla="*/ 286730 w 572779"/>
                  <a:gd name="connsiteY143" fmla="*/ 132522 h 606580"/>
                  <a:gd name="connsiteX144" fmla="*/ 352756 w 572779"/>
                  <a:gd name="connsiteY144" fmla="*/ 66575 h 606580"/>
                  <a:gd name="connsiteX145" fmla="*/ 350615 w 572779"/>
                  <a:gd name="connsiteY145" fmla="*/ 49872 h 606580"/>
                  <a:gd name="connsiteX146" fmla="*/ 286614 w 572779"/>
                  <a:gd name="connsiteY146" fmla="*/ 397 h 606580"/>
                  <a:gd name="connsiteX147" fmla="*/ 286325 w 572779"/>
                  <a:gd name="connsiteY147" fmla="*/ 397 h 606580"/>
                  <a:gd name="connsiteX148" fmla="*/ 457411 w 572779"/>
                  <a:gd name="connsiteY148" fmla="*/ 0 h 606580"/>
                  <a:gd name="connsiteX149" fmla="*/ 458047 w 572779"/>
                  <a:gd name="connsiteY149" fmla="*/ 0 h 606580"/>
                  <a:gd name="connsiteX150" fmla="*/ 522315 w 572779"/>
                  <a:gd name="connsiteY150" fmla="*/ 49741 h 606580"/>
                  <a:gd name="connsiteX151" fmla="*/ 524513 w 572779"/>
                  <a:gd name="connsiteY151" fmla="*/ 66553 h 606580"/>
                  <a:gd name="connsiteX152" fmla="*/ 458105 w 572779"/>
                  <a:gd name="connsiteY152" fmla="*/ 132875 h 606580"/>
                  <a:gd name="connsiteX153" fmla="*/ 457469 w 572779"/>
                  <a:gd name="connsiteY153" fmla="*/ 132875 h 606580"/>
                  <a:gd name="connsiteX154" fmla="*/ 393201 w 572779"/>
                  <a:gd name="connsiteY154" fmla="*/ 83133 h 606580"/>
                  <a:gd name="connsiteX155" fmla="*/ 391003 w 572779"/>
                  <a:gd name="connsiteY155" fmla="*/ 66322 h 606580"/>
                  <a:gd name="connsiteX156" fmla="*/ 457411 w 572779"/>
                  <a:gd name="connsiteY156" fmla="*/ 0 h 606580"/>
                  <a:gd name="connsiteX157" fmla="*/ 285868 w 572779"/>
                  <a:gd name="connsiteY157" fmla="*/ 0 h 606580"/>
                  <a:gd name="connsiteX158" fmla="*/ 286621 w 572779"/>
                  <a:gd name="connsiteY158" fmla="*/ 0 h 606580"/>
                  <a:gd name="connsiteX159" fmla="*/ 350980 w 572779"/>
                  <a:gd name="connsiteY159" fmla="*/ 49741 h 606580"/>
                  <a:gd name="connsiteX160" fmla="*/ 353179 w 572779"/>
                  <a:gd name="connsiteY160" fmla="*/ 66553 h 606580"/>
                  <a:gd name="connsiteX161" fmla="*/ 286736 w 572779"/>
                  <a:gd name="connsiteY161" fmla="*/ 132875 h 606580"/>
                  <a:gd name="connsiteX162" fmla="*/ 286100 w 572779"/>
                  <a:gd name="connsiteY162" fmla="*/ 132875 h 606580"/>
                  <a:gd name="connsiteX163" fmla="*/ 221740 w 572779"/>
                  <a:gd name="connsiteY163" fmla="*/ 83076 h 606580"/>
                  <a:gd name="connsiteX164" fmla="*/ 219599 w 572779"/>
                  <a:gd name="connsiteY164" fmla="*/ 66264 h 606580"/>
                  <a:gd name="connsiteX165" fmla="*/ 285868 w 572779"/>
                  <a:gd name="connsiteY165" fmla="*/ 0 h 606580"/>
                  <a:gd name="connsiteX166" fmla="*/ 114639 w 572779"/>
                  <a:gd name="connsiteY166" fmla="*/ 0 h 606580"/>
                  <a:gd name="connsiteX167" fmla="*/ 115275 w 572779"/>
                  <a:gd name="connsiteY167" fmla="*/ 0 h 606580"/>
                  <a:gd name="connsiteX168" fmla="*/ 179635 w 572779"/>
                  <a:gd name="connsiteY168" fmla="*/ 49741 h 606580"/>
                  <a:gd name="connsiteX169" fmla="*/ 181776 w 572779"/>
                  <a:gd name="connsiteY169" fmla="*/ 66553 h 606580"/>
                  <a:gd name="connsiteX170" fmla="*/ 115333 w 572779"/>
                  <a:gd name="connsiteY170" fmla="*/ 132875 h 606580"/>
                  <a:gd name="connsiteX171" fmla="*/ 114754 w 572779"/>
                  <a:gd name="connsiteY171" fmla="*/ 132875 h 606580"/>
                  <a:gd name="connsiteX172" fmla="*/ 50395 w 572779"/>
                  <a:gd name="connsiteY172" fmla="*/ 83133 h 606580"/>
                  <a:gd name="connsiteX173" fmla="*/ 48196 w 572779"/>
                  <a:gd name="connsiteY173" fmla="*/ 66322 h 606580"/>
                  <a:gd name="connsiteX174" fmla="*/ 114639 w 572779"/>
                  <a:gd name="connsiteY174" fmla="*/ 0 h 60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572779" h="606580">
                    <a:moveTo>
                      <a:pt x="435703" y="160183"/>
                    </a:moveTo>
                    <a:lnTo>
                      <a:pt x="479697" y="160183"/>
                    </a:lnTo>
                    <a:cubicBezTo>
                      <a:pt x="479639" y="160241"/>
                      <a:pt x="479639" y="160414"/>
                      <a:pt x="479581" y="160472"/>
                    </a:cubicBezTo>
                    <a:lnTo>
                      <a:pt x="479812" y="160472"/>
                    </a:lnTo>
                    <a:cubicBezTo>
                      <a:pt x="479407" y="161281"/>
                      <a:pt x="478713" y="162726"/>
                      <a:pt x="478713" y="162726"/>
                    </a:cubicBezTo>
                    <a:cubicBezTo>
                      <a:pt x="474834" y="170989"/>
                      <a:pt x="471245" y="178848"/>
                      <a:pt x="469682" y="187227"/>
                    </a:cubicBezTo>
                    <a:lnTo>
                      <a:pt x="474776" y="242470"/>
                    </a:lnTo>
                    <a:lnTo>
                      <a:pt x="494284" y="242470"/>
                    </a:lnTo>
                    <a:lnTo>
                      <a:pt x="510840" y="160183"/>
                    </a:lnTo>
                    <a:lnTo>
                      <a:pt x="527338" y="160183"/>
                    </a:lnTo>
                    <a:cubicBezTo>
                      <a:pt x="552345" y="160183"/>
                      <a:pt x="572663" y="180466"/>
                      <a:pt x="572779" y="205430"/>
                    </a:cubicBezTo>
                    <a:lnTo>
                      <a:pt x="572779" y="337413"/>
                    </a:lnTo>
                    <a:cubicBezTo>
                      <a:pt x="572779" y="362434"/>
                      <a:pt x="552519" y="382717"/>
                      <a:pt x="527396" y="382717"/>
                    </a:cubicBezTo>
                    <a:lnTo>
                      <a:pt x="521607" y="382717"/>
                    </a:lnTo>
                    <a:lnTo>
                      <a:pt x="521607" y="574624"/>
                    </a:lnTo>
                    <a:cubicBezTo>
                      <a:pt x="521607" y="592249"/>
                      <a:pt x="507251" y="606580"/>
                      <a:pt x="489595" y="606580"/>
                    </a:cubicBezTo>
                    <a:cubicBezTo>
                      <a:pt x="473155" y="606580"/>
                      <a:pt x="459552" y="594098"/>
                      <a:pt x="457815" y="578149"/>
                    </a:cubicBezTo>
                    <a:cubicBezTo>
                      <a:pt x="456021" y="594214"/>
                      <a:pt x="442417" y="606580"/>
                      <a:pt x="425978" y="606580"/>
                    </a:cubicBezTo>
                    <a:cubicBezTo>
                      <a:pt x="408322" y="606580"/>
                      <a:pt x="393966" y="592249"/>
                      <a:pt x="393966" y="574624"/>
                    </a:cubicBezTo>
                    <a:lnTo>
                      <a:pt x="393966" y="392541"/>
                    </a:lnTo>
                    <a:cubicBezTo>
                      <a:pt x="411506" y="380521"/>
                      <a:pt x="422967" y="360354"/>
                      <a:pt x="422967" y="337528"/>
                    </a:cubicBezTo>
                    <a:lnTo>
                      <a:pt x="422967" y="242528"/>
                    </a:lnTo>
                    <a:lnTo>
                      <a:pt x="440739" y="242528"/>
                    </a:lnTo>
                    <a:lnTo>
                      <a:pt x="445833" y="186996"/>
                    </a:lnTo>
                    <a:cubicBezTo>
                      <a:pt x="445659" y="186013"/>
                      <a:pt x="445428" y="184973"/>
                      <a:pt x="445196" y="183991"/>
                    </a:cubicBezTo>
                    <a:cubicBezTo>
                      <a:pt x="443459" y="176768"/>
                      <a:pt x="440276" y="169891"/>
                      <a:pt x="436860" y="162726"/>
                    </a:cubicBezTo>
                    <a:cubicBezTo>
                      <a:pt x="436860" y="162726"/>
                      <a:pt x="436166" y="161281"/>
                      <a:pt x="435818" y="160472"/>
                    </a:cubicBezTo>
                    <a:lnTo>
                      <a:pt x="435876" y="160472"/>
                    </a:lnTo>
                    <a:cubicBezTo>
                      <a:pt x="435818" y="160356"/>
                      <a:pt x="435818" y="160241"/>
                      <a:pt x="435703" y="160183"/>
                    </a:cubicBezTo>
                    <a:close/>
                    <a:moveTo>
                      <a:pt x="264349" y="160183"/>
                    </a:moveTo>
                    <a:lnTo>
                      <a:pt x="308327" y="160183"/>
                    </a:lnTo>
                    <a:cubicBezTo>
                      <a:pt x="308269" y="160241"/>
                      <a:pt x="308269" y="160414"/>
                      <a:pt x="308154" y="160472"/>
                    </a:cubicBezTo>
                    <a:lnTo>
                      <a:pt x="308385" y="160472"/>
                    </a:lnTo>
                    <a:cubicBezTo>
                      <a:pt x="308038" y="161281"/>
                      <a:pt x="307344" y="162726"/>
                      <a:pt x="307344" y="162726"/>
                    </a:cubicBezTo>
                    <a:cubicBezTo>
                      <a:pt x="303467" y="170989"/>
                      <a:pt x="299821" y="178848"/>
                      <a:pt x="298316" y="187227"/>
                    </a:cubicBezTo>
                    <a:lnTo>
                      <a:pt x="303409" y="242470"/>
                    </a:lnTo>
                    <a:lnTo>
                      <a:pt x="322910" y="242470"/>
                    </a:lnTo>
                    <a:lnTo>
                      <a:pt x="339401" y="160183"/>
                    </a:lnTo>
                    <a:lnTo>
                      <a:pt x="355951" y="160183"/>
                    </a:lnTo>
                    <a:cubicBezTo>
                      <a:pt x="380949" y="160183"/>
                      <a:pt x="401202" y="180466"/>
                      <a:pt x="401376" y="205430"/>
                    </a:cubicBezTo>
                    <a:lnTo>
                      <a:pt x="401376" y="337413"/>
                    </a:lnTo>
                    <a:cubicBezTo>
                      <a:pt x="401376" y="362434"/>
                      <a:pt x="381065" y="382717"/>
                      <a:pt x="356009" y="382717"/>
                    </a:cubicBezTo>
                    <a:lnTo>
                      <a:pt x="350222" y="382717"/>
                    </a:lnTo>
                    <a:lnTo>
                      <a:pt x="350222" y="574624"/>
                    </a:lnTo>
                    <a:cubicBezTo>
                      <a:pt x="350222" y="592249"/>
                      <a:pt x="335872" y="606580"/>
                      <a:pt x="318222" y="606580"/>
                    </a:cubicBezTo>
                    <a:cubicBezTo>
                      <a:pt x="301788" y="606580"/>
                      <a:pt x="288190" y="594098"/>
                      <a:pt x="286396" y="578149"/>
                    </a:cubicBezTo>
                    <a:cubicBezTo>
                      <a:pt x="284660" y="594214"/>
                      <a:pt x="271062" y="606580"/>
                      <a:pt x="254628" y="606580"/>
                    </a:cubicBezTo>
                    <a:cubicBezTo>
                      <a:pt x="236978" y="606580"/>
                      <a:pt x="222628" y="592249"/>
                      <a:pt x="222628" y="574624"/>
                    </a:cubicBezTo>
                    <a:lnTo>
                      <a:pt x="222628" y="382833"/>
                    </a:lnTo>
                    <a:lnTo>
                      <a:pt x="216841" y="382833"/>
                    </a:lnTo>
                    <a:cubicBezTo>
                      <a:pt x="191727" y="382833"/>
                      <a:pt x="171474" y="362608"/>
                      <a:pt x="171474" y="337528"/>
                    </a:cubicBezTo>
                    <a:lnTo>
                      <a:pt x="171474" y="205545"/>
                    </a:lnTo>
                    <a:cubicBezTo>
                      <a:pt x="171474" y="180524"/>
                      <a:pt x="191727" y="160241"/>
                      <a:pt x="216841" y="160241"/>
                    </a:cubicBezTo>
                    <a:lnTo>
                      <a:pt x="233333" y="160241"/>
                    </a:lnTo>
                    <a:lnTo>
                      <a:pt x="249825" y="242528"/>
                    </a:lnTo>
                    <a:lnTo>
                      <a:pt x="269383" y="242528"/>
                    </a:lnTo>
                    <a:lnTo>
                      <a:pt x="274476" y="186996"/>
                    </a:lnTo>
                    <a:cubicBezTo>
                      <a:pt x="274302" y="186013"/>
                      <a:pt x="274071" y="184973"/>
                      <a:pt x="273839" y="183991"/>
                    </a:cubicBezTo>
                    <a:cubicBezTo>
                      <a:pt x="272045" y="176768"/>
                      <a:pt x="268921" y="169891"/>
                      <a:pt x="265506" y="162726"/>
                    </a:cubicBezTo>
                    <a:cubicBezTo>
                      <a:pt x="265506" y="162726"/>
                      <a:pt x="264812" y="161281"/>
                      <a:pt x="264407" y="160472"/>
                    </a:cubicBezTo>
                    <a:lnTo>
                      <a:pt x="264523" y="160472"/>
                    </a:lnTo>
                    <a:cubicBezTo>
                      <a:pt x="264407" y="160356"/>
                      <a:pt x="264407" y="160241"/>
                      <a:pt x="264349" y="160183"/>
                    </a:cubicBezTo>
                    <a:close/>
                    <a:moveTo>
                      <a:pt x="92987" y="160183"/>
                    </a:moveTo>
                    <a:lnTo>
                      <a:pt x="136964" y="160183"/>
                    </a:lnTo>
                    <a:cubicBezTo>
                      <a:pt x="136848" y="160241"/>
                      <a:pt x="136848" y="160414"/>
                      <a:pt x="136791" y="160472"/>
                    </a:cubicBezTo>
                    <a:lnTo>
                      <a:pt x="137022" y="160472"/>
                    </a:lnTo>
                    <a:cubicBezTo>
                      <a:pt x="136617" y="161281"/>
                      <a:pt x="135923" y="162726"/>
                      <a:pt x="135923" y="162726"/>
                    </a:cubicBezTo>
                    <a:cubicBezTo>
                      <a:pt x="132104" y="170989"/>
                      <a:pt x="128458" y="178848"/>
                      <a:pt x="126896" y="187227"/>
                    </a:cubicBezTo>
                    <a:lnTo>
                      <a:pt x="131988" y="242470"/>
                    </a:lnTo>
                    <a:lnTo>
                      <a:pt x="149752" y="242470"/>
                    </a:lnTo>
                    <a:lnTo>
                      <a:pt x="149752" y="337471"/>
                    </a:lnTo>
                    <a:cubicBezTo>
                      <a:pt x="149752" y="360296"/>
                      <a:pt x="161267" y="380406"/>
                      <a:pt x="178742" y="392483"/>
                    </a:cubicBezTo>
                    <a:lnTo>
                      <a:pt x="178742" y="574624"/>
                    </a:lnTo>
                    <a:cubicBezTo>
                      <a:pt x="178742" y="592249"/>
                      <a:pt x="164392" y="606580"/>
                      <a:pt x="146743" y="606580"/>
                    </a:cubicBezTo>
                    <a:cubicBezTo>
                      <a:pt x="130310" y="606580"/>
                      <a:pt x="116712" y="594098"/>
                      <a:pt x="114976" y="578149"/>
                    </a:cubicBezTo>
                    <a:cubicBezTo>
                      <a:pt x="113182" y="594214"/>
                      <a:pt x="99584" y="606580"/>
                      <a:pt x="83151" y="606580"/>
                    </a:cubicBezTo>
                    <a:cubicBezTo>
                      <a:pt x="65502" y="606580"/>
                      <a:pt x="51152" y="592249"/>
                      <a:pt x="51152" y="574624"/>
                    </a:cubicBezTo>
                    <a:lnTo>
                      <a:pt x="51152" y="382833"/>
                    </a:lnTo>
                    <a:lnTo>
                      <a:pt x="45365" y="382833"/>
                    </a:lnTo>
                    <a:cubicBezTo>
                      <a:pt x="20310" y="382833"/>
                      <a:pt x="0" y="362608"/>
                      <a:pt x="0" y="337528"/>
                    </a:cubicBezTo>
                    <a:lnTo>
                      <a:pt x="0" y="205545"/>
                    </a:lnTo>
                    <a:cubicBezTo>
                      <a:pt x="0" y="180524"/>
                      <a:pt x="20310" y="160241"/>
                      <a:pt x="45365" y="160241"/>
                    </a:cubicBezTo>
                    <a:lnTo>
                      <a:pt x="61972" y="160241"/>
                    </a:lnTo>
                    <a:lnTo>
                      <a:pt x="78464" y="242528"/>
                    </a:lnTo>
                    <a:lnTo>
                      <a:pt x="97964" y="242528"/>
                    </a:lnTo>
                    <a:lnTo>
                      <a:pt x="103056" y="186996"/>
                    </a:lnTo>
                    <a:cubicBezTo>
                      <a:pt x="102940" y="186013"/>
                      <a:pt x="102709" y="184973"/>
                      <a:pt x="102477" y="183991"/>
                    </a:cubicBezTo>
                    <a:cubicBezTo>
                      <a:pt x="100683" y="176768"/>
                      <a:pt x="97501" y="169891"/>
                      <a:pt x="94145" y="162726"/>
                    </a:cubicBezTo>
                    <a:cubicBezTo>
                      <a:pt x="94145" y="162726"/>
                      <a:pt x="93450" y="161281"/>
                      <a:pt x="93045" y="160472"/>
                    </a:cubicBezTo>
                    <a:lnTo>
                      <a:pt x="93103" y="160472"/>
                    </a:lnTo>
                    <a:cubicBezTo>
                      <a:pt x="93045" y="160356"/>
                      <a:pt x="93045" y="160241"/>
                      <a:pt x="92987" y="160183"/>
                    </a:cubicBezTo>
                    <a:close/>
                    <a:moveTo>
                      <a:pt x="457411" y="751"/>
                    </a:moveTo>
                    <a:lnTo>
                      <a:pt x="458047" y="751"/>
                    </a:lnTo>
                    <a:cubicBezTo>
                      <a:pt x="488012" y="751"/>
                      <a:pt x="514158" y="20971"/>
                      <a:pt x="521621" y="49915"/>
                    </a:cubicBezTo>
                    <a:cubicBezTo>
                      <a:pt x="523009" y="55403"/>
                      <a:pt x="523761" y="61007"/>
                      <a:pt x="523761" y="66553"/>
                    </a:cubicBezTo>
                    <a:cubicBezTo>
                      <a:pt x="523761" y="102718"/>
                      <a:pt x="494317" y="132124"/>
                      <a:pt x="458105" y="132124"/>
                    </a:cubicBezTo>
                    <a:lnTo>
                      <a:pt x="457469" y="132124"/>
                    </a:lnTo>
                    <a:cubicBezTo>
                      <a:pt x="427504" y="132124"/>
                      <a:pt x="401358" y="111904"/>
                      <a:pt x="393895" y="82960"/>
                    </a:cubicBezTo>
                    <a:cubicBezTo>
                      <a:pt x="392507" y="77472"/>
                      <a:pt x="391755" y="71868"/>
                      <a:pt x="391755" y="66322"/>
                    </a:cubicBezTo>
                    <a:cubicBezTo>
                      <a:pt x="391755" y="30157"/>
                      <a:pt x="421199" y="751"/>
                      <a:pt x="457411" y="751"/>
                    </a:cubicBezTo>
                    <a:close/>
                    <a:moveTo>
                      <a:pt x="285868" y="751"/>
                    </a:moveTo>
                    <a:lnTo>
                      <a:pt x="286621" y="751"/>
                    </a:lnTo>
                    <a:cubicBezTo>
                      <a:pt x="316601" y="751"/>
                      <a:pt x="342761" y="20971"/>
                      <a:pt x="350227" y="49915"/>
                    </a:cubicBezTo>
                    <a:cubicBezTo>
                      <a:pt x="351674" y="55403"/>
                      <a:pt x="352369" y="61007"/>
                      <a:pt x="352369" y="66553"/>
                    </a:cubicBezTo>
                    <a:cubicBezTo>
                      <a:pt x="352369" y="102718"/>
                      <a:pt x="322909" y="132124"/>
                      <a:pt x="286736" y="132124"/>
                    </a:cubicBezTo>
                    <a:lnTo>
                      <a:pt x="286100" y="132124"/>
                    </a:lnTo>
                    <a:cubicBezTo>
                      <a:pt x="256119" y="132124"/>
                      <a:pt x="229959" y="111846"/>
                      <a:pt x="222493" y="82845"/>
                    </a:cubicBezTo>
                    <a:cubicBezTo>
                      <a:pt x="221046" y="77414"/>
                      <a:pt x="220351" y="71810"/>
                      <a:pt x="220351" y="66264"/>
                    </a:cubicBezTo>
                    <a:cubicBezTo>
                      <a:pt x="220351" y="30157"/>
                      <a:pt x="249753" y="751"/>
                      <a:pt x="285868" y="751"/>
                    </a:cubicBezTo>
                    <a:close/>
                    <a:moveTo>
                      <a:pt x="114639" y="751"/>
                    </a:moveTo>
                    <a:lnTo>
                      <a:pt x="115275" y="751"/>
                    </a:lnTo>
                    <a:cubicBezTo>
                      <a:pt x="145256" y="751"/>
                      <a:pt x="171416" y="20971"/>
                      <a:pt x="178882" y="49915"/>
                    </a:cubicBezTo>
                    <a:cubicBezTo>
                      <a:pt x="180329" y="55403"/>
                      <a:pt x="181024" y="61007"/>
                      <a:pt x="181024" y="66553"/>
                    </a:cubicBezTo>
                    <a:cubicBezTo>
                      <a:pt x="181024" y="102718"/>
                      <a:pt x="151564" y="132124"/>
                      <a:pt x="115333" y="132124"/>
                    </a:cubicBezTo>
                    <a:lnTo>
                      <a:pt x="114754" y="132124"/>
                    </a:lnTo>
                    <a:cubicBezTo>
                      <a:pt x="84774" y="132124"/>
                      <a:pt x="58614" y="111904"/>
                      <a:pt x="51148" y="82960"/>
                    </a:cubicBezTo>
                    <a:cubicBezTo>
                      <a:pt x="49701" y="77472"/>
                      <a:pt x="49006" y="71868"/>
                      <a:pt x="49006" y="66322"/>
                    </a:cubicBezTo>
                    <a:cubicBezTo>
                      <a:pt x="49006" y="30157"/>
                      <a:pt x="78466" y="751"/>
                      <a:pt x="114639" y="751"/>
                    </a:cubicBezTo>
                    <a:close/>
                    <a:moveTo>
                      <a:pt x="457410" y="423"/>
                    </a:moveTo>
                    <a:cubicBezTo>
                      <a:pt x="420880" y="423"/>
                      <a:pt x="391355" y="29894"/>
                      <a:pt x="391355" y="66356"/>
                    </a:cubicBezTo>
                    <a:cubicBezTo>
                      <a:pt x="391355" y="72135"/>
                      <a:pt x="392108" y="77740"/>
                      <a:pt x="393497" y="83056"/>
                    </a:cubicBezTo>
                    <a:cubicBezTo>
                      <a:pt x="400849" y="111487"/>
                      <a:pt x="426669" y="132521"/>
                      <a:pt x="457468" y="132521"/>
                    </a:cubicBezTo>
                    <a:lnTo>
                      <a:pt x="457815" y="132521"/>
                    </a:lnTo>
                    <a:lnTo>
                      <a:pt x="458104" y="132521"/>
                    </a:lnTo>
                    <a:cubicBezTo>
                      <a:pt x="494634" y="132521"/>
                      <a:pt x="524159" y="103050"/>
                      <a:pt x="524159" y="66587"/>
                    </a:cubicBezTo>
                    <a:cubicBezTo>
                      <a:pt x="524159" y="60809"/>
                      <a:pt x="523406" y="55204"/>
                      <a:pt x="522017" y="49887"/>
                    </a:cubicBezTo>
                    <a:cubicBezTo>
                      <a:pt x="514665" y="21457"/>
                      <a:pt x="488845" y="423"/>
                      <a:pt x="458046" y="423"/>
                    </a:cubicBezTo>
                    <a:lnTo>
                      <a:pt x="457699" y="423"/>
                    </a:lnTo>
                    <a:close/>
                    <a:moveTo>
                      <a:pt x="114646" y="423"/>
                    </a:moveTo>
                    <a:cubicBezTo>
                      <a:pt x="78190" y="423"/>
                      <a:pt x="48620" y="29894"/>
                      <a:pt x="48620" y="66356"/>
                    </a:cubicBezTo>
                    <a:cubicBezTo>
                      <a:pt x="48620" y="72135"/>
                      <a:pt x="49372" y="77740"/>
                      <a:pt x="50761" y="83056"/>
                    </a:cubicBezTo>
                    <a:cubicBezTo>
                      <a:pt x="58110" y="111487"/>
                      <a:pt x="83977" y="132521"/>
                      <a:pt x="114762" y="132521"/>
                    </a:cubicBezTo>
                    <a:lnTo>
                      <a:pt x="115051" y="132521"/>
                    </a:lnTo>
                    <a:lnTo>
                      <a:pt x="115340" y="132521"/>
                    </a:lnTo>
                    <a:cubicBezTo>
                      <a:pt x="151854" y="132521"/>
                      <a:pt x="181424" y="103050"/>
                      <a:pt x="181424" y="66587"/>
                    </a:cubicBezTo>
                    <a:cubicBezTo>
                      <a:pt x="181424" y="60809"/>
                      <a:pt x="180614" y="55204"/>
                      <a:pt x="179225" y="49887"/>
                    </a:cubicBezTo>
                    <a:cubicBezTo>
                      <a:pt x="171934" y="21457"/>
                      <a:pt x="146067" y="423"/>
                      <a:pt x="115282" y="423"/>
                    </a:cubicBezTo>
                    <a:lnTo>
                      <a:pt x="114993" y="423"/>
                    </a:lnTo>
                    <a:close/>
                    <a:moveTo>
                      <a:pt x="286036" y="397"/>
                    </a:moveTo>
                    <a:cubicBezTo>
                      <a:pt x="249522" y="282"/>
                      <a:pt x="219952" y="29874"/>
                      <a:pt x="219952" y="66286"/>
                    </a:cubicBezTo>
                    <a:cubicBezTo>
                      <a:pt x="219952" y="72066"/>
                      <a:pt x="220762" y="77672"/>
                      <a:pt x="222151" y="82990"/>
                    </a:cubicBezTo>
                    <a:cubicBezTo>
                      <a:pt x="229442" y="111484"/>
                      <a:pt x="255309" y="132522"/>
                      <a:pt x="286094" y="132522"/>
                    </a:cubicBezTo>
                    <a:lnTo>
                      <a:pt x="286383" y="132522"/>
                    </a:lnTo>
                    <a:lnTo>
                      <a:pt x="286730" y="132522"/>
                    </a:lnTo>
                    <a:cubicBezTo>
                      <a:pt x="323186" y="132522"/>
                      <a:pt x="352756" y="103045"/>
                      <a:pt x="352756" y="66575"/>
                    </a:cubicBezTo>
                    <a:cubicBezTo>
                      <a:pt x="352756" y="60796"/>
                      <a:pt x="352004" y="55189"/>
                      <a:pt x="350615" y="49872"/>
                    </a:cubicBezTo>
                    <a:cubicBezTo>
                      <a:pt x="343266" y="21436"/>
                      <a:pt x="317399" y="397"/>
                      <a:pt x="286614" y="397"/>
                    </a:cubicBezTo>
                    <a:lnTo>
                      <a:pt x="286325" y="397"/>
                    </a:lnTo>
                    <a:close/>
                    <a:moveTo>
                      <a:pt x="457411" y="0"/>
                    </a:moveTo>
                    <a:lnTo>
                      <a:pt x="458047" y="0"/>
                    </a:lnTo>
                    <a:cubicBezTo>
                      <a:pt x="488359" y="0"/>
                      <a:pt x="514795" y="20451"/>
                      <a:pt x="522315" y="49741"/>
                    </a:cubicBezTo>
                    <a:cubicBezTo>
                      <a:pt x="523761" y="55230"/>
                      <a:pt x="524513" y="60891"/>
                      <a:pt x="524513" y="66553"/>
                    </a:cubicBezTo>
                    <a:cubicBezTo>
                      <a:pt x="524513" y="103122"/>
                      <a:pt x="494722" y="132875"/>
                      <a:pt x="458105" y="132875"/>
                    </a:cubicBezTo>
                    <a:lnTo>
                      <a:pt x="457469" y="132875"/>
                    </a:lnTo>
                    <a:cubicBezTo>
                      <a:pt x="427157" y="132875"/>
                      <a:pt x="400721" y="112424"/>
                      <a:pt x="393201" y="83133"/>
                    </a:cubicBezTo>
                    <a:cubicBezTo>
                      <a:pt x="391755" y="77645"/>
                      <a:pt x="391003" y="71983"/>
                      <a:pt x="391003" y="66322"/>
                    </a:cubicBezTo>
                    <a:cubicBezTo>
                      <a:pt x="391003" y="29752"/>
                      <a:pt x="420794" y="0"/>
                      <a:pt x="457411" y="0"/>
                    </a:cubicBezTo>
                    <a:close/>
                    <a:moveTo>
                      <a:pt x="285868" y="0"/>
                    </a:moveTo>
                    <a:lnTo>
                      <a:pt x="286621" y="0"/>
                    </a:lnTo>
                    <a:cubicBezTo>
                      <a:pt x="316948" y="0"/>
                      <a:pt x="343456" y="20451"/>
                      <a:pt x="350980" y="49741"/>
                    </a:cubicBezTo>
                    <a:cubicBezTo>
                      <a:pt x="352427" y="55287"/>
                      <a:pt x="353179" y="60891"/>
                      <a:pt x="353179" y="66553"/>
                    </a:cubicBezTo>
                    <a:cubicBezTo>
                      <a:pt x="353179" y="103122"/>
                      <a:pt x="323372" y="132875"/>
                      <a:pt x="286736" y="132875"/>
                    </a:cubicBezTo>
                    <a:lnTo>
                      <a:pt x="286100" y="132875"/>
                    </a:lnTo>
                    <a:cubicBezTo>
                      <a:pt x="255772" y="132875"/>
                      <a:pt x="229322" y="112366"/>
                      <a:pt x="221740" y="83076"/>
                    </a:cubicBezTo>
                    <a:cubicBezTo>
                      <a:pt x="220294" y="77530"/>
                      <a:pt x="219599" y="71868"/>
                      <a:pt x="219599" y="66264"/>
                    </a:cubicBezTo>
                    <a:cubicBezTo>
                      <a:pt x="219599" y="29695"/>
                      <a:pt x="249348" y="0"/>
                      <a:pt x="285868" y="0"/>
                    </a:cubicBezTo>
                    <a:close/>
                    <a:moveTo>
                      <a:pt x="114639" y="0"/>
                    </a:moveTo>
                    <a:lnTo>
                      <a:pt x="115275" y="0"/>
                    </a:lnTo>
                    <a:cubicBezTo>
                      <a:pt x="145603" y="0"/>
                      <a:pt x="172053" y="20451"/>
                      <a:pt x="179635" y="49741"/>
                    </a:cubicBezTo>
                    <a:cubicBezTo>
                      <a:pt x="181081" y="55230"/>
                      <a:pt x="181776" y="60891"/>
                      <a:pt x="181776" y="66553"/>
                    </a:cubicBezTo>
                    <a:cubicBezTo>
                      <a:pt x="181776" y="103122"/>
                      <a:pt x="151969" y="132875"/>
                      <a:pt x="115333" y="132875"/>
                    </a:cubicBezTo>
                    <a:lnTo>
                      <a:pt x="114754" y="132875"/>
                    </a:lnTo>
                    <a:cubicBezTo>
                      <a:pt x="84427" y="132875"/>
                      <a:pt x="57919" y="112424"/>
                      <a:pt x="50395" y="83133"/>
                    </a:cubicBezTo>
                    <a:cubicBezTo>
                      <a:pt x="48948" y="77645"/>
                      <a:pt x="48196" y="71983"/>
                      <a:pt x="48196" y="66322"/>
                    </a:cubicBezTo>
                    <a:cubicBezTo>
                      <a:pt x="48196" y="29752"/>
                      <a:pt x="78003" y="0"/>
                      <a:pt x="114639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" name="ïšḻîḋè">
                <a:extLst>
                  <a:ext uri="{FF2B5EF4-FFF2-40B4-BE49-F238E27FC236}">
                    <a16:creationId xmlns:a16="http://schemas.microsoft.com/office/drawing/2014/main" id="{B0CF78E0-D282-471C-82C0-235B8139A10B}"/>
                  </a:ext>
                </a:extLst>
              </p:cNvPr>
              <p:cNvSpPr txBox="1"/>
              <p:nvPr/>
            </p:nvSpPr>
            <p:spPr>
              <a:xfrm>
                <a:off x="1321874" y="4390879"/>
                <a:ext cx="1985594" cy="34227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 fontScale="92500" lnSpcReduction="20000"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de-DE" altLang="zh-CN" sz="2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... ￥ | 27 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0973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FA08BB-E594-4E6C-8053-70C89C569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06FD881-C7F4-4A9D-8195-411B6C28D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76AAF48-D6B3-4D68-BF51-B0BDBF6D3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14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D90B515-9E81-4353-B254-A82829F1913C}"/>
              </a:ext>
            </a:extLst>
          </p:cNvPr>
          <p:cNvGrpSpPr>
            <a:grpSpLocks noChangeAspect="1"/>
          </p:cNvGrpSpPr>
          <p:nvPr/>
        </p:nvGrpSpPr>
        <p:grpSpPr>
          <a:xfrm>
            <a:off x="1618722" y="1340768"/>
            <a:ext cx="8954556" cy="4527904"/>
            <a:chOff x="1618722" y="1340768"/>
            <a:chExt cx="8954556" cy="4527904"/>
          </a:xfrm>
        </p:grpSpPr>
        <p:grpSp>
          <p:nvGrpSpPr>
            <p:cNvPr id="6" name="ïś1îḋé">
              <a:extLst>
                <a:ext uri="{FF2B5EF4-FFF2-40B4-BE49-F238E27FC236}">
                  <a16:creationId xmlns:a16="http://schemas.microsoft.com/office/drawing/2014/main" id="{6519F9C1-AFEB-4B45-90E4-A95A8E4FD0BB}"/>
                </a:ext>
              </a:extLst>
            </p:cNvPr>
            <p:cNvGrpSpPr/>
            <p:nvPr/>
          </p:nvGrpSpPr>
          <p:grpSpPr>
            <a:xfrm>
              <a:off x="1715450" y="1718498"/>
              <a:ext cx="8737857" cy="3386874"/>
              <a:chOff x="-2130469" y="1991215"/>
              <a:chExt cx="8275491" cy="3386874"/>
            </a:xfrm>
          </p:grpSpPr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4BE0FF8E-6665-447E-8EB2-721D3169E2C3}"/>
                  </a:ext>
                </a:extLst>
              </p:cNvPr>
              <p:cNvCxnSpPr>
                <a:endCxn id="30" idx="0"/>
              </p:cNvCxnSpPr>
              <p:nvPr/>
            </p:nvCxnSpPr>
            <p:spPr>
              <a:xfrm>
                <a:off x="3320122" y="1991215"/>
                <a:ext cx="1978192" cy="0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>
                <a:extLst>
                  <a:ext uri="{FF2B5EF4-FFF2-40B4-BE49-F238E27FC236}">
                    <a16:creationId xmlns:a16="http://schemas.microsoft.com/office/drawing/2014/main" id="{FAEC541A-CF5A-4D40-8B25-B6A9C5120B52}"/>
                  </a:ext>
                </a:extLst>
              </p:cNvPr>
              <p:cNvCxnSpPr>
                <a:stCxn id="31" idx="0"/>
              </p:cNvCxnSpPr>
              <p:nvPr/>
            </p:nvCxnSpPr>
            <p:spPr>
              <a:xfrm flipV="1">
                <a:off x="-1283761" y="3684651"/>
                <a:ext cx="6579744" cy="1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id="{F15D0C88-D379-4A27-86CE-B29176B9F0CD}"/>
                  </a:ext>
                </a:extLst>
              </p:cNvPr>
              <p:cNvCxnSpPr>
                <a:stCxn id="31" idx="2"/>
              </p:cNvCxnSpPr>
              <p:nvPr/>
            </p:nvCxnSpPr>
            <p:spPr>
              <a:xfrm flipV="1">
                <a:off x="-1267052" y="5377923"/>
                <a:ext cx="3813493" cy="2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ïṧļïdê">
                <a:extLst>
                  <a:ext uri="{FF2B5EF4-FFF2-40B4-BE49-F238E27FC236}">
                    <a16:creationId xmlns:a16="http://schemas.microsoft.com/office/drawing/2014/main" id="{6C9F3ED3-EA69-4EA9-BC32-522D5577E106}"/>
                  </a:ext>
                </a:extLst>
              </p:cNvPr>
              <p:cNvSpPr/>
              <p:nvPr/>
            </p:nvSpPr>
            <p:spPr>
              <a:xfrm>
                <a:off x="4451606" y="1991215"/>
                <a:ext cx="1693416" cy="1693416"/>
              </a:xfrm>
              <a:prstGeom prst="arc">
                <a:avLst>
                  <a:gd name="adj1" fmla="val 16200000"/>
                  <a:gd name="adj2" fmla="val 5467845"/>
                </a:avLst>
              </a:prstGeom>
              <a:ln w="19050"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ŝḻíḓê">
                <a:extLst>
                  <a:ext uri="{FF2B5EF4-FFF2-40B4-BE49-F238E27FC236}">
                    <a16:creationId xmlns:a16="http://schemas.microsoft.com/office/drawing/2014/main" id="{C7BB4414-3210-4C1F-8A82-4844B473ED7C}"/>
                  </a:ext>
                </a:extLst>
              </p:cNvPr>
              <p:cNvSpPr/>
              <p:nvPr/>
            </p:nvSpPr>
            <p:spPr>
              <a:xfrm flipH="1">
                <a:off x="-2130469" y="3684652"/>
                <a:ext cx="1693417" cy="1693437"/>
              </a:xfrm>
              <a:prstGeom prst="arc">
                <a:avLst>
                  <a:gd name="adj1" fmla="val 16200000"/>
                  <a:gd name="adj2" fmla="val 5467845"/>
                </a:avLst>
              </a:prstGeom>
              <a:ln w="19050"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7" name="ïṡlídé">
              <a:extLst>
                <a:ext uri="{FF2B5EF4-FFF2-40B4-BE49-F238E27FC236}">
                  <a16:creationId xmlns:a16="http://schemas.microsoft.com/office/drawing/2014/main" id="{60DA90BF-A5C1-487C-BD90-FFFB93B8DEEF}"/>
                </a:ext>
              </a:extLst>
            </p:cNvPr>
            <p:cNvSpPr/>
            <p:nvPr/>
          </p:nvSpPr>
          <p:spPr>
            <a:xfrm rot="5400000">
              <a:off x="8808761" y="1633791"/>
              <a:ext cx="226831" cy="195545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$ľiḓè">
              <a:extLst>
                <a:ext uri="{FF2B5EF4-FFF2-40B4-BE49-F238E27FC236}">
                  <a16:creationId xmlns:a16="http://schemas.microsoft.com/office/drawing/2014/main" id="{ACC176FB-BE03-4911-8E7A-25D6CDD3536C}"/>
                </a:ext>
              </a:extLst>
            </p:cNvPr>
            <p:cNvSpPr/>
            <p:nvPr/>
          </p:nvSpPr>
          <p:spPr>
            <a:xfrm rot="16200000" flipH="1">
              <a:off x="6017001" y="3298206"/>
              <a:ext cx="226831" cy="19554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îṣlïḓe">
              <a:extLst>
                <a:ext uri="{FF2B5EF4-FFF2-40B4-BE49-F238E27FC236}">
                  <a16:creationId xmlns:a16="http://schemas.microsoft.com/office/drawing/2014/main" id="{97EE3DA2-843F-4F4F-83B7-5E3435DA8A80}"/>
                </a:ext>
              </a:extLst>
            </p:cNvPr>
            <p:cNvSpPr/>
            <p:nvPr/>
          </p:nvSpPr>
          <p:spPr>
            <a:xfrm rot="5400000">
              <a:off x="5974699" y="5004887"/>
              <a:ext cx="226831" cy="195545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$ľiḍê">
              <a:extLst>
                <a:ext uri="{FF2B5EF4-FFF2-40B4-BE49-F238E27FC236}">
                  <a16:creationId xmlns:a16="http://schemas.microsoft.com/office/drawing/2014/main" id="{19D9D9F4-3025-4FB8-94E3-CB8DF872E96D}"/>
                </a:ext>
              </a:extLst>
            </p:cNvPr>
            <p:cNvSpPr/>
            <p:nvPr/>
          </p:nvSpPr>
          <p:spPr>
            <a:xfrm rot="10800000">
              <a:off x="10346447" y="2590831"/>
              <a:ext cx="226831" cy="19554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ŝļiḋè">
              <a:extLst>
                <a:ext uri="{FF2B5EF4-FFF2-40B4-BE49-F238E27FC236}">
                  <a16:creationId xmlns:a16="http://schemas.microsoft.com/office/drawing/2014/main" id="{D9CF56BD-220F-4FD3-82B0-F2980C9224CB}"/>
                </a:ext>
              </a:extLst>
            </p:cNvPr>
            <p:cNvSpPr/>
            <p:nvPr/>
          </p:nvSpPr>
          <p:spPr>
            <a:xfrm rot="10800000">
              <a:off x="1618722" y="4406453"/>
              <a:ext cx="226831" cy="19554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ṥlîďè">
              <a:extLst>
                <a:ext uri="{FF2B5EF4-FFF2-40B4-BE49-F238E27FC236}">
                  <a16:creationId xmlns:a16="http://schemas.microsoft.com/office/drawing/2014/main" id="{4F714358-3A93-40DB-BB4B-0A196250B9B5}"/>
                </a:ext>
              </a:extLst>
            </p:cNvPr>
            <p:cNvSpPr/>
            <p:nvPr/>
          </p:nvSpPr>
          <p:spPr>
            <a:xfrm>
              <a:off x="4688982" y="1340768"/>
              <a:ext cx="3349141" cy="9769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şḷiďe">
              <a:extLst>
                <a:ext uri="{FF2B5EF4-FFF2-40B4-BE49-F238E27FC236}">
                  <a16:creationId xmlns:a16="http://schemas.microsoft.com/office/drawing/2014/main" id="{6F725BD4-79D8-4F19-8B51-8181512400DB}"/>
                </a:ext>
              </a:extLst>
            </p:cNvPr>
            <p:cNvSpPr/>
            <p:nvPr/>
          </p:nvSpPr>
          <p:spPr>
            <a:xfrm>
              <a:off x="5606589" y="1527454"/>
              <a:ext cx="2361619" cy="526811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4" name="ïṧḻidé">
              <a:extLst>
                <a:ext uri="{FF2B5EF4-FFF2-40B4-BE49-F238E27FC236}">
                  <a16:creationId xmlns:a16="http://schemas.microsoft.com/office/drawing/2014/main" id="{F431CFCA-8DC7-44AB-A97E-AA38D296A25B}"/>
                </a:ext>
              </a:extLst>
            </p:cNvPr>
            <p:cNvSpPr/>
            <p:nvPr/>
          </p:nvSpPr>
          <p:spPr>
            <a:xfrm>
              <a:off x="2522008" y="3150559"/>
              <a:ext cx="3349141" cy="9769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ṩḻïdé">
              <a:extLst>
                <a:ext uri="{FF2B5EF4-FFF2-40B4-BE49-F238E27FC236}">
                  <a16:creationId xmlns:a16="http://schemas.microsoft.com/office/drawing/2014/main" id="{81B36748-B584-4DDD-8D44-E85E5282B65B}"/>
                </a:ext>
              </a:extLst>
            </p:cNvPr>
            <p:cNvSpPr/>
            <p:nvPr/>
          </p:nvSpPr>
          <p:spPr>
            <a:xfrm>
              <a:off x="3410213" y="3375606"/>
              <a:ext cx="2361619" cy="526811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6" name="íṣḻíḋè">
              <a:extLst>
                <a:ext uri="{FF2B5EF4-FFF2-40B4-BE49-F238E27FC236}">
                  <a16:creationId xmlns:a16="http://schemas.microsoft.com/office/drawing/2014/main" id="{6FAAF4F0-9365-45B0-84FB-3A9C86BC6D52}"/>
                </a:ext>
              </a:extLst>
            </p:cNvPr>
            <p:cNvSpPr/>
            <p:nvPr/>
          </p:nvSpPr>
          <p:spPr>
            <a:xfrm>
              <a:off x="2522008" y="4891768"/>
              <a:ext cx="3349141" cy="9769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ṡḻiḓè">
              <a:extLst>
                <a:ext uri="{FF2B5EF4-FFF2-40B4-BE49-F238E27FC236}">
                  <a16:creationId xmlns:a16="http://schemas.microsoft.com/office/drawing/2014/main" id="{C398DF0D-EE8E-4DAC-8400-2E42CF025740}"/>
                </a:ext>
              </a:extLst>
            </p:cNvPr>
            <p:cNvSpPr/>
            <p:nvPr/>
          </p:nvSpPr>
          <p:spPr>
            <a:xfrm>
              <a:off x="3410213" y="5116815"/>
              <a:ext cx="2361619" cy="526811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18" name="isḷïḑê">
              <a:extLst>
                <a:ext uri="{FF2B5EF4-FFF2-40B4-BE49-F238E27FC236}">
                  <a16:creationId xmlns:a16="http://schemas.microsoft.com/office/drawing/2014/main" id="{4366200D-00AC-4B0A-83B3-569B78819BBF}"/>
                </a:ext>
              </a:extLst>
            </p:cNvPr>
            <p:cNvSpPr/>
            <p:nvPr/>
          </p:nvSpPr>
          <p:spPr>
            <a:xfrm>
              <a:off x="6519751" y="3150559"/>
              <a:ext cx="3349141" cy="9769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liḋé">
              <a:extLst>
                <a:ext uri="{FF2B5EF4-FFF2-40B4-BE49-F238E27FC236}">
                  <a16:creationId xmlns:a16="http://schemas.microsoft.com/office/drawing/2014/main" id="{D53C8863-ECFA-44C7-8E0D-4C440B285316}"/>
                </a:ext>
              </a:extLst>
            </p:cNvPr>
            <p:cNvSpPr/>
            <p:nvPr/>
          </p:nvSpPr>
          <p:spPr>
            <a:xfrm>
              <a:off x="7464152" y="3375606"/>
              <a:ext cx="2361619" cy="526811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20" name="ïšļiḋê">
              <a:extLst>
                <a:ext uri="{FF2B5EF4-FFF2-40B4-BE49-F238E27FC236}">
                  <a16:creationId xmlns:a16="http://schemas.microsoft.com/office/drawing/2014/main" id="{57725302-8956-446C-91C5-6A4C4EB785A1}"/>
                </a:ext>
              </a:extLst>
            </p:cNvPr>
            <p:cNvSpPr/>
            <p:nvPr/>
          </p:nvSpPr>
          <p:spPr>
            <a:xfrm>
              <a:off x="6519751" y="4885050"/>
              <a:ext cx="3349141" cy="9769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ṩľîde">
              <a:extLst>
                <a:ext uri="{FF2B5EF4-FFF2-40B4-BE49-F238E27FC236}">
                  <a16:creationId xmlns:a16="http://schemas.microsoft.com/office/drawing/2014/main" id="{A4C89249-EEDC-43B1-91AE-DFF432632C48}"/>
                </a:ext>
              </a:extLst>
            </p:cNvPr>
            <p:cNvSpPr/>
            <p:nvPr/>
          </p:nvSpPr>
          <p:spPr>
            <a:xfrm>
              <a:off x="7464152" y="5110097"/>
              <a:ext cx="2361620" cy="526811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/>
                <a:t>Copy paste fonts. Choose the only option to retain text…...</a:t>
              </a:r>
            </a:p>
          </p:txBody>
        </p:sp>
        <p:sp>
          <p:nvSpPr>
            <p:cNvPr id="22" name="îšļîdé">
              <a:extLst>
                <a:ext uri="{FF2B5EF4-FFF2-40B4-BE49-F238E27FC236}">
                  <a16:creationId xmlns:a16="http://schemas.microsoft.com/office/drawing/2014/main" id="{FA143E7C-2A33-4382-8C9C-D0449A53A409}"/>
                </a:ext>
              </a:extLst>
            </p:cNvPr>
            <p:cNvSpPr txBox="1"/>
            <p:nvPr/>
          </p:nvSpPr>
          <p:spPr>
            <a:xfrm>
              <a:off x="4871076" y="1475277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23" name="íš1îdê">
              <a:extLst>
                <a:ext uri="{FF2B5EF4-FFF2-40B4-BE49-F238E27FC236}">
                  <a16:creationId xmlns:a16="http://schemas.microsoft.com/office/drawing/2014/main" id="{9CF4B6DE-D0D2-4637-8A4A-11A323897A1F}"/>
                </a:ext>
              </a:extLst>
            </p:cNvPr>
            <p:cNvSpPr txBox="1"/>
            <p:nvPr/>
          </p:nvSpPr>
          <p:spPr>
            <a:xfrm>
              <a:off x="6759354" y="3285068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24" name="ïşḻiḓê">
              <a:extLst>
                <a:ext uri="{FF2B5EF4-FFF2-40B4-BE49-F238E27FC236}">
                  <a16:creationId xmlns:a16="http://schemas.microsoft.com/office/drawing/2014/main" id="{C20CC2AF-F2EC-41A4-9B46-9648E073F805}"/>
                </a:ext>
              </a:extLst>
            </p:cNvPr>
            <p:cNvSpPr txBox="1"/>
            <p:nvPr/>
          </p:nvSpPr>
          <p:spPr>
            <a:xfrm>
              <a:off x="2726943" y="3285068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25" name="iśliḑè">
              <a:extLst>
                <a:ext uri="{FF2B5EF4-FFF2-40B4-BE49-F238E27FC236}">
                  <a16:creationId xmlns:a16="http://schemas.microsoft.com/office/drawing/2014/main" id="{AF97D527-0BA8-4827-A8F8-492F5895B910}"/>
                </a:ext>
              </a:extLst>
            </p:cNvPr>
            <p:cNvSpPr txBox="1"/>
            <p:nvPr/>
          </p:nvSpPr>
          <p:spPr>
            <a:xfrm>
              <a:off x="6759354" y="5028323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sp>
          <p:nvSpPr>
            <p:cNvPr id="26" name="îş1iḑè">
              <a:extLst>
                <a:ext uri="{FF2B5EF4-FFF2-40B4-BE49-F238E27FC236}">
                  <a16:creationId xmlns:a16="http://schemas.microsoft.com/office/drawing/2014/main" id="{6801A6A0-3EAB-4EC5-9168-F9AC2399F478}"/>
                </a:ext>
              </a:extLst>
            </p:cNvPr>
            <p:cNvSpPr txBox="1"/>
            <p:nvPr/>
          </p:nvSpPr>
          <p:spPr>
            <a:xfrm>
              <a:off x="2726943" y="5028323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3216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45959E-9490-4772-8E94-84686B6DD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8092B0-17FF-4C27-8FCB-25555EF04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590C37-DFD2-43F6-B2FF-69B46BE01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22105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44B6FF6-AE18-45DF-BCDE-29CA462FD480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0" y="1130300"/>
            <a:ext cx="10858500" cy="5105400"/>
            <a:chOff x="666750" y="1130300"/>
            <a:chExt cx="10858500" cy="5105400"/>
          </a:xfrm>
        </p:grpSpPr>
        <p:sp>
          <p:nvSpPr>
            <p:cNvPr id="6" name="íṩ1íḑe">
              <a:extLst>
                <a:ext uri="{FF2B5EF4-FFF2-40B4-BE49-F238E27FC236}">
                  <a16:creationId xmlns:a16="http://schemas.microsoft.com/office/drawing/2014/main" id="{640442C8-696A-4A44-B052-82DB03EC093F}"/>
                </a:ext>
              </a:extLst>
            </p:cNvPr>
            <p:cNvSpPr/>
            <p:nvPr/>
          </p:nvSpPr>
          <p:spPr bwMode="auto">
            <a:xfrm>
              <a:off x="666750" y="3244850"/>
              <a:ext cx="10858500" cy="2990850"/>
            </a:xfrm>
            <a:custGeom>
              <a:avLst/>
              <a:gdLst>
                <a:gd name="T0" fmla="*/ 1447 w 1707"/>
                <a:gd name="T1" fmla="*/ 254 h 468"/>
                <a:gd name="T2" fmla="*/ 1408 w 1707"/>
                <a:gd name="T3" fmla="*/ 246 h 468"/>
                <a:gd name="T4" fmla="*/ 1350 w 1707"/>
                <a:gd name="T5" fmla="*/ 329 h 468"/>
                <a:gd name="T6" fmla="*/ 1308 w 1707"/>
                <a:gd name="T7" fmla="*/ 347 h 468"/>
                <a:gd name="T8" fmla="*/ 1260 w 1707"/>
                <a:gd name="T9" fmla="*/ 398 h 468"/>
                <a:gd name="T10" fmla="*/ 1222 w 1707"/>
                <a:gd name="T11" fmla="*/ 366 h 468"/>
                <a:gd name="T12" fmla="*/ 1181 w 1707"/>
                <a:gd name="T13" fmla="*/ 368 h 468"/>
                <a:gd name="T14" fmla="*/ 1129 w 1707"/>
                <a:gd name="T15" fmla="*/ 418 h 468"/>
                <a:gd name="T16" fmla="*/ 1083 w 1707"/>
                <a:gd name="T17" fmla="*/ 399 h 468"/>
                <a:gd name="T18" fmla="*/ 1039 w 1707"/>
                <a:gd name="T19" fmla="*/ 389 h 468"/>
                <a:gd name="T20" fmla="*/ 984 w 1707"/>
                <a:gd name="T21" fmla="*/ 406 h 468"/>
                <a:gd name="T22" fmla="*/ 947 w 1707"/>
                <a:gd name="T23" fmla="*/ 418 h 468"/>
                <a:gd name="T24" fmla="*/ 901 w 1707"/>
                <a:gd name="T25" fmla="*/ 395 h 468"/>
                <a:gd name="T26" fmla="*/ 864 w 1707"/>
                <a:gd name="T27" fmla="*/ 390 h 468"/>
                <a:gd name="T28" fmla="*/ 818 w 1707"/>
                <a:gd name="T29" fmla="*/ 345 h 468"/>
                <a:gd name="T30" fmla="*/ 747 w 1707"/>
                <a:gd name="T31" fmla="*/ 409 h 468"/>
                <a:gd name="T32" fmla="*/ 696 w 1707"/>
                <a:gd name="T33" fmla="*/ 395 h 468"/>
                <a:gd name="T34" fmla="*/ 651 w 1707"/>
                <a:gd name="T35" fmla="*/ 417 h 468"/>
                <a:gd name="T36" fmla="*/ 594 w 1707"/>
                <a:gd name="T37" fmla="*/ 374 h 468"/>
                <a:gd name="T38" fmla="*/ 536 w 1707"/>
                <a:gd name="T39" fmla="*/ 357 h 468"/>
                <a:gd name="T40" fmla="*/ 488 w 1707"/>
                <a:gd name="T41" fmla="*/ 343 h 468"/>
                <a:gd name="T42" fmla="*/ 433 w 1707"/>
                <a:gd name="T43" fmla="*/ 338 h 468"/>
                <a:gd name="T44" fmla="*/ 389 w 1707"/>
                <a:gd name="T45" fmla="*/ 358 h 468"/>
                <a:gd name="T46" fmla="*/ 299 w 1707"/>
                <a:gd name="T47" fmla="*/ 420 h 468"/>
                <a:gd name="T48" fmla="*/ 160 w 1707"/>
                <a:gd name="T49" fmla="*/ 437 h 468"/>
                <a:gd name="T50" fmla="*/ 41 w 1707"/>
                <a:gd name="T51" fmla="*/ 468 h 468"/>
                <a:gd name="T52" fmla="*/ 195 w 1707"/>
                <a:gd name="T53" fmla="*/ 441 h 468"/>
                <a:gd name="T54" fmla="*/ 362 w 1707"/>
                <a:gd name="T55" fmla="*/ 426 h 468"/>
                <a:gd name="T56" fmla="*/ 405 w 1707"/>
                <a:gd name="T57" fmla="*/ 357 h 468"/>
                <a:gd name="T58" fmla="*/ 453 w 1707"/>
                <a:gd name="T59" fmla="*/ 355 h 468"/>
                <a:gd name="T60" fmla="*/ 497 w 1707"/>
                <a:gd name="T61" fmla="*/ 362 h 468"/>
                <a:gd name="T62" fmla="*/ 548 w 1707"/>
                <a:gd name="T63" fmla="*/ 378 h 468"/>
                <a:gd name="T64" fmla="*/ 602 w 1707"/>
                <a:gd name="T65" fmla="*/ 382 h 468"/>
                <a:gd name="T66" fmla="*/ 658 w 1707"/>
                <a:gd name="T67" fmla="*/ 436 h 468"/>
                <a:gd name="T68" fmla="*/ 697 w 1707"/>
                <a:gd name="T69" fmla="*/ 412 h 468"/>
                <a:gd name="T70" fmla="*/ 757 w 1707"/>
                <a:gd name="T71" fmla="*/ 415 h 468"/>
                <a:gd name="T72" fmla="*/ 819 w 1707"/>
                <a:gd name="T73" fmla="*/ 382 h 468"/>
                <a:gd name="T74" fmla="*/ 863 w 1707"/>
                <a:gd name="T75" fmla="*/ 411 h 468"/>
                <a:gd name="T76" fmla="*/ 900 w 1707"/>
                <a:gd name="T77" fmla="*/ 411 h 468"/>
                <a:gd name="T78" fmla="*/ 944 w 1707"/>
                <a:gd name="T79" fmla="*/ 429 h 468"/>
                <a:gd name="T80" fmla="*/ 995 w 1707"/>
                <a:gd name="T81" fmla="*/ 412 h 468"/>
                <a:gd name="T82" fmla="*/ 1036 w 1707"/>
                <a:gd name="T83" fmla="*/ 406 h 468"/>
                <a:gd name="T84" fmla="*/ 1079 w 1707"/>
                <a:gd name="T85" fmla="*/ 412 h 468"/>
                <a:gd name="T86" fmla="*/ 1128 w 1707"/>
                <a:gd name="T87" fmla="*/ 433 h 468"/>
                <a:gd name="T88" fmla="*/ 1184 w 1707"/>
                <a:gd name="T89" fmla="*/ 385 h 468"/>
                <a:gd name="T90" fmla="*/ 1218 w 1707"/>
                <a:gd name="T91" fmla="*/ 381 h 468"/>
                <a:gd name="T92" fmla="*/ 1249 w 1707"/>
                <a:gd name="T93" fmla="*/ 410 h 468"/>
                <a:gd name="T94" fmla="*/ 1297 w 1707"/>
                <a:gd name="T95" fmla="*/ 384 h 468"/>
                <a:gd name="T96" fmla="*/ 1351 w 1707"/>
                <a:gd name="T97" fmla="*/ 349 h 468"/>
                <a:gd name="T98" fmla="*/ 1390 w 1707"/>
                <a:gd name="T99" fmla="*/ 308 h 468"/>
                <a:gd name="T100" fmla="*/ 1433 w 1707"/>
                <a:gd name="T101" fmla="*/ 234 h 468"/>
                <a:gd name="T102" fmla="*/ 1492 w 1707"/>
                <a:gd name="T103" fmla="*/ 160 h 468"/>
                <a:gd name="T104" fmla="*/ 1560 w 1707"/>
                <a:gd name="T105" fmla="*/ 251 h 468"/>
                <a:gd name="T106" fmla="*/ 1592 w 1707"/>
                <a:gd name="T107" fmla="*/ 217 h 468"/>
                <a:gd name="T108" fmla="*/ 1632 w 1707"/>
                <a:gd name="T109" fmla="*/ 180 h 468"/>
                <a:gd name="T110" fmla="*/ 1684 w 1707"/>
                <a:gd name="T111" fmla="*/ 171 h 468"/>
                <a:gd name="T112" fmla="*/ 1682 w 1707"/>
                <a:gd name="T113" fmla="*/ 143 h 468"/>
                <a:gd name="T114" fmla="*/ 1638 w 1707"/>
                <a:gd name="T115" fmla="*/ 139 h 468"/>
                <a:gd name="T116" fmla="*/ 1590 w 1707"/>
                <a:gd name="T117" fmla="*/ 202 h 468"/>
                <a:gd name="T118" fmla="*/ 1548 w 1707"/>
                <a:gd name="T119" fmla="*/ 225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07" h="468">
                  <a:moveTo>
                    <a:pt x="1508" y="5"/>
                  </a:moveTo>
                  <a:cubicBezTo>
                    <a:pt x="1508" y="5"/>
                    <a:pt x="1492" y="119"/>
                    <a:pt x="1489" y="140"/>
                  </a:cubicBezTo>
                  <a:cubicBezTo>
                    <a:pt x="1488" y="140"/>
                    <a:pt x="1488" y="140"/>
                    <a:pt x="1487" y="140"/>
                  </a:cubicBezTo>
                  <a:cubicBezTo>
                    <a:pt x="1485" y="141"/>
                    <a:pt x="1483" y="143"/>
                    <a:pt x="1483" y="145"/>
                  </a:cubicBezTo>
                  <a:cubicBezTo>
                    <a:pt x="1483" y="145"/>
                    <a:pt x="1475" y="206"/>
                    <a:pt x="1474" y="213"/>
                  </a:cubicBezTo>
                  <a:cubicBezTo>
                    <a:pt x="1472" y="213"/>
                    <a:pt x="1471" y="215"/>
                    <a:pt x="1471" y="217"/>
                  </a:cubicBezTo>
                  <a:cubicBezTo>
                    <a:pt x="1471" y="217"/>
                    <a:pt x="1465" y="241"/>
                    <a:pt x="1463" y="247"/>
                  </a:cubicBezTo>
                  <a:cubicBezTo>
                    <a:pt x="1461" y="248"/>
                    <a:pt x="1459" y="249"/>
                    <a:pt x="1458" y="251"/>
                  </a:cubicBezTo>
                  <a:cubicBezTo>
                    <a:pt x="1458" y="251"/>
                    <a:pt x="1457" y="255"/>
                    <a:pt x="1457" y="256"/>
                  </a:cubicBezTo>
                  <a:cubicBezTo>
                    <a:pt x="1456" y="254"/>
                    <a:pt x="1455" y="253"/>
                    <a:pt x="1453" y="252"/>
                  </a:cubicBezTo>
                  <a:cubicBezTo>
                    <a:pt x="1451" y="252"/>
                    <a:pt x="1449" y="253"/>
                    <a:pt x="1447" y="254"/>
                  </a:cubicBezTo>
                  <a:cubicBezTo>
                    <a:pt x="1445" y="239"/>
                    <a:pt x="1443" y="215"/>
                    <a:pt x="1443" y="215"/>
                  </a:cubicBezTo>
                  <a:cubicBezTo>
                    <a:pt x="1442" y="213"/>
                    <a:pt x="1440" y="211"/>
                    <a:pt x="1437" y="210"/>
                  </a:cubicBezTo>
                  <a:cubicBezTo>
                    <a:pt x="1435" y="210"/>
                    <a:pt x="1432" y="212"/>
                    <a:pt x="1431" y="214"/>
                  </a:cubicBezTo>
                  <a:cubicBezTo>
                    <a:pt x="1431" y="214"/>
                    <a:pt x="1430" y="219"/>
                    <a:pt x="1429" y="222"/>
                  </a:cubicBezTo>
                  <a:cubicBezTo>
                    <a:pt x="1428" y="222"/>
                    <a:pt x="1427" y="222"/>
                    <a:pt x="1427" y="222"/>
                  </a:cubicBezTo>
                  <a:cubicBezTo>
                    <a:pt x="1424" y="222"/>
                    <a:pt x="1422" y="224"/>
                    <a:pt x="1421" y="227"/>
                  </a:cubicBezTo>
                  <a:cubicBezTo>
                    <a:pt x="1421" y="227"/>
                    <a:pt x="1420" y="234"/>
                    <a:pt x="1419" y="242"/>
                  </a:cubicBezTo>
                  <a:cubicBezTo>
                    <a:pt x="1418" y="241"/>
                    <a:pt x="1417" y="241"/>
                    <a:pt x="1415" y="241"/>
                  </a:cubicBezTo>
                  <a:cubicBezTo>
                    <a:pt x="1413" y="241"/>
                    <a:pt x="1411" y="243"/>
                    <a:pt x="1411" y="245"/>
                  </a:cubicBezTo>
                  <a:cubicBezTo>
                    <a:pt x="1411" y="245"/>
                    <a:pt x="1410" y="248"/>
                    <a:pt x="1410" y="250"/>
                  </a:cubicBezTo>
                  <a:cubicBezTo>
                    <a:pt x="1409" y="249"/>
                    <a:pt x="1408" y="246"/>
                    <a:pt x="1408" y="246"/>
                  </a:cubicBezTo>
                  <a:cubicBezTo>
                    <a:pt x="1408" y="244"/>
                    <a:pt x="1405" y="242"/>
                    <a:pt x="1403" y="243"/>
                  </a:cubicBezTo>
                  <a:cubicBezTo>
                    <a:pt x="1400" y="243"/>
                    <a:pt x="1398" y="244"/>
                    <a:pt x="1398" y="247"/>
                  </a:cubicBezTo>
                  <a:cubicBezTo>
                    <a:pt x="1398" y="247"/>
                    <a:pt x="1393" y="266"/>
                    <a:pt x="1389" y="282"/>
                  </a:cubicBezTo>
                  <a:cubicBezTo>
                    <a:pt x="1388" y="280"/>
                    <a:pt x="1386" y="279"/>
                    <a:pt x="1384" y="279"/>
                  </a:cubicBezTo>
                  <a:cubicBezTo>
                    <a:pt x="1382" y="279"/>
                    <a:pt x="1379" y="281"/>
                    <a:pt x="1379" y="284"/>
                  </a:cubicBezTo>
                  <a:cubicBezTo>
                    <a:pt x="1379" y="284"/>
                    <a:pt x="1376" y="297"/>
                    <a:pt x="1375" y="304"/>
                  </a:cubicBezTo>
                  <a:cubicBezTo>
                    <a:pt x="1374" y="296"/>
                    <a:pt x="1372" y="288"/>
                    <a:pt x="1372" y="288"/>
                  </a:cubicBezTo>
                  <a:cubicBezTo>
                    <a:pt x="1372" y="286"/>
                    <a:pt x="1370" y="284"/>
                    <a:pt x="1367" y="284"/>
                  </a:cubicBezTo>
                  <a:cubicBezTo>
                    <a:pt x="1364" y="283"/>
                    <a:pt x="1362" y="285"/>
                    <a:pt x="1361" y="288"/>
                  </a:cubicBezTo>
                  <a:cubicBezTo>
                    <a:pt x="1361" y="288"/>
                    <a:pt x="1355" y="316"/>
                    <a:pt x="1352" y="329"/>
                  </a:cubicBezTo>
                  <a:cubicBezTo>
                    <a:pt x="1351" y="329"/>
                    <a:pt x="1351" y="329"/>
                    <a:pt x="1350" y="329"/>
                  </a:cubicBezTo>
                  <a:cubicBezTo>
                    <a:pt x="1348" y="329"/>
                    <a:pt x="1346" y="331"/>
                    <a:pt x="1345" y="333"/>
                  </a:cubicBezTo>
                  <a:cubicBezTo>
                    <a:pt x="1345" y="333"/>
                    <a:pt x="1343" y="339"/>
                    <a:pt x="1342" y="341"/>
                  </a:cubicBezTo>
                  <a:cubicBezTo>
                    <a:pt x="1341" y="343"/>
                    <a:pt x="1335" y="349"/>
                    <a:pt x="1335" y="349"/>
                  </a:cubicBezTo>
                  <a:cubicBezTo>
                    <a:pt x="1334" y="349"/>
                    <a:pt x="1334" y="350"/>
                    <a:pt x="1334" y="350"/>
                  </a:cubicBezTo>
                  <a:cubicBezTo>
                    <a:pt x="1329" y="359"/>
                    <a:pt x="1329" y="359"/>
                    <a:pt x="1329" y="359"/>
                  </a:cubicBezTo>
                  <a:cubicBezTo>
                    <a:pt x="1329" y="359"/>
                    <a:pt x="1327" y="361"/>
                    <a:pt x="1327" y="363"/>
                  </a:cubicBezTo>
                  <a:cubicBezTo>
                    <a:pt x="1327" y="363"/>
                    <a:pt x="1327" y="363"/>
                    <a:pt x="1327" y="363"/>
                  </a:cubicBezTo>
                  <a:cubicBezTo>
                    <a:pt x="1326" y="361"/>
                    <a:pt x="1324" y="359"/>
                    <a:pt x="1322" y="359"/>
                  </a:cubicBezTo>
                  <a:cubicBezTo>
                    <a:pt x="1320" y="358"/>
                    <a:pt x="1318" y="359"/>
                    <a:pt x="1317" y="361"/>
                  </a:cubicBezTo>
                  <a:cubicBezTo>
                    <a:pt x="1317" y="361"/>
                    <a:pt x="1315" y="364"/>
                    <a:pt x="1313" y="366"/>
                  </a:cubicBezTo>
                  <a:cubicBezTo>
                    <a:pt x="1310" y="357"/>
                    <a:pt x="1308" y="347"/>
                    <a:pt x="1308" y="347"/>
                  </a:cubicBezTo>
                  <a:cubicBezTo>
                    <a:pt x="1307" y="345"/>
                    <a:pt x="1305" y="343"/>
                    <a:pt x="1302" y="343"/>
                  </a:cubicBezTo>
                  <a:cubicBezTo>
                    <a:pt x="1300" y="343"/>
                    <a:pt x="1298" y="345"/>
                    <a:pt x="1297" y="347"/>
                  </a:cubicBezTo>
                  <a:cubicBezTo>
                    <a:pt x="1297" y="347"/>
                    <a:pt x="1293" y="358"/>
                    <a:pt x="1290" y="368"/>
                  </a:cubicBezTo>
                  <a:cubicBezTo>
                    <a:pt x="1289" y="366"/>
                    <a:pt x="1288" y="365"/>
                    <a:pt x="1286" y="365"/>
                  </a:cubicBezTo>
                  <a:cubicBezTo>
                    <a:pt x="1284" y="365"/>
                    <a:pt x="1282" y="366"/>
                    <a:pt x="1281" y="368"/>
                  </a:cubicBezTo>
                  <a:cubicBezTo>
                    <a:pt x="1281" y="368"/>
                    <a:pt x="1278" y="372"/>
                    <a:pt x="1276" y="376"/>
                  </a:cubicBezTo>
                  <a:cubicBezTo>
                    <a:pt x="1275" y="375"/>
                    <a:pt x="1273" y="374"/>
                    <a:pt x="1271" y="374"/>
                  </a:cubicBezTo>
                  <a:cubicBezTo>
                    <a:pt x="1269" y="374"/>
                    <a:pt x="1267" y="375"/>
                    <a:pt x="1266" y="377"/>
                  </a:cubicBezTo>
                  <a:cubicBezTo>
                    <a:pt x="1261" y="386"/>
                    <a:pt x="1261" y="386"/>
                    <a:pt x="1261" y="386"/>
                  </a:cubicBezTo>
                  <a:cubicBezTo>
                    <a:pt x="1261" y="387"/>
                    <a:pt x="1261" y="388"/>
                    <a:pt x="1261" y="388"/>
                  </a:cubicBezTo>
                  <a:cubicBezTo>
                    <a:pt x="1261" y="388"/>
                    <a:pt x="1260" y="394"/>
                    <a:pt x="1260" y="398"/>
                  </a:cubicBezTo>
                  <a:cubicBezTo>
                    <a:pt x="1258" y="398"/>
                    <a:pt x="1258" y="399"/>
                    <a:pt x="1256" y="400"/>
                  </a:cubicBezTo>
                  <a:cubicBezTo>
                    <a:pt x="1255" y="399"/>
                    <a:pt x="1255" y="398"/>
                    <a:pt x="1255" y="398"/>
                  </a:cubicBezTo>
                  <a:cubicBezTo>
                    <a:pt x="1254" y="396"/>
                    <a:pt x="1250" y="377"/>
                    <a:pt x="1250" y="377"/>
                  </a:cubicBezTo>
                  <a:cubicBezTo>
                    <a:pt x="1249" y="375"/>
                    <a:pt x="1248" y="374"/>
                    <a:pt x="1246" y="373"/>
                  </a:cubicBezTo>
                  <a:cubicBezTo>
                    <a:pt x="1244" y="372"/>
                    <a:pt x="1243" y="373"/>
                    <a:pt x="1241" y="374"/>
                  </a:cubicBezTo>
                  <a:cubicBezTo>
                    <a:pt x="1241" y="373"/>
                    <a:pt x="1240" y="372"/>
                    <a:pt x="1240" y="372"/>
                  </a:cubicBezTo>
                  <a:cubicBezTo>
                    <a:pt x="1238" y="369"/>
                    <a:pt x="1235" y="368"/>
                    <a:pt x="1232" y="370"/>
                  </a:cubicBezTo>
                  <a:cubicBezTo>
                    <a:pt x="1232" y="370"/>
                    <a:pt x="1231" y="370"/>
                    <a:pt x="1230" y="371"/>
                  </a:cubicBezTo>
                  <a:cubicBezTo>
                    <a:pt x="1230" y="371"/>
                    <a:pt x="1230" y="370"/>
                    <a:pt x="1230" y="370"/>
                  </a:cubicBezTo>
                  <a:cubicBezTo>
                    <a:pt x="1230" y="368"/>
                    <a:pt x="1229" y="366"/>
                    <a:pt x="1227" y="366"/>
                  </a:cubicBezTo>
                  <a:cubicBezTo>
                    <a:pt x="1226" y="365"/>
                    <a:pt x="1224" y="365"/>
                    <a:pt x="1222" y="366"/>
                  </a:cubicBezTo>
                  <a:cubicBezTo>
                    <a:pt x="1222" y="366"/>
                    <a:pt x="1221" y="366"/>
                    <a:pt x="1221" y="366"/>
                  </a:cubicBezTo>
                  <a:cubicBezTo>
                    <a:pt x="1220" y="362"/>
                    <a:pt x="1220" y="358"/>
                    <a:pt x="1220" y="358"/>
                  </a:cubicBezTo>
                  <a:cubicBezTo>
                    <a:pt x="1220" y="355"/>
                    <a:pt x="1218" y="353"/>
                    <a:pt x="1215" y="352"/>
                  </a:cubicBezTo>
                  <a:cubicBezTo>
                    <a:pt x="1208" y="351"/>
                    <a:pt x="1208" y="351"/>
                    <a:pt x="1208" y="351"/>
                  </a:cubicBezTo>
                  <a:cubicBezTo>
                    <a:pt x="1205" y="351"/>
                    <a:pt x="1202" y="353"/>
                    <a:pt x="1201" y="355"/>
                  </a:cubicBezTo>
                  <a:cubicBezTo>
                    <a:pt x="1201" y="355"/>
                    <a:pt x="1201" y="358"/>
                    <a:pt x="1200" y="359"/>
                  </a:cubicBezTo>
                  <a:cubicBezTo>
                    <a:pt x="1199" y="358"/>
                    <a:pt x="1198" y="358"/>
                    <a:pt x="1197" y="358"/>
                  </a:cubicBezTo>
                  <a:cubicBezTo>
                    <a:pt x="1195" y="358"/>
                    <a:pt x="1193" y="360"/>
                    <a:pt x="1192" y="362"/>
                  </a:cubicBezTo>
                  <a:cubicBezTo>
                    <a:pt x="1192" y="362"/>
                    <a:pt x="1191" y="365"/>
                    <a:pt x="1191" y="367"/>
                  </a:cubicBezTo>
                  <a:cubicBezTo>
                    <a:pt x="1190" y="366"/>
                    <a:pt x="1188" y="365"/>
                    <a:pt x="1187" y="365"/>
                  </a:cubicBezTo>
                  <a:cubicBezTo>
                    <a:pt x="1185" y="365"/>
                    <a:pt x="1182" y="366"/>
                    <a:pt x="1181" y="368"/>
                  </a:cubicBezTo>
                  <a:cubicBezTo>
                    <a:pt x="1181" y="368"/>
                    <a:pt x="1177" y="376"/>
                    <a:pt x="1176" y="377"/>
                  </a:cubicBezTo>
                  <a:cubicBezTo>
                    <a:pt x="1175" y="378"/>
                    <a:pt x="1165" y="387"/>
                    <a:pt x="1165" y="387"/>
                  </a:cubicBezTo>
                  <a:cubicBezTo>
                    <a:pt x="1164" y="387"/>
                    <a:pt x="1164" y="388"/>
                    <a:pt x="1163" y="389"/>
                  </a:cubicBezTo>
                  <a:cubicBezTo>
                    <a:pt x="1163" y="389"/>
                    <a:pt x="1160" y="397"/>
                    <a:pt x="1159" y="398"/>
                  </a:cubicBezTo>
                  <a:cubicBezTo>
                    <a:pt x="1158" y="399"/>
                    <a:pt x="1150" y="410"/>
                    <a:pt x="1150" y="410"/>
                  </a:cubicBezTo>
                  <a:cubicBezTo>
                    <a:pt x="1149" y="410"/>
                    <a:pt x="1149" y="411"/>
                    <a:pt x="1149" y="411"/>
                  </a:cubicBezTo>
                  <a:cubicBezTo>
                    <a:pt x="1149" y="411"/>
                    <a:pt x="1144" y="423"/>
                    <a:pt x="1143" y="425"/>
                  </a:cubicBezTo>
                  <a:cubicBezTo>
                    <a:pt x="1143" y="426"/>
                    <a:pt x="1142" y="426"/>
                    <a:pt x="1142" y="426"/>
                  </a:cubicBezTo>
                  <a:cubicBezTo>
                    <a:pt x="1140" y="423"/>
                    <a:pt x="1137" y="419"/>
                    <a:pt x="1137" y="419"/>
                  </a:cubicBezTo>
                  <a:cubicBezTo>
                    <a:pt x="1136" y="418"/>
                    <a:pt x="1135" y="417"/>
                    <a:pt x="1133" y="417"/>
                  </a:cubicBezTo>
                  <a:cubicBezTo>
                    <a:pt x="1131" y="416"/>
                    <a:pt x="1130" y="417"/>
                    <a:pt x="1129" y="418"/>
                  </a:cubicBezTo>
                  <a:cubicBezTo>
                    <a:pt x="1129" y="418"/>
                    <a:pt x="1127" y="420"/>
                    <a:pt x="1124" y="421"/>
                  </a:cubicBezTo>
                  <a:cubicBezTo>
                    <a:pt x="1121" y="419"/>
                    <a:pt x="1116" y="416"/>
                    <a:pt x="1116" y="416"/>
                  </a:cubicBezTo>
                  <a:cubicBezTo>
                    <a:pt x="1115" y="415"/>
                    <a:pt x="1113" y="414"/>
                    <a:pt x="1112" y="415"/>
                  </a:cubicBezTo>
                  <a:cubicBezTo>
                    <a:pt x="1112" y="415"/>
                    <a:pt x="1111" y="415"/>
                    <a:pt x="1110" y="415"/>
                  </a:cubicBezTo>
                  <a:cubicBezTo>
                    <a:pt x="1108" y="412"/>
                    <a:pt x="1104" y="408"/>
                    <a:pt x="1103" y="407"/>
                  </a:cubicBezTo>
                  <a:cubicBezTo>
                    <a:pt x="1102" y="406"/>
                    <a:pt x="1099" y="398"/>
                    <a:pt x="1099" y="398"/>
                  </a:cubicBezTo>
                  <a:cubicBezTo>
                    <a:pt x="1098" y="396"/>
                    <a:pt x="1097" y="394"/>
                    <a:pt x="1094" y="394"/>
                  </a:cubicBezTo>
                  <a:cubicBezTo>
                    <a:pt x="1092" y="394"/>
                    <a:pt x="1090" y="395"/>
                    <a:pt x="1089" y="397"/>
                  </a:cubicBezTo>
                  <a:cubicBezTo>
                    <a:pt x="1089" y="397"/>
                    <a:pt x="1089" y="398"/>
                    <a:pt x="1088" y="399"/>
                  </a:cubicBezTo>
                  <a:cubicBezTo>
                    <a:pt x="1087" y="399"/>
                    <a:pt x="1086" y="399"/>
                    <a:pt x="1086" y="399"/>
                  </a:cubicBezTo>
                  <a:cubicBezTo>
                    <a:pt x="1085" y="399"/>
                    <a:pt x="1084" y="399"/>
                    <a:pt x="1083" y="399"/>
                  </a:cubicBezTo>
                  <a:cubicBezTo>
                    <a:pt x="1083" y="399"/>
                    <a:pt x="1082" y="400"/>
                    <a:pt x="1081" y="401"/>
                  </a:cubicBezTo>
                  <a:cubicBezTo>
                    <a:pt x="1080" y="400"/>
                    <a:pt x="1079" y="400"/>
                    <a:pt x="1079" y="400"/>
                  </a:cubicBezTo>
                  <a:cubicBezTo>
                    <a:pt x="1078" y="400"/>
                    <a:pt x="1074" y="397"/>
                    <a:pt x="1072" y="396"/>
                  </a:cubicBezTo>
                  <a:cubicBezTo>
                    <a:pt x="1071" y="393"/>
                    <a:pt x="1069" y="384"/>
                    <a:pt x="1069" y="384"/>
                  </a:cubicBezTo>
                  <a:cubicBezTo>
                    <a:pt x="1068" y="382"/>
                    <a:pt x="1067" y="381"/>
                    <a:pt x="1065" y="380"/>
                  </a:cubicBezTo>
                  <a:cubicBezTo>
                    <a:pt x="1063" y="380"/>
                    <a:pt x="1061" y="380"/>
                    <a:pt x="1059" y="382"/>
                  </a:cubicBezTo>
                  <a:cubicBezTo>
                    <a:pt x="1059" y="382"/>
                    <a:pt x="1057" y="384"/>
                    <a:pt x="1055" y="386"/>
                  </a:cubicBezTo>
                  <a:cubicBezTo>
                    <a:pt x="1054" y="385"/>
                    <a:pt x="1053" y="385"/>
                    <a:pt x="1053" y="385"/>
                  </a:cubicBezTo>
                  <a:cubicBezTo>
                    <a:pt x="1051" y="384"/>
                    <a:pt x="1048" y="385"/>
                    <a:pt x="1047" y="387"/>
                  </a:cubicBezTo>
                  <a:cubicBezTo>
                    <a:pt x="1047" y="387"/>
                    <a:pt x="1044" y="390"/>
                    <a:pt x="1041" y="393"/>
                  </a:cubicBezTo>
                  <a:cubicBezTo>
                    <a:pt x="1040" y="391"/>
                    <a:pt x="1039" y="389"/>
                    <a:pt x="1039" y="389"/>
                  </a:cubicBezTo>
                  <a:cubicBezTo>
                    <a:pt x="1038" y="387"/>
                    <a:pt x="1036" y="387"/>
                    <a:pt x="1034" y="387"/>
                  </a:cubicBezTo>
                  <a:cubicBezTo>
                    <a:pt x="1032" y="387"/>
                    <a:pt x="1030" y="388"/>
                    <a:pt x="1029" y="390"/>
                  </a:cubicBezTo>
                  <a:cubicBezTo>
                    <a:pt x="1029" y="390"/>
                    <a:pt x="1026" y="398"/>
                    <a:pt x="1024" y="402"/>
                  </a:cubicBezTo>
                  <a:cubicBezTo>
                    <a:pt x="1022" y="402"/>
                    <a:pt x="1020" y="402"/>
                    <a:pt x="1020" y="402"/>
                  </a:cubicBezTo>
                  <a:cubicBezTo>
                    <a:pt x="1018" y="402"/>
                    <a:pt x="1015" y="403"/>
                    <a:pt x="1014" y="405"/>
                  </a:cubicBezTo>
                  <a:cubicBezTo>
                    <a:pt x="1014" y="405"/>
                    <a:pt x="1014" y="405"/>
                    <a:pt x="1014" y="406"/>
                  </a:cubicBezTo>
                  <a:cubicBezTo>
                    <a:pt x="1012" y="404"/>
                    <a:pt x="1008" y="404"/>
                    <a:pt x="1006" y="406"/>
                  </a:cubicBezTo>
                  <a:cubicBezTo>
                    <a:pt x="1006" y="406"/>
                    <a:pt x="1006" y="406"/>
                    <a:pt x="1005" y="406"/>
                  </a:cubicBezTo>
                  <a:cubicBezTo>
                    <a:pt x="1005" y="406"/>
                    <a:pt x="998" y="400"/>
                    <a:pt x="998" y="400"/>
                  </a:cubicBezTo>
                  <a:cubicBezTo>
                    <a:pt x="996" y="398"/>
                    <a:pt x="993" y="398"/>
                    <a:pt x="991" y="400"/>
                  </a:cubicBezTo>
                  <a:cubicBezTo>
                    <a:pt x="984" y="406"/>
                    <a:pt x="984" y="406"/>
                    <a:pt x="984" y="406"/>
                  </a:cubicBezTo>
                  <a:cubicBezTo>
                    <a:pt x="984" y="406"/>
                    <a:pt x="984" y="406"/>
                    <a:pt x="984" y="406"/>
                  </a:cubicBezTo>
                  <a:cubicBezTo>
                    <a:pt x="984" y="406"/>
                    <a:pt x="983" y="407"/>
                    <a:pt x="983" y="408"/>
                  </a:cubicBezTo>
                  <a:cubicBezTo>
                    <a:pt x="982" y="408"/>
                    <a:pt x="982" y="407"/>
                    <a:pt x="982" y="407"/>
                  </a:cubicBezTo>
                  <a:cubicBezTo>
                    <a:pt x="981" y="407"/>
                    <a:pt x="980" y="407"/>
                    <a:pt x="979" y="407"/>
                  </a:cubicBezTo>
                  <a:cubicBezTo>
                    <a:pt x="979" y="407"/>
                    <a:pt x="976" y="407"/>
                    <a:pt x="974" y="407"/>
                  </a:cubicBezTo>
                  <a:cubicBezTo>
                    <a:pt x="972" y="405"/>
                    <a:pt x="968" y="402"/>
                    <a:pt x="968" y="402"/>
                  </a:cubicBezTo>
                  <a:cubicBezTo>
                    <a:pt x="966" y="400"/>
                    <a:pt x="962" y="400"/>
                    <a:pt x="960" y="402"/>
                  </a:cubicBezTo>
                  <a:cubicBezTo>
                    <a:pt x="950" y="413"/>
                    <a:pt x="950" y="413"/>
                    <a:pt x="950" y="413"/>
                  </a:cubicBezTo>
                  <a:cubicBezTo>
                    <a:pt x="949" y="414"/>
                    <a:pt x="949" y="415"/>
                    <a:pt x="949" y="416"/>
                  </a:cubicBezTo>
                  <a:cubicBezTo>
                    <a:pt x="949" y="416"/>
                    <a:pt x="948" y="417"/>
                    <a:pt x="948" y="418"/>
                  </a:cubicBezTo>
                  <a:cubicBezTo>
                    <a:pt x="948" y="418"/>
                    <a:pt x="948" y="418"/>
                    <a:pt x="947" y="418"/>
                  </a:cubicBezTo>
                  <a:cubicBezTo>
                    <a:pt x="946" y="415"/>
                    <a:pt x="944" y="411"/>
                    <a:pt x="944" y="411"/>
                  </a:cubicBezTo>
                  <a:cubicBezTo>
                    <a:pt x="943" y="409"/>
                    <a:pt x="941" y="408"/>
                    <a:pt x="939" y="408"/>
                  </a:cubicBezTo>
                  <a:cubicBezTo>
                    <a:pt x="939" y="408"/>
                    <a:pt x="933" y="408"/>
                    <a:pt x="931" y="408"/>
                  </a:cubicBezTo>
                  <a:cubicBezTo>
                    <a:pt x="930" y="407"/>
                    <a:pt x="930" y="407"/>
                    <a:pt x="929" y="406"/>
                  </a:cubicBezTo>
                  <a:cubicBezTo>
                    <a:pt x="928" y="405"/>
                    <a:pt x="926" y="401"/>
                    <a:pt x="926" y="401"/>
                  </a:cubicBezTo>
                  <a:cubicBezTo>
                    <a:pt x="925" y="400"/>
                    <a:pt x="923" y="398"/>
                    <a:pt x="921" y="398"/>
                  </a:cubicBezTo>
                  <a:cubicBezTo>
                    <a:pt x="912" y="398"/>
                    <a:pt x="912" y="398"/>
                    <a:pt x="912" y="398"/>
                  </a:cubicBezTo>
                  <a:cubicBezTo>
                    <a:pt x="911" y="398"/>
                    <a:pt x="909" y="399"/>
                    <a:pt x="908" y="400"/>
                  </a:cubicBezTo>
                  <a:cubicBezTo>
                    <a:pt x="908" y="400"/>
                    <a:pt x="907" y="401"/>
                    <a:pt x="907" y="402"/>
                  </a:cubicBezTo>
                  <a:cubicBezTo>
                    <a:pt x="906" y="401"/>
                    <a:pt x="906" y="401"/>
                    <a:pt x="906" y="401"/>
                  </a:cubicBezTo>
                  <a:cubicBezTo>
                    <a:pt x="905" y="399"/>
                    <a:pt x="901" y="395"/>
                    <a:pt x="901" y="395"/>
                  </a:cubicBezTo>
                  <a:cubicBezTo>
                    <a:pt x="900" y="392"/>
                    <a:pt x="897" y="391"/>
                    <a:pt x="894" y="393"/>
                  </a:cubicBezTo>
                  <a:cubicBezTo>
                    <a:pt x="894" y="393"/>
                    <a:pt x="893" y="393"/>
                    <a:pt x="891" y="394"/>
                  </a:cubicBezTo>
                  <a:cubicBezTo>
                    <a:pt x="889" y="393"/>
                    <a:pt x="886" y="391"/>
                    <a:pt x="886" y="391"/>
                  </a:cubicBezTo>
                  <a:cubicBezTo>
                    <a:pt x="885" y="391"/>
                    <a:pt x="883" y="390"/>
                    <a:pt x="882" y="391"/>
                  </a:cubicBezTo>
                  <a:cubicBezTo>
                    <a:pt x="880" y="392"/>
                    <a:pt x="879" y="393"/>
                    <a:pt x="878" y="394"/>
                  </a:cubicBezTo>
                  <a:cubicBezTo>
                    <a:pt x="878" y="394"/>
                    <a:pt x="878" y="396"/>
                    <a:pt x="877" y="397"/>
                  </a:cubicBezTo>
                  <a:cubicBezTo>
                    <a:pt x="876" y="398"/>
                    <a:pt x="874" y="400"/>
                    <a:pt x="874" y="400"/>
                  </a:cubicBezTo>
                  <a:cubicBezTo>
                    <a:pt x="873" y="400"/>
                    <a:pt x="872" y="401"/>
                    <a:pt x="872" y="402"/>
                  </a:cubicBezTo>
                  <a:cubicBezTo>
                    <a:pt x="871" y="400"/>
                    <a:pt x="869" y="397"/>
                    <a:pt x="869" y="397"/>
                  </a:cubicBezTo>
                  <a:cubicBezTo>
                    <a:pt x="869" y="397"/>
                    <a:pt x="869" y="397"/>
                    <a:pt x="869" y="396"/>
                  </a:cubicBezTo>
                  <a:cubicBezTo>
                    <a:pt x="864" y="390"/>
                    <a:pt x="864" y="390"/>
                    <a:pt x="864" y="390"/>
                  </a:cubicBezTo>
                  <a:cubicBezTo>
                    <a:pt x="863" y="389"/>
                    <a:pt x="862" y="388"/>
                    <a:pt x="860" y="388"/>
                  </a:cubicBezTo>
                  <a:cubicBezTo>
                    <a:pt x="859" y="387"/>
                    <a:pt x="857" y="388"/>
                    <a:pt x="856" y="389"/>
                  </a:cubicBezTo>
                  <a:cubicBezTo>
                    <a:pt x="850" y="394"/>
                    <a:pt x="850" y="394"/>
                    <a:pt x="850" y="394"/>
                  </a:cubicBezTo>
                  <a:cubicBezTo>
                    <a:pt x="850" y="394"/>
                    <a:pt x="848" y="395"/>
                    <a:pt x="846" y="396"/>
                  </a:cubicBezTo>
                  <a:cubicBezTo>
                    <a:pt x="846" y="396"/>
                    <a:pt x="846" y="396"/>
                    <a:pt x="846" y="396"/>
                  </a:cubicBezTo>
                  <a:cubicBezTo>
                    <a:pt x="845" y="395"/>
                    <a:pt x="844" y="394"/>
                    <a:pt x="842" y="394"/>
                  </a:cubicBezTo>
                  <a:cubicBezTo>
                    <a:pt x="841" y="393"/>
                    <a:pt x="839" y="394"/>
                    <a:pt x="837" y="395"/>
                  </a:cubicBezTo>
                  <a:cubicBezTo>
                    <a:pt x="837" y="395"/>
                    <a:pt x="837" y="395"/>
                    <a:pt x="837" y="395"/>
                  </a:cubicBezTo>
                  <a:cubicBezTo>
                    <a:pt x="834" y="388"/>
                    <a:pt x="830" y="379"/>
                    <a:pt x="829" y="378"/>
                  </a:cubicBezTo>
                  <a:cubicBezTo>
                    <a:pt x="829" y="377"/>
                    <a:pt x="823" y="349"/>
                    <a:pt x="823" y="349"/>
                  </a:cubicBezTo>
                  <a:cubicBezTo>
                    <a:pt x="823" y="347"/>
                    <a:pt x="820" y="345"/>
                    <a:pt x="818" y="345"/>
                  </a:cubicBezTo>
                  <a:cubicBezTo>
                    <a:pt x="815" y="345"/>
                    <a:pt x="813" y="347"/>
                    <a:pt x="812" y="350"/>
                  </a:cubicBezTo>
                  <a:cubicBezTo>
                    <a:pt x="812" y="350"/>
                    <a:pt x="806" y="389"/>
                    <a:pt x="804" y="404"/>
                  </a:cubicBezTo>
                  <a:cubicBezTo>
                    <a:pt x="804" y="403"/>
                    <a:pt x="794" y="393"/>
                    <a:pt x="794" y="393"/>
                  </a:cubicBezTo>
                  <a:cubicBezTo>
                    <a:pt x="793" y="391"/>
                    <a:pt x="791" y="391"/>
                    <a:pt x="790" y="391"/>
                  </a:cubicBezTo>
                  <a:cubicBezTo>
                    <a:pt x="788" y="391"/>
                    <a:pt x="787" y="392"/>
                    <a:pt x="785" y="393"/>
                  </a:cubicBezTo>
                  <a:cubicBezTo>
                    <a:pt x="785" y="393"/>
                    <a:pt x="779" y="399"/>
                    <a:pt x="778" y="400"/>
                  </a:cubicBezTo>
                  <a:cubicBezTo>
                    <a:pt x="778" y="401"/>
                    <a:pt x="776" y="402"/>
                    <a:pt x="774" y="403"/>
                  </a:cubicBezTo>
                  <a:cubicBezTo>
                    <a:pt x="770" y="401"/>
                    <a:pt x="764" y="396"/>
                    <a:pt x="764" y="396"/>
                  </a:cubicBezTo>
                  <a:cubicBezTo>
                    <a:pt x="761" y="395"/>
                    <a:pt x="758" y="395"/>
                    <a:pt x="756" y="397"/>
                  </a:cubicBezTo>
                  <a:cubicBezTo>
                    <a:pt x="748" y="408"/>
                    <a:pt x="748" y="408"/>
                    <a:pt x="748" y="408"/>
                  </a:cubicBezTo>
                  <a:cubicBezTo>
                    <a:pt x="747" y="408"/>
                    <a:pt x="747" y="409"/>
                    <a:pt x="747" y="409"/>
                  </a:cubicBezTo>
                  <a:cubicBezTo>
                    <a:pt x="747" y="409"/>
                    <a:pt x="744" y="415"/>
                    <a:pt x="742" y="419"/>
                  </a:cubicBezTo>
                  <a:cubicBezTo>
                    <a:pt x="738" y="418"/>
                    <a:pt x="736" y="416"/>
                    <a:pt x="735" y="416"/>
                  </a:cubicBezTo>
                  <a:cubicBezTo>
                    <a:pt x="734" y="415"/>
                    <a:pt x="724" y="407"/>
                    <a:pt x="724" y="407"/>
                  </a:cubicBezTo>
                  <a:cubicBezTo>
                    <a:pt x="723" y="406"/>
                    <a:pt x="721" y="406"/>
                    <a:pt x="719" y="406"/>
                  </a:cubicBezTo>
                  <a:cubicBezTo>
                    <a:pt x="718" y="407"/>
                    <a:pt x="716" y="408"/>
                    <a:pt x="716" y="410"/>
                  </a:cubicBezTo>
                  <a:cubicBezTo>
                    <a:pt x="716" y="410"/>
                    <a:pt x="715" y="410"/>
                    <a:pt x="715" y="411"/>
                  </a:cubicBezTo>
                  <a:cubicBezTo>
                    <a:pt x="714" y="410"/>
                    <a:pt x="713" y="410"/>
                    <a:pt x="713" y="410"/>
                  </a:cubicBezTo>
                  <a:cubicBezTo>
                    <a:pt x="712" y="407"/>
                    <a:pt x="710" y="404"/>
                    <a:pt x="710" y="404"/>
                  </a:cubicBezTo>
                  <a:cubicBezTo>
                    <a:pt x="709" y="402"/>
                    <a:pt x="707" y="400"/>
                    <a:pt x="705" y="400"/>
                  </a:cubicBezTo>
                  <a:cubicBezTo>
                    <a:pt x="705" y="400"/>
                    <a:pt x="702" y="400"/>
                    <a:pt x="700" y="400"/>
                  </a:cubicBezTo>
                  <a:cubicBezTo>
                    <a:pt x="698" y="398"/>
                    <a:pt x="696" y="395"/>
                    <a:pt x="696" y="395"/>
                  </a:cubicBezTo>
                  <a:cubicBezTo>
                    <a:pt x="695" y="394"/>
                    <a:pt x="693" y="393"/>
                    <a:pt x="691" y="393"/>
                  </a:cubicBezTo>
                  <a:cubicBezTo>
                    <a:pt x="689" y="393"/>
                    <a:pt x="688" y="394"/>
                    <a:pt x="687" y="396"/>
                  </a:cubicBezTo>
                  <a:cubicBezTo>
                    <a:pt x="687" y="396"/>
                    <a:pt x="683" y="401"/>
                    <a:pt x="682" y="403"/>
                  </a:cubicBezTo>
                  <a:cubicBezTo>
                    <a:pt x="681" y="403"/>
                    <a:pt x="679" y="405"/>
                    <a:pt x="677" y="406"/>
                  </a:cubicBezTo>
                  <a:cubicBezTo>
                    <a:pt x="676" y="406"/>
                    <a:pt x="675" y="405"/>
                    <a:pt x="675" y="405"/>
                  </a:cubicBezTo>
                  <a:cubicBezTo>
                    <a:pt x="673" y="404"/>
                    <a:pt x="672" y="404"/>
                    <a:pt x="670" y="404"/>
                  </a:cubicBezTo>
                  <a:cubicBezTo>
                    <a:pt x="669" y="405"/>
                    <a:pt x="667" y="406"/>
                    <a:pt x="667" y="407"/>
                  </a:cubicBezTo>
                  <a:cubicBezTo>
                    <a:pt x="667" y="407"/>
                    <a:pt x="663" y="413"/>
                    <a:pt x="661" y="416"/>
                  </a:cubicBezTo>
                  <a:cubicBezTo>
                    <a:pt x="659" y="416"/>
                    <a:pt x="656" y="416"/>
                    <a:pt x="656" y="416"/>
                  </a:cubicBezTo>
                  <a:cubicBezTo>
                    <a:pt x="654" y="416"/>
                    <a:pt x="653" y="417"/>
                    <a:pt x="652" y="418"/>
                  </a:cubicBezTo>
                  <a:cubicBezTo>
                    <a:pt x="652" y="418"/>
                    <a:pt x="651" y="417"/>
                    <a:pt x="651" y="417"/>
                  </a:cubicBezTo>
                  <a:cubicBezTo>
                    <a:pt x="651" y="415"/>
                    <a:pt x="649" y="414"/>
                    <a:pt x="647" y="414"/>
                  </a:cubicBezTo>
                  <a:cubicBezTo>
                    <a:pt x="645" y="414"/>
                    <a:pt x="643" y="415"/>
                    <a:pt x="642" y="416"/>
                  </a:cubicBezTo>
                  <a:cubicBezTo>
                    <a:pt x="638" y="399"/>
                    <a:pt x="630" y="365"/>
                    <a:pt x="630" y="365"/>
                  </a:cubicBezTo>
                  <a:cubicBezTo>
                    <a:pt x="630" y="363"/>
                    <a:pt x="628" y="361"/>
                    <a:pt x="625" y="361"/>
                  </a:cubicBezTo>
                  <a:cubicBezTo>
                    <a:pt x="623" y="360"/>
                    <a:pt x="621" y="362"/>
                    <a:pt x="620" y="364"/>
                  </a:cubicBezTo>
                  <a:cubicBezTo>
                    <a:pt x="620" y="364"/>
                    <a:pt x="617" y="369"/>
                    <a:pt x="616" y="371"/>
                  </a:cubicBezTo>
                  <a:cubicBezTo>
                    <a:pt x="615" y="372"/>
                    <a:pt x="614" y="372"/>
                    <a:pt x="611" y="374"/>
                  </a:cubicBezTo>
                  <a:cubicBezTo>
                    <a:pt x="610" y="372"/>
                    <a:pt x="608" y="370"/>
                    <a:pt x="608" y="370"/>
                  </a:cubicBezTo>
                  <a:cubicBezTo>
                    <a:pt x="606" y="367"/>
                    <a:pt x="603" y="367"/>
                    <a:pt x="600" y="369"/>
                  </a:cubicBezTo>
                  <a:cubicBezTo>
                    <a:pt x="595" y="373"/>
                    <a:pt x="595" y="373"/>
                    <a:pt x="595" y="373"/>
                  </a:cubicBezTo>
                  <a:cubicBezTo>
                    <a:pt x="594" y="373"/>
                    <a:pt x="594" y="374"/>
                    <a:pt x="594" y="374"/>
                  </a:cubicBezTo>
                  <a:cubicBezTo>
                    <a:pt x="594" y="374"/>
                    <a:pt x="593" y="375"/>
                    <a:pt x="593" y="375"/>
                  </a:cubicBezTo>
                  <a:cubicBezTo>
                    <a:pt x="593" y="374"/>
                    <a:pt x="592" y="373"/>
                    <a:pt x="591" y="372"/>
                  </a:cubicBezTo>
                  <a:cubicBezTo>
                    <a:pt x="585" y="367"/>
                    <a:pt x="585" y="367"/>
                    <a:pt x="585" y="367"/>
                  </a:cubicBezTo>
                  <a:cubicBezTo>
                    <a:pt x="583" y="366"/>
                    <a:pt x="581" y="366"/>
                    <a:pt x="579" y="367"/>
                  </a:cubicBezTo>
                  <a:cubicBezTo>
                    <a:pt x="579" y="367"/>
                    <a:pt x="578" y="367"/>
                    <a:pt x="577" y="367"/>
                  </a:cubicBezTo>
                  <a:cubicBezTo>
                    <a:pt x="577" y="367"/>
                    <a:pt x="576" y="366"/>
                    <a:pt x="575" y="366"/>
                  </a:cubicBezTo>
                  <a:cubicBezTo>
                    <a:pt x="564" y="361"/>
                    <a:pt x="564" y="361"/>
                    <a:pt x="564" y="361"/>
                  </a:cubicBezTo>
                  <a:cubicBezTo>
                    <a:pt x="562" y="360"/>
                    <a:pt x="560" y="360"/>
                    <a:pt x="558" y="361"/>
                  </a:cubicBezTo>
                  <a:cubicBezTo>
                    <a:pt x="558" y="361"/>
                    <a:pt x="555" y="364"/>
                    <a:pt x="552" y="366"/>
                  </a:cubicBezTo>
                  <a:cubicBezTo>
                    <a:pt x="548" y="363"/>
                    <a:pt x="542" y="358"/>
                    <a:pt x="542" y="358"/>
                  </a:cubicBezTo>
                  <a:cubicBezTo>
                    <a:pt x="540" y="356"/>
                    <a:pt x="538" y="356"/>
                    <a:pt x="536" y="357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29" y="360"/>
                    <a:pt x="529" y="361"/>
                    <a:pt x="528" y="362"/>
                  </a:cubicBezTo>
                  <a:cubicBezTo>
                    <a:pt x="527" y="361"/>
                    <a:pt x="526" y="361"/>
                    <a:pt x="525" y="361"/>
                  </a:cubicBezTo>
                  <a:cubicBezTo>
                    <a:pt x="523" y="361"/>
                    <a:pt x="522" y="362"/>
                    <a:pt x="521" y="363"/>
                  </a:cubicBezTo>
                  <a:cubicBezTo>
                    <a:pt x="521" y="363"/>
                    <a:pt x="521" y="364"/>
                    <a:pt x="521" y="364"/>
                  </a:cubicBezTo>
                  <a:cubicBezTo>
                    <a:pt x="516" y="356"/>
                    <a:pt x="509" y="346"/>
                    <a:pt x="509" y="346"/>
                  </a:cubicBezTo>
                  <a:cubicBezTo>
                    <a:pt x="508" y="344"/>
                    <a:pt x="506" y="343"/>
                    <a:pt x="504" y="343"/>
                  </a:cubicBezTo>
                  <a:cubicBezTo>
                    <a:pt x="502" y="343"/>
                    <a:pt x="501" y="344"/>
                    <a:pt x="500" y="345"/>
                  </a:cubicBezTo>
                  <a:cubicBezTo>
                    <a:pt x="500" y="345"/>
                    <a:pt x="498" y="346"/>
                    <a:pt x="497" y="348"/>
                  </a:cubicBezTo>
                  <a:cubicBezTo>
                    <a:pt x="496" y="346"/>
                    <a:pt x="494" y="344"/>
                    <a:pt x="494" y="344"/>
                  </a:cubicBezTo>
                  <a:cubicBezTo>
                    <a:pt x="492" y="343"/>
                    <a:pt x="490" y="342"/>
                    <a:pt x="488" y="343"/>
                  </a:cubicBezTo>
                  <a:cubicBezTo>
                    <a:pt x="487" y="343"/>
                    <a:pt x="485" y="345"/>
                    <a:pt x="484" y="347"/>
                  </a:cubicBezTo>
                  <a:cubicBezTo>
                    <a:pt x="484" y="347"/>
                    <a:pt x="483" y="352"/>
                    <a:pt x="481" y="357"/>
                  </a:cubicBezTo>
                  <a:cubicBezTo>
                    <a:pt x="479" y="354"/>
                    <a:pt x="475" y="346"/>
                    <a:pt x="475" y="346"/>
                  </a:cubicBezTo>
                  <a:cubicBezTo>
                    <a:pt x="474" y="344"/>
                    <a:pt x="472" y="343"/>
                    <a:pt x="470" y="343"/>
                  </a:cubicBezTo>
                  <a:cubicBezTo>
                    <a:pt x="469" y="343"/>
                    <a:pt x="468" y="344"/>
                    <a:pt x="467" y="344"/>
                  </a:cubicBezTo>
                  <a:cubicBezTo>
                    <a:pt x="466" y="344"/>
                    <a:pt x="465" y="344"/>
                    <a:pt x="464" y="344"/>
                  </a:cubicBezTo>
                  <a:cubicBezTo>
                    <a:pt x="464" y="344"/>
                    <a:pt x="460" y="344"/>
                    <a:pt x="457" y="344"/>
                  </a:cubicBezTo>
                  <a:cubicBezTo>
                    <a:pt x="456" y="342"/>
                    <a:pt x="455" y="340"/>
                    <a:pt x="455" y="340"/>
                  </a:cubicBezTo>
                  <a:cubicBezTo>
                    <a:pt x="455" y="338"/>
                    <a:pt x="452" y="336"/>
                    <a:pt x="450" y="336"/>
                  </a:cubicBezTo>
                  <a:cubicBezTo>
                    <a:pt x="438" y="336"/>
                    <a:pt x="438" y="336"/>
                    <a:pt x="438" y="336"/>
                  </a:cubicBezTo>
                  <a:cubicBezTo>
                    <a:pt x="436" y="336"/>
                    <a:pt x="434" y="337"/>
                    <a:pt x="433" y="338"/>
                  </a:cubicBezTo>
                  <a:cubicBezTo>
                    <a:pt x="433" y="338"/>
                    <a:pt x="431" y="342"/>
                    <a:pt x="429" y="344"/>
                  </a:cubicBezTo>
                  <a:cubicBezTo>
                    <a:pt x="428" y="344"/>
                    <a:pt x="428" y="344"/>
                    <a:pt x="427" y="344"/>
                  </a:cubicBezTo>
                  <a:cubicBezTo>
                    <a:pt x="425" y="340"/>
                    <a:pt x="423" y="334"/>
                    <a:pt x="423" y="334"/>
                  </a:cubicBezTo>
                  <a:cubicBezTo>
                    <a:pt x="422" y="332"/>
                    <a:pt x="420" y="330"/>
                    <a:pt x="417" y="330"/>
                  </a:cubicBezTo>
                  <a:cubicBezTo>
                    <a:pt x="408" y="330"/>
                    <a:pt x="408" y="330"/>
                    <a:pt x="408" y="330"/>
                  </a:cubicBezTo>
                  <a:cubicBezTo>
                    <a:pt x="407" y="330"/>
                    <a:pt x="405" y="331"/>
                    <a:pt x="404" y="332"/>
                  </a:cubicBezTo>
                  <a:cubicBezTo>
                    <a:pt x="395" y="342"/>
                    <a:pt x="395" y="342"/>
                    <a:pt x="395" y="342"/>
                  </a:cubicBezTo>
                  <a:cubicBezTo>
                    <a:pt x="394" y="343"/>
                    <a:pt x="394" y="344"/>
                    <a:pt x="394" y="346"/>
                  </a:cubicBezTo>
                  <a:cubicBezTo>
                    <a:pt x="394" y="346"/>
                    <a:pt x="394" y="351"/>
                    <a:pt x="394" y="354"/>
                  </a:cubicBezTo>
                  <a:cubicBezTo>
                    <a:pt x="393" y="355"/>
                    <a:pt x="391" y="355"/>
                    <a:pt x="391" y="355"/>
                  </a:cubicBezTo>
                  <a:cubicBezTo>
                    <a:pt x="390" y="356"/>
                    <a:pt x="389" y="357"/>
                    <a:pt x="389" y="358"/>
                  </a:cubicBezTo>
                  <a:cubicBezTo>
                    <a:pt x="389" y="358"/>
                    <a:pt x="386" y="366"/>
                    <a:pt x="385" y="368"/>
                  </a:cubicBezTo>
                  <a:cubicBezTo>
                    <a:pt x="384" y="369"/>
                    <a:pt x="379" y="373"/>
                    <a:pt x="379" y="373"/>
                  </a:cubicBezTo>
                  <a:cubicBezTo>
                    <a:pt x="378" y="374"/>
                    <a:pt x="377" y="375"/>
                    <a:pt x="377" y="376"/>
                  </a:cubicBezTo>
                  <a:cubicBezTo>
                    <a:pt x="377" y="376"/>
                    <a:pt x="372" y="403"/>
                    <a:pt x="371" y="405"/>
                  </a:cubicBezTo>
                  <a:cubicBezTo>
                    <a:pt x="371" y="407"/>
                    <a:pt x="368" y="411"/>
                    <a:pt x="366" y="413"/>
                  </a:cubicBezTo>
                  <a:cubicBezTo>
                    <a:pt x="364" y="413"/>
                    <a:pt x="361" y="413"/>
                    <a:pt x="361" y="413"/>
                  </a:cubicBezTo>
                  <a:cubicBezTo>
                    <a:pt x="359" y="413"/>
                    <a:pt x="358" y="414"/>
                    <a:pt x="357" y="415"/>
                  </a:cubicBezTo>
                  <a:cubicBezTo>
                    <a:pt x="357" y="415"/>
                    <a:pt x="356" y="416"/>
                    <a:pt x="355" y="417"/>
                  </a:cubicBezTo>
                  <a:cubicBezTo>
                    <a:pt x="351" y="417"/>
                    <a:pt x="305" y="417"/>
                    <a:pt x="305" y="417"/>
                  </a:cubicBezTo>
                  <a:cubicBezTo>
                    <a:pt x="303" y="417"/>
                    <a:pt x="302" y="417"/>
                    <a:pt x="301" y="418"/>
                  </a:cubicBezTo>
                  <a:cubicBezTo>
                    <a:pt x="301" y="418"/>
                    <a:pt x="300" y="419"/>
                    <a:pt x="299" y="420"/>
                  </a:cubicBezTo>
                  <a:cubicBezTo>
                    <a:pt x="295" y="420"/>
                    <a:pt x="271" y="420"/>
                    <a:pt x="271" y="420"/>
                  </a:cubicBezTo>
                  <a:cubicBezTo>
                    <a:pt x="269" y="420"/>
                    <a:pt x="268" y="421"/>
                    <a:pt x="267" y="422"/>
                  </a:cubicBezTo>
                  <a:cubicBezTo>
                    <a:pt x="267" y="422"/>
                    <a:pt x="264" y="424"/>
                    <a:pt x="262" y="426"/>
                  </a:cubicBezTo>
                  <a:cubicBezTo>
                    <a:pt x="259" y="426"/>
                    <a:pt x="249" y="426"/>
                    <a:pt x="249" y="426"/>
                  </a:cubicBezTo>
                  <a:cubicBezTo>
                    <a:pt x="248" y="426"/>
                    <a:pt x="247" y="426"/>
                    <a:pt x="247" y="426"/>
                  </a:cubicBezTo>
                  <a:cubicBezTo>
                    <a:pt x="247" y="426"/>
                    <a:pt x="241" y="429"/>
                    <a:pt x="239" y="429"/>
                  </a:cubicBezTo>
                  <a:cubicBezTo>
                    <a:pt x="237" y="429"/>
                    <a:pt x="193" y="429"/>
                    <a:pt x="193" y="429"/>
                  </a:cubicBezTo>
                  <a:cubicBezTo>
                    <a:pt x="192" y="429"/>
                    <a:pt x="191" y="430"/>
                    <a:pt x="190" y="430"/>
                  </a:cubicBezTo>
                  <a:cubicBezTo>
                    <a:pt x="190" y="430"/>
                    <a:pt x="188" y="432"/>
                    <a:pt x="186" y="433"/>
                  </a:cubicBezTo>
                  <a:cubicBezTo>
                    <a:pt x="183" y="433"/>
                    <a:pt x="165" y="433"/>
                    <a:pt x="165" y="433"/>
                  </a:cubicBezTo>
                  <a:cubicBezTo>
                    <a:pt x="163" y="433"/>
                    <a:pt x="161" y="434"/>
                    <a:pt x="160" y="437"/>
                  </a:cubicBezTo>
                  <a:cubicBezTo>
                    <a:pt x="160" y="437"/>
                    <a:pt x="156" y="448"/>
                    <a:pt x="155" y="453"/>
                  </a:cubicBezTo>
                  <a:cubicBezTo>
                    <a:pt x="151" y="453"/>
                    <a:pt x="148" y="453"/>
                    <a:pt x="148" y="453"/>
                  </a:cubicBezTo>
                  <a:cubicBezTo>
                    <a:pt x="147" y="453"/>
                    <a:pt x="147" y="453"/>
                    <a:pt x="146" y="453"/>
                  </a:cubicBezTo>
                  <a:cubicBezTo>
                    <a:pt x="146" y="453"/>
                    <a:pt x="141" y="455"/>
                    <a:pt x="140" y="455"/>
                  </a:cubicBezTo>
                  <a:cubicBezTo>
                    <a:pt x="138" y="455"/>
                    <a:pt x="45" y="455"/>
                    <a:pt x="45" y="455"/>
                  </a:cubicBezTo>
                  <a:cubicBezTo>
                    <a:pt x="44" y="455"/>
                    <a:pt x="44" y="455"/>
                    <a:pt x="43" y="455"/>
                  </a:cubicBezTo>
                  <a:cubicBezTo>
                    <a:pt x="43" y="455"/>
                    <a:pt x="41" y="456"/>
                    <a:pt x="40" y="456"/>
                  </a:cubicBezTo>
                  <a:cubicBezTo>
                    <a:pt x="39" y="456"/>
                    <a:pt x="5" y="456"/>
                    <a:pt x="5" y="456"/>
                  </a:cubicBezTo>
                  <a:cubicBezTo>
                    <a:pt x="2" y="456"/>
                    <a:pt x="0" y="459"/>
                    <a:pt x="0" y="462"/>
                  </a:cubicBezTo>
                  <a:cubicBezTo>
                    <a:pt x="0" y="465"/>
                    <a:pt x="2" y="468"/>
                    <a:pt x="5" y="468"/>
                  </a:cubicBezTo>
                  <a:cubicBezTo>
                    <a:pt x="41" y="468"/>
                    <a:pt x="41" y="468"/>
                    <a:pt x="41" y="468"/>
                  </a:cubicBezTo>
                  <a:cubicBezTo>
                    <a:pt x="42" y="468"/>
                    <a:pt x="42" y="468"/>
                    <a:pt x="43" y="467"/>
                  </a:cubicBezTo>
                  <a:cubicBezTo>
                    <a:pt x="43" y="467"/>
                    <a:pt x="45" y="467"/>
                    <a:pt x="46" y="466"/>
                  </a:cubicBezTo>
                  <a:cubicBezTo>
                    <a:pt x="47" y="466"/>
                    <a:pt x="141" y="466"/>
                    <a:pt x="141" y="466"/>
                  </a:cubicBezTo>
                  <a:cubicBezTo>
                    <a:pt x="142" y="466"/>
                    <a:pt x="142" y="466"/>
                    <a:pt x="143" y="466"/>
                  </a:cubicBezTo>
                  <a:cubicBezTo>
                    <a:pt x="143" y="466"/>
                    <a:pt x="148" y="464"/>
                    <a:pt x="149" y="464"/>
                  </a:cubicBezTo>
                  <a:cubicBezTo>
                    <a:pt x="151" y="464"/>
                    <a:pt x="159" y="464"/>
                    <a:pt x="159" y="464"/>
                  </a:cubicBezTo>
                  <a:cubicBezTo>
                    <a:pt x="161" y="464"/>
                    <a:pt x="163" y="462"/>
                    <a:pt x="164" y="460"/>
                  </a:cubicBezTo>
                  <a:cubicBezTo>
                    <a:pt x="164" y="460"/>
                    <a:pt x="168" y="449"/>
                    <a:pt x="169" y="444"/>
                  </a:cubicBezTo>
                  <a:cubicBezTo>
                    <a:pt x="175" y="444"/>
                    <a:pt x="188" y="444"/>
                    <a:pt x="188" y="444"/>
                  </a:cubicBezTo>
                  <a:cubicBezTo>
                    <a:pt x="189" y="444"/>
                    <a:pt x="190" y="444"/>
                    <a:pt x="191" y="443"/>
                  </a:cubicBezTo>
                  <a:cubicBezTo>
                    <a:pt x="191" y="443"/>
                    <a:pt x="193" y="442"/>
                    <a:pt x="195" y="441"/>
                  </a:cubicBezTo>
                  <a:cubicBezTo>
                    <a:pt x="198" y="441"/>
                    <a:pt x="240" y="441"/>
                    <a:pt x="240" y="441"/>
                  </a:cubicBezTo>
                  <a:cubicBezTo>
                    <a:pt x="241" y="441"/>
                    <a:pt x="241" y="441"/>
                    <a:pt x="242" y="440"/>
                  </a:cubicBezTo>
                  <a:cubicBezTo>
                    <a:pt x="242" y="440"/>
                    <a:pt x="248" y="438"/>
                    <a:pt x="250" y="437"/>
                  </a:cubicBezTo>
                  <a:cubicBezTo>
                    <a:pt x="252" y="437"/>
                    <a:pt x="264" y="437"/>
                    <a:pt x="264" y="437"/>
                  </a:cubicBezTo>
                  <a:cubicBezTo>
                    <a:pt x="266" y="437"/>
                    <a:pt x="267" y="437"/>
                    <a:pt x="268" y="436"/>
                  </a:cubicBezTo>
                  <a:cubicBezTo>
                    <a:pt x="268" y="436"/>
                    <a:pt x="271" y="433"/>
                    <a:pt x="273" y="432"/>
                  </a:cubicBezTo>
                  <a:cubicBezTo>
                    <a:pt x="277" y="432"/>
                    <a:pt x="301" y="432"/>
                    <a:pt x="301" y="432"/>
                  </a:cubicBezTo>
                  <a:cubicBezTo>
                    <a:pt x="302" y="432"/>
                    <a:pt x="304" y="431"/>
                    <a:pt x="305" y="430"/>
                  </a:cubicBezTo>
                  <a:cubicBezTo>
                    <a:pt x="305" y="430"/>
                    <a:pt x="306" y="429"/>
                    <a:pt x="307" y="428"/>
                  </a:cubicBezTo>
                  <a:cubicBezTo>
                    <a:pt x="311" y="428"/>
                    <a:pt x="358" y="428"/>
                    <a:pt x="358" y="428"/>
                  </a:cubicBezTo>
                  <a:cubicBezTo>
                    <a:pt x="360" y="428"/>
                    <a:pt x="361" y="428"/>
                    <a:pt x="362" y="426"/>
                  </a:cubicBezTo>
                  <a:cubicBezTo>
                    <a:pt x="362" y="426"/>
                    <a:pt x="363" y="426"/>
                    <a:pt x="364" y="425"/>
                  </a:cubicBezTo>
                  <a:cubicBezTo>
                    <a:pt x="366" y="425"/>
                    <a:pt x="369" y="425"/>
                    <a:pt x="369" y="425"/>
                  </a:cubicBezTo>
                  <a:cubicBezTo>
                    <a:pt x="371" y="425"/>
                    <a:pt x="373" y="424"/>
                    <a:pt x="374" y="422"/>
                  </a:cubicBezTo>
                  <a:cubicBezTo>
                    <a:pt x="382" y="410"/>
                    <a:pt x="382" y="410"/>
                    <a:pt x="382" y="410"/>
                  </a:cubicBezTo>
                  <a:cubicBezTo>
                    <a:pt x="382" y="410"/>
                    <a:pt x="382" y="409"/>
                    <a:pt x="382" y="408"/>
                  </a:cubicBezTo>
                  <a:cubicBezTo>
                    <a:pt x="382" y="408"/>
                    <a:pt x="387" y="384"/>
                    <a:pt x="388" y="380"/>
                  </a:cubicBezTo>
                  <a:cubicBezTo>
                    <a:pt x="389" y="379"/>
                    <a:pt x="393" y="375"/>
                    <a:pt x="393" y="375"/>
                  </a:cubicBezTo>
                  <a:cubicBezTo>
                    <a:pt x="394" y="375"/>
                    <a:pt x="395" y="374"/>
                    <a:pt x="395" y="373"/>
                  </a:cubicBezTo>
                  <a:cubicBezTo>
                    <a:pt x="395" y="373"/>
                    <a:pt x="398" y="367"/>
                    <a:pt x="399" y="364"/>
                  </a:cubicBezTo>
                  <a:cubicBezTo>
                    <a:pt x="400" y="363"/>
                    <a:pt x="402" y="362"/>
                    <a:pt x="402" y="362"/>
                  </a:cubicBezTo>
                  <a:cubicBezTo>
                    <a:pt x="404" y="361"/>
                    <a:pt x="405" y="359"/>
                    <a:pt x="405" y="357"/>
                  </a:cubicBezTo>
                  <a:cubicBezTo>
                    <a:pt x="405" y="357"/>
                    <a:pt x="405" y="351"/>
                    <a:pt x="405" y="348"/>
                  </a:cubicBezTo>
                  <a:cubicBezTo>
                    <a:pt x="407" y="346"/>
                    <a:pt x="409" y="344"/>
                    <a:pt x="411" y="342"/>
                  </a:cubicBezTo>
                  <a:cubicBezTo>
                    <a:pt x="412" y="342"/>
                    <a:pt x="412" y="342"/>
                    <a:pt x="414" y="342"/>
                  </a:cubicBezTo>
                  <a:cubicBezTo>
                    <a:pt x="415" y="345"/>
                    <a:pt x="418" y="352"/>
                    <a:pt x="418" y="352"/>
                  </a:cubicBezTo>
                  <a:cubicBezTo>
                    <a:pt x="419" y="354"/>
                    <a:pt x="421" y="355"/>
                    <a:pt x="424" y="355"/>
                  </a:cubicBezTo>
                  <a:cubicBezTo>
                    <a:pt x="432" y="355"/>
                    <a:pt x="432" y="355"/>
                    <a:pt x="432" y="355"/>
                  </a:cubicBezTo>
                  <a:cubicBezTo>
                    <a:pt x="434" y="355"/>
                    <a:pt x="436" y="354"/>
                    <a:pt x="437" y="353"/>
                  </a:cubicBezTo>
                  <a:cubicBezTo>
                    <a:pt x="437" y="353"/>
                    <a:pt x="439" y="350"/>
                    <a:pt x="441" y="348"/>
                  </a:cubicBezTo>
                  <a:cubicBezTo>
                    <a:pt x="442" y="348"/>
                    <a:pt x="444" y="348"/>
                    <a:pt x="446" y="348"/>
                  </a:cubicBezTo>
                  <a:cubicBezTo>
                    <a:pt x="447" y="349"/>
                    <a:pt x="447" y="351"/>
                    <a:pt x="447" y="351"/>
                  </a:cubicBezTo>
                  <a:cubicBezTo>
                    <a:pt x="448" y="353"/>
                    <a:pt x="450" y="355"/>
                    <a:pt x="453" y="355"/>
                  </a:cubicBezTo>
                  <a:cubicBezTo>
                    <a:pt x="453" y="355"/>
                    <a:pt x="457" y="355"/>
                    <a:pt x="461" y="355"/>
                  </a:cubicBezTo>
                  <a:cubicBezTo>
                    <a:pt x="461" y="356"/>
                    <a:pt x="461" y="357"/>
                    <a:pt x="461" y="357"/>
                  </a:cubicBezTo>
                  <a:cubicBezTo>
                    <a:pt x="462" y="359"/>
                    <a:pt x="464" y="361"/>
                    <a:pt x="466" y="361"/>
                  </a:cubicBezTo>
                  <a:cubicBezTo>
                    <a:pt x="468" y="361"/>
                    <a:pt x="469" y="360"/>
                    <a:pt x="470" y="360"/>
                  </a:cubicBezTo>
                  <a:cubicBezTo>
                    <a:pt x="471" y="362"/>
                    <a:pt x="472" y="364"/>
                    <a:pt x="472" y="364"/>
                  </a:cubicBezTo>
                  <a:cubicBezTo>
                    <a:pt x="473" y="365"/>
                    <a:pt x="476" y="377"/>
                    <a:pt x="476" y="377"/>
                  </a:cubicBezTo>
                  <a:cubicBezTo>
                    <a:pt x="476" y="380"/>
                    <a:pt x="479" y="381"/>
                    <a:pt x="481" y="381"/>
                  </a:cubicBezTo>
                  <a:cubicBezTo>
                    <a:pt x="484" y="381"/>
                    <a:pt x="486" y="380"/>
                    <a:pt x="487" y="377"/>
                  </a:cubicBezTo>
                  <a:cubicBezTo>
                    <a:pt x="487" y="377"/>
                    <a:pt x="490" y="367"/>
                    <a:pt x="492" y="359"/>
                  </a:cubicBezTo>
                  <a:cubicBezTo>
                    <a:pt x="493" y="359"/>
                    <a:pt x="493" y="360"/>
                    <a:pt x="493" y="360"/>
                  </a:cubicBezTo>
                  <a:cubicBezTo>
                    <a:pt x="494" y="361"/>
                    <a:pt x="496" y="362"/>
                    <a:pt x="497" y="362"/>
                  </a:cubicBezTo>
                  <a:cubicBezTo>
                    <a:pt x="499" y="362"/>
                    <a:pt x="501" y="361"/>
                    <a:pt x="502" y="360"/>
                  </a:cubicBezTo>
                  <a:cubicBezTo>
                    <a:pt x="502" y="360"/>
                    <a:pt x="503" y="359"/>
                    <a:pt x="503" y="358"/>
                  </a:cubicBezTo>
                  <a:cubicBezTo>
                    <a:pt x="508" y="365"/>
                    <a:pt x="516" y="377"/>
                    <a:pt x="516" y="377"/>
                  </a:cubicBezTo>
                  <a:cubicBezTo>
                    <a:pt x="517" y="379"/>
                    <a:pt x="519" y="380"/>
                    <a:pt x="521" y="380"/>
                  </a:cubicBezTo>
                  <a:cubicBezTo>
                    <a:pt x="523" y="380"/>
                    <a:pt x="525" y="379"/>
                    <a:pt x="526" y="377"/>
                  </a:cubicBezTo>
                  <a:cubicBezTo>
                    <a:pt x="526" y="377"/>
                    <a:pt x="527" y="376"/>
                    <a:pt x="527" y="375"/>
                  </a:cubicBezTo>
                  <a:cubicBezTo>
                    <a:pt x="529" y="376"/>
                    <a:pt x="530" y="377"/>
                    <a:pt x="532" y="376"/>
                  </a:cubicBezTo>
                  <a:cubicBezTo>
                    <a:pt x="534" y="376"/>
                    <a:pt x="535" y="374"/>
                    <a:pt x="536" y="372"/>
                  </a:cubicBezTo>
                  <a:cubicBezTo>
                    <a:pt x="536" y="372"/>
                    <a:pt x="536" y="371"/>
                    <a:pt x="537" y="369"/>
                  </a:cubicBezTo>
                  <a:cubicBezTo>
                    <a:pt x="537" y="369"/>
                    <a:pt x="537" y="369"/>
                    <a:pt x="538" y="369"/>
                  </a:cubicBezTo>
                  <a:cubicBezTo>
                    <a:pt x="541" y="372"/>
                    <a:pt x="548" y="378"/>
                    <a:pt x="548" y="378"/>
                  </a:cubicBezTo>
                  <a:cubicBezTo>
                    <a:pt x="550" y="379"/>
                    <a:pt x="553" y="379"/>
                    <a:pt x="555" y="378"/>
                  </a:cubicBezTo>
                  <a:cubicBezTo>
                    <a:pt x="555" y="378"/>
                    <a:pt x="559" y="374"/>
                    <a:pt x="562" y="372"/>
                  </a:cubicBezTo>
                  <a:cubicBezTo>
                    <a:pt x="565" y="374"/>
                    <a:pt x="568" y="375"/>
                    <a:pt x="569" y="375"/>
                  </a:cubicBezTo>
                  <a:cubicBezTo>
                    <a:pt x="570" y="377"/>
                    <a:pt x="571" y="378"/>
                    <a:pt x="571" y="378"/>
                  </a:cubicBezTo>
                  <a:cubicBezTo>
                    <a:pt x="573" y="380"/>
                    <a:pt x="576" y="381"/>
                    <a:pt x="578" y="380"/>
                  </a:cubicBezTo>
                  <a:cubicBezTo>
                    <a:pt x="578" y="380"/>
                    <a:pt x="580" y="379"/>
                    <a:pt x="581" y="378"/>
                  </a:cubicBezTo>
                  <a:cubicBezTo>
                    <a:pt x="582" y="379"/>
                    <a:pt x="582" y="380"/>
                    <a:pt x="583" y="380"/>
                  </a:cubicBezTo>
                  <a:cubicBezTo>
                    <a:pt x="584" y="382"/>
                    <a:pt x="586" y="388"/>
                    <a:pt x="586" y="388"/>
                  </a:cubicBezTo>
                  <a:cubicBezTo>
                    <a:pt x="586" y="390"/>
                    <a:pt x="588" y="391"/>
                    <a:pt x="590" y="392"/>
                  </a:cubicBezTo>
                  <a:cubicBezTo>
                    <a:pt x="592" y="392"/>
                    <a:pt x="594" y="391"/>
                    <a:pt x="595" y="390"/>
                  </a:cubicBezTo>
                  <a:cubicBezTo>
                    <a:pt x="595" y="390"/>
                    <a:pt x="601" y="383"/>
                    <a:pt x="602" y="382"/>
                  </a:cubicBezTo>
                  <a:cubicBezTo>
                    <a:pt x="602" y="382"/>
                    <a:pt x="603" y="381"/>
                    <a:pt x="603" y="381"/>
                  </a:cubicBezTo>
                  <a:cubicBezTo>
                    <a:pt x="604" y="383"/>
                    <a:pt x="605" y="384"/>
                    <a:pt x="605" y="384"/>
                  </a:cubicBezTo>
                  <a:cubicBezTo>
                    <a:pt x="607" y="386"/>
                    <a:pt x="610" y="387"/>
                    <a:pt x="612" y="386"/>
                  </a:cubicBezTo>
                  <a:cubicBezTo>
                    <a:pt x="612" y="386"/>
                    <a:pt x="622" y="381"/>
                    <a:pt x="622" y="381"/>
                  </a:cubicBezTo>
                  <a:cubicBezTo>
                    <a:pt x="626" y="397"/>
                    <a:pt x="634" y="431"/>
                    <a:pt x="634" y="431"/>
                  </a:cubicBezTo>
                  <a:cubicBezTo>
                    <a:pt x="635" y="433"/>
                    <a:pt x="637" y="435"/>
                    <a:pt x="639" y="435"/>
                  </a:cubicBezTo>
                  <a:cubicBezTo>
                    <a:pt x="641" y="436"/>
                    <a:pt x="643" y="435"/>
                    <a:pt x="644" y="433"/>
                  </a:cubicBezTo>
                  <a:cubicBezTo>
                    <a:pt x="644" y="433"/>
                    <a:pt x="645" y="432"/>
                    <a:pt x="645" y="432"/>
                  </a:cubicBezTo>
                  <a:cubicBezTo>
                    <a:pt x="646" y="434"/>
                    <a:pt x="647" y="436"/>
                    <a:pt x="647" y="436"/>
                  </a:cubicBezTo>
                  <a:cubicBezTo>
                    <a:pt x="648" y="438"/>
                    <a:pt x="650" y="440"/>
                    <a:pt x="653" y="440"/>
                  </a:cubicBezTo>
                  <a:cubicBezTo>
                    <a:pt x="655" y="439"/>
                    <a:pt x="657" y="438"/>
                    <a:pt x="658" y="436"/>
                  </a:cubicBezTo>
                  <a:cubicBezTo>
                    <a:pt x="658" y="436"/>
                    <a:pt x="659" y="431"/>
                    <a:pt x="660" y="428"/>
                  </a:cubicBezTo>
                  <a:cubicBezTo>
                    <a:pt x="662" y="428"/>
                    <a:pt x="665" y="428"/>
                    <a:pt x="665" y="428"/>
                  </a:cubicBezTo>
                  <a:cubicBezTo>
                    <a:pt x="667" y="428"/>
                    <a:pt x="669" y="426"/>
                    <a:pt x="670" y="425"/>
                  </a:cubicBezTo>
                  <a:cubicBezTo>
                    <a:pt x="670" y="425"/>
                    <a:pt x="672" y="421"/>
                    <a:pt x="674" y="418"/>
                  </a:cubicBezTo>
                  <a:cubicBezTo>
                    <a:pt x="674" y="418"/>
                    <a:pt x="674" y="418"/>
                    <a:pt x="674" y="418"/>
                  </a:cubicBezTo>
                  <a:cubicBezTo>
                    <a:pt x="676" y="419"/>
                    <a:pt x="679" y="419"/>
                    <a:pt x="680" y="418"/>
                  </a:cubicBezTo>
                  <a:cubicBezTo>
                    <a:pt x="690" y="411"/>
                    <a:pt x="690" y="411"/>
                    <a:pt x="690" y="411"/>
                  </a:cubicBezTo>
                  <a:cubicBezTo>
                    <a:pt x="690" y="411"/>
                    <a:pt x="691" y="410"/>
                    <a:pt x="691" y="410"/>
                  </a:cubicBezTo>
                  <a:cubicBezTo>
                    <a:pt x="691" y="410"/>
                    <a:pt x="692" y="409"/>
                    <a:pt x="692" y="408"/>
                  </a:cubicBezTo>
                  <a:cubicBezTo>
                    <a:pt x="692" y="409"/>
                    <a:pt x="693" y="410"/>
                    <a:pt x="693" y="410"/>
                  </a:cubicBezTo>
                  <a:cubicBezTo>
                    <a:pt x="694" y="411"/>
                    <a:pt x="696" y="412"/>
                    <a:pt x="697" y="412"/>
                  </a:cubicBezTo>
                  <a:cubicBezTo>
                    <a:pt x="697" y="412"/>
                    <a:pt x="699" y="412"/>
                    <a:pt x="701" y="412"/>
                  </a:cubicBezTo>
                  <a:cubicBezTo>
                    <a:pt x="702" y="414"/>
                    <a:pt x="703" y="416"/>
                    <a:pt x="703" y="416"/>
                  </a:cubicBezTo>
                  <a:cubicBezTo>
                    <a:pt x="704" y="417"/>
                    <a:pt x="705" y="418"/>
                    <a:pt x="706" y="419"/>
                  </a:cubicBezTo>
                  <a:cubicBezTo>
                    <a:pt x="716" y="424"/>
                    <a:pt x="716" y="424"/>
                    <a:pt x="716" y="424"/>
                  </a:cubicBezTo>
                  <a:cubicBezTo>
                    <a:pt x="717" y="424"/>
                    <a:pt x="719" y="425"/>
                    <a:pt x="720" y="424"/>
                  </a:cubicBezTo>
                  <a:cubicBezTo>
                    <a:pt x="722" y="423"/>
                    <a:pt x="723" y="422"/>
                    <a:pt x="723" y="421"/>
                  </a:cubicBezTo>
                  <a:cubicBezTo>
                    <a:pt x="726" y="423"/>
                    <a:pt x="728" y="425"/>
                    <a:pt x="728" y="425"/>
                  </a:cubicBezTo>
                  <a:cubicBezTo>
                    <a:pt x="729" y="425"/>
                    <a:pt x="729" y="426"/>
                    <a:pt x="729" y="426"/>
                  </a:cubicBezTo>
                  <a:cubicBezTo>
                    <a:pt x="742" y="432"/>
                    <a:pt x="742" y="432"/>
                    <a:pt x="742" y="432"/>
                  </a:cubicBezTo>
                  <a:cubicBezTo>
                    <a:pt x="745" y="433"/>
                    <a:pt x="748" y="432"/>
                    <a:pt x="749" y="429"/>
                  </a:cubicBezTo>
                  <a:cubicBezTo>
                    <a:pt x="749" y="429"/>
                    <a:pt x="756" y="416"/>
                    <a:pt x="757" y="415"/>
                  </a:cubicBezTo>
                  <a:cubicBezTo>
                    <a:pt x="757" y="414"/>
                    <a:pt x="759" y="411"/>
                    <a:pt x="762" y="409"/>
                  </a:cubicBezTo>
                  <a:cubicBezTo>
                    <a:pt x="766" y="411"/>
                    <a:pt x="771" y="414"/>
                    <a:pt x="771" y="414"/>
                  </a:cubicBezTo>
                  <a:cubicBezTo>
                    <a:pt x="772" y="415"/>
                    <a:pt x="774" y="415"/>
                    <a:pt x="776" y="414"/>
                  </a:cubicBezTo>
                  <a:cubicBezTo>
                    <a:pt x="785" y="410"/>
                    <a:pt x="785" y="410"/>
                    <a:pt x="785" y="410"/>
                  </a:cubicBezTo>
                  <a:cubicBezTo>
                    <a:pt x="785" y="409"/>
                    <a:pt x="786" y="409"/>
                    <a:pt x="786" y="409"/>
                  </a:cubicBezTo>
                  <a:cubicBezTo>
                    <a:pt x="786" y="409"/>
                    <a:pt x="788" y="407"/>
                    <a:pt x="790" y="405"/>
                  </a:cubicBezTo>
                  <a:cubicBezTo>
                    <a:pt x="793" y="408"/>
                    <a:pt x="796" y="412"/>
                    <a:pt x="796" y="412"/>
                  </a:cubicBezTo>
                  <a:cubicBezTo>
                    <a:pt x="804" y="419"/>
                    <a:pt x="804" y="419"/>
                    <a:pt x="804" y="419"/>
                  </a:cubicBezTo>
                  <a:cubicBezTo>
                    <a:pt x="806" y="421"/>
                    <a:pt x="808" y="421"/>
                    <a:pt x="810" y="420"/>
                  </a:cubicBezTo>
                  <a:cubicBezTo>
                    <a:pt x="812" y="420"/>
                    <a:pt x="813" y="418"/>
                    <a:pt x="814" y="416"/>
                  </a:cubicBezTo>
                  <a:cubicBezTo>
                    <a:pt x="814" y="416"/>
                    <a:pt x="816" y="399"/>
                    <a:pt x="819" y="382"/>
                  </a:cubicBezTo>
                  <a:cubicBezTo>
                    <a:pt x="819" y="382"/>
                    <a:pt x="819" y="382"/>
                    <a:pt x="819" y="382"/>
                  </a:cubicBezTo>
                  <a:cubicBezTo>
                    <a:pt x="830" y="407"/>
                    <a:pt x="830" y="407"/>
                    <a:pt x="830" y="407"/>
                  </a:cubicBezTo>
                  <a:cubicBezTo>
                    <a:pt x="831" y="408"/>
                    <a:pt x="832" y="410"/>
                    <a:pt x="834" y="410"/>
                  </a:cubicBezTo>
                  <a:cubicBezTo>
                    <a:pt x="835" y="410"/>
                    <a:pt x="837" y="410"/>
                    <a:pt x="839" y="409"/>
                  </a:cubicBezTo>
                  <a:cubicBezTo>
                    <a:pt x="839" y="409"/>
                    <a:pt x="839" y="408"/>
                    <a:pt x="840" y="408"/>
                  </a:cubicBezTo>
                  <a:cubicBezTo>
                    <a:pt x="840" y="409"/>
                    <a:pt x="842" y="410"/>
                    <a:pt x="843" y="410"/>
                  </a:cubicBezTo>
                  <a:cubicBezTo>
                    <a:pt x="845" y="411"/>
                    <a:pt x="846" y="410"/>
                    <a:pt x="848" y="409"/>
                  </a:cubicBezTo>
                  <a:cubicBezTo>
                    <a:pt x="857" y="402"/>
                    <a:pt x="857" y="402"/>
                    <a:pt x="857" y="402"/>
                  </a:cubicBezTo>
                  <a:cubicBezTo>
                    <a:pt x="857" y="402"/>
                    <a:pt x="858" y="402"/>
                    <a:pt x="858" y="401"/>
                  </a:cubicBezTo>
                  <a:cubicBezTo>
                    <a:pt x="859" y="402"/>
                    <a:pt x="859" y="402"/>
                    <a:pt x="859" y="403"/>
                  </a:cubicBezTo>
                  <a:cubicBezTo>
                    <a:pt x="860" y="404"/>
                    <a:pt x="863" y="411"/>
                    <a:pt x="863" y="411"/>
                  </a:cubicBezTo>
                  <a:cubicBezTo>
                    <a:pt x="864" y="413"/>
                    <a:pt x="866" y="415"/>
                    <a:pt x="869" y="415"/>
                  </a:cubicBezTo>
                  <a:cubicBezTo>
                    <a:pt x="875" y="415"/>
                    <a:pt x="875" y="415"/>
                    <a:pt x="875" y="415"/>
                  </a:cubicBezTo>
                  <a:cubicBezTo>
                    <a:pt x="877" y="415"/>
                    <a:pt x="879" y="413"/>
                    <a:pt x="880" y="411"/>
                  </a:cubicBezTo>
                  <a:cubicBezTo>
                    <a:pt x="880" y="411"/>
                    <a:pt x="881" y="410"/>
                    <a:pt x="881" y="408"/>
                  </a:cubicBezTo>
                  <a:cubicBezTo>
                    <a:pt x="883" y="407"/>
                    <a:pt x="885" y="406"/>
                    <a:pt x="885" y="406"/>
                  </a:cubicBezTo>
                  <a:cubicBezTo>
                    <a:pt x="886" y="406"/>
                    <a:pt x="886" y="405"/>
                    <a:pt x="886" y="404"/>
                  </a:cubicBezTo>
                  <a:cubicBezTo>
                    <a:pt x="887" y="405"/>
                    <a:pt x="888" y="405"/>
                    <a:pt x="888" y="405"/>
                  </a:cubicBezTo>
                  <a:cubicBezTo>
                    <a:pt x="890" y="406"/>
                    <a:pt x="892" y="406"/>
                    <a:pt x="893" y="405"/>
                  </a:cubicBezTo>
                  <a:cubicBezTo>
                    <a:pt x="893" y="405"/>
                    <a:pt x="894" y="405"/>
                    <a:pt x="895" y="405"/>
                  </a:cubicBezTo>
                  <a:cubicBezTo>
                    <a:pt x="896" y="407"/>
                    <a:pt x="897" y="409"/>
                    <a:pt x="897" y="409"/>
                  </a:cubicBezTo>
                  <a:cubicBezTo>
                    <a:pt x="898" y="410"/>
                    <a:pt x="899" y="411"/>
                    <a:pt x="900" y="411"/>
                  </a:cubicBezTo>
                  <a:cubicBezTo>
                    <a:pt x="906" y="414"/>
                    <a:pt x="906" y="414"/>
                    <a:pt x="906" y="414"/>
                  </a:cubicBezTo>
                  <a:cubicBezTo>
                    <a:pt x="908" y="414"/>
                    <a:pt x="910" y="414"/>
                    <a:pt x="912" y="412"/>
                  </a:cubicBezTo>
                  <a:cubicBezTo>
                    <a:pt x="912" y="412"/>
                    <a:pt x="913" y="411"/>
                    <a:pt x="915" y="410"/>
                  </a:cubicBezTo>
                  <a:cubicBezTo>
                    <a:pt x="916" y="410"/>
                    <a:pt x="916" y="410"/>
                    <a:pt x="918" y="410"/>
                  </a:cubicBezTo>
                  <a:cubicBezTo>
                    <a:pt x="919" y="412"/>
                    <a:pt x="920" y="413"/>
                    <a:pt x="920" y="413"/>
                  </a:cubicBezTo>
                  <a:cubicBezTo>
                    <a:pt x="920" y="414"/>
                    <a:pt x="921" y="415"/>
                    <a:pt x="922" y="416"/>
                  </a:cubicBezTo>
                  <a:cubicBezTo>
                    <a:pt x="927" y="418"/>
                    <a:pt x="927" y="418"/>
                    <a:pt x="927" y="418"/>
                  </a:cubicBezTo>
                  <a:cubicBezTo>
                    <a:pt x="928" y="419"/>
                    <a:pt x="929" y="419"/>
                    <a:pt x="930" y="419"/>
                  </a:cubicBezTo>
                  <a:cubicBezTo>
                    <a:pt x="930" y="419"/>
                    <a:pt x="933" y="419"/>
                    <a:pt x="935" y="419"/>
                  </a:cubicBezTo>
                  <a:cubicBezTo>
                    <a:pt x="937" y="422"/>
                    <a:pt x="939" y="426"/>
                    <a:pt x="939" y="426"/>
                  </a:cubicBezTo>
                  <a:cubicBezTo>
                    <a:pt x="940" y="428"/>
                    <a:pt x="942" y="429"/>
                    <a:pt x="944" y="429"/>
                  </a:cubicBezTo>
                  <a:cubicBezTo>
                    <a:pt x="954" y="429"/>
                    <a:pt x="954" y="429"/>
                    <a:pt x="954" y="429"/>
                  </a:cubicBezTo>
                  <a:cubicBezTo>
                    <a:pt x="957" y="429"/>
                    <a:pt x="959" y="427"/>
                    <a:pt x="959" y="424"/>
                  </a:cubicBezTo>
                  <a:cubicBezTo>
                    <a:pt x="959" y="424"/>
                    <a:pt x="959" y="421"/>
                    <a:pt x="960" y="419"/>
                  </a:cubicBezTo>
                  <a:cubicBezTo>
                    <a:pt x="961" y="418"/>
                    <a:pt x="962" y="416"/>
                    <a:pt x="965" y="414"/>
                  </a:cubicBezTo>
                  <a:cubicBezTo>
                    <a:pt x="966" y="415"/>
                    <a:pt x="968" y="417"/>
                    <a:pt x="968" y="417"/>
                  </a:cubicBezTo>
                  <a:cubicBezTo>
                    <a:pt x="969" y="417"/>
                    <a:pt x="970" y="418"/>
                    <a:pt x="972" y="418"/>
                  </a:cubicBezTo>
                  <a:cubicBezTo>
                    <a:pt x="972" y="418"/>
                    <a:pt x="976" y="418"/>
                    <a:pt x="978" y="418"/>
                  </a:cubicBezTo>
                  <a:cubicBezTo>
                    <a:pt x="979" y="419"/>
                    <a:pt x="982" y="420"/>
                    <a:pt x="982" y="420"/>
                  </a:cubicBezTo>
                  <a:cubicBezTo>
                    <a:pt x="984" y="421"/>
                    <a:pt x="987" y="421"/>
                    <a:pt x="989" y="418"/>
                  </a:cubicBezTo>
                  <a:cubicBezTo>
                    <a:pt x="989" y="418"/>
                    <a:pt x="992" y="414"/>
                    <a:pt x="992" y="414"/>
                  </a:cubicBezTo>
                  <a:cubicBezTo>
                    <a:pt x="993" y="414"/>
                    <a:pt x="994" y="413"/>
                    <a:pt x="995" y="412"/>
                  </a:cubicBezTo>
                  <a:cubicBezTo>
                    <a:pt x="995" y="413"/>
                    <a:pt x="1002" y="418"/>
                    <a:pt x="1002" y="418"/>
                  </a:cubicBezTo>
                  <a:cubicBezTo>
                    <a:pt x="1004" y="420"/>
                    <a:pt x="1007" y="420"/>
                    <a:pt x="1009" y="418"/>
                  </a:cubicBezTo>
                  <a:cubicBezTo>
                    <a:pt x="1009" y="418"/>
                    <a:pt x="1010" y="418"/>
                    <a:pt x="1010" y="417"/>
                  </a:cubicBezTo>
                  <a:cubicBezTo>
                    <a:pt x="1011" y="418"/>
                    <a:pt x="1012" y="419"/>
                    <a:pt x="1012" y="419"/>
                  </a:cubicBezTo>
                  <a:cubicBezTo>
                    <a:pt x="1013" y="420"/>
                    <a:pt x="1015" y="421"/>
                    <a:pt x="1017" y="420"/>
                  </a:cubicBezTo>
                  <a:cubicBezTo>
                    <a:pt x="1018" y="420"/>
                    <a:pt x="1020" y="419"/>
                    <a:pt x="1021" y="417"/>
                  </a:cubicBezTo>
                  <a:cubicBezTo>
                    <a:pt x="1021" y="417"/>
                    <a:pt x="1021" y="415"/>
                    <a:pt x="1022" y="414"/>
                  </a:cubicBezTo>
                  <a:cubicBezTo>
                    <a:pt x="1024" y="414"/>
                    <a:pt x="1026" y="414"/>
                    <a:pt x="1026" y="414"/>
                  </a:cubicBezTo>
                  <a:cubicBezTo>
                    <a:pt x="1029" y="415"/>
                    <a:pt x="1031" y="413"/>
                    <a:pt x="1032" y="411"/>
                  </a:cubicBezTo>
                  <a:cubicBezTo>
                    <a:pt x="1032" y="411"/>
                    <a:pt x="1034" y="407"/>
                    <a:pt x="1035" y="404"/>
                  </a:cubicBezTo>
                  <a:cubicBezTo>
                    <a:pt x="1035" y="405"/>
                    <a:pt x="1036" y="406"/>
                    <a:pt x="1036" y="406"/>
                  </a:cubicBezTo>
                  <a:cubicBezTo>
                    <a:pt x="1037" y="407"/>
                    <a:pt x="1039" y="408"/>
                    <a:pt x="1041" y="408"/>
                  </a:cubicBezTo>
                  <a:cubicBezTo>
                    <a:pt x="1042" y="409"/>
                    <a:pt x="1044" y="408"/>
                    <a:pt x="1045" y="406"/>
                  </a:cubicBezTo>
                  <a:cubicBezTo>
                    <a:pt x="1045" y="406"/>
                    <a:pt x="1050" y="401"/>
                    <a:pt x="1053" y="397"/>
                  </a:cubicBezTo>
                  <a:cubicBezTo>
                    <a:pt x="1053" y="397"/>
                    <a:pt x="1054" y="398"/>
                    <a:pt x="1054" y="398"/>
                  </a:cubicBezTo>
                  <a:cubicBezTo>
                    <a:pt x="1056" y="399"/>
                    <a:pt x="1059" y="398"/>
                    <a:pt x="1060" y="397"/>
                  </a:cubicBezTo>
                  <a:cubicBezTo>
                    <a:pt x="1060" y="397"/>
                    <a:pt x="1061" y="396"/>
                    <a:pt x="1061" y="396"/>
                  </a:cubicBezTo>
                  <a:cubicBezTo>
                    <a:pt x="1061" y="399"/>
                    <a:pt x="1062" y="401"/>
                    <a:pt x="1062" y="401"/>
                  </a:cubicBezTo>
                  <a:cubicBezTo>
                    <a:pt x="1062" y="402"/>
                    <a:pt x="1063" y="403"/>
                    <a:pt x="1064" y="404"/>
                  </a:cubicBezTo>
                  <a:cubicBezTo>
                    <a:pt x="1073" y="410"/>
                    <a:pt x="1073" y="410"/>
                    <a:pt x="1073" y="410"/>
                  </a:cubicBezTo>
                  <a:cubicBezTo>
                    <a:pt x="1073" y="410"/>
                    <a:pt x="1074" y="410"/>
                    <a:pt x="1074" y="411"/>
                  </a:cubicBezTo>
                  <a:cubicBezTo>
                    <a:pt x="1079" y="412"/>
                    <a:pt x="1079" y="412"/>
                    <a:pt x="1079" y="412"/>
                  </a:cubicBezTo>
                  <a:cubicBezTo>
                    <a:pt x="1081" y="413"/>
                    <a:pt x="1082" y="413"/>
                    <a:pt x="1084" y="412"/>
                  </a:cubicBezTo>
                  <a:cubicBezTo>
                    <a:pt x="1084" y="412"/>
                    <a:pt x="1086" y="411"/>
                    <a:pt x="1087" y="410"/>
                  </a:cubicBezTo>
                  <a:cubicBezTo>
                    <a:pt x="1089" y="410"/>
                    <a:pt x="1091" y="410"/>
                    <a:pt x="1091" y="410"/>
                  </a:cubicBezTo>
                  <a:cubicBezTo>
                    <a:pt x="1091" y="410"/>
                    <a:pt x="1092" y="410"/>
                    <a:pt x="1092" y="410"/>
                  </a:cubicBezTo>
                  <a:cubicBezTo>
                    <a:pt x="1092" y="411"/>
                    <a:pt x="1093" y="412"/>
                    <a:pt x="1093" y="412"/>
                  </a:cubicBezTo>
                  <a:cubicBezTo>
                    <a:pt x="1093" y="413"/>
                    <a:pt x="1093" y="414"/>
                    <a:pt x="1094" y="414"/>
                  </a:cubicBezTo>
                  <a:cubicBezTo>
                    <a:pt x="1104" y="425"/>
                    <a:pt x="1104" y="425"/>
                    <a:pt x="1104" y="425"/>
                  </a:cubicBezTo>
                  <a:cubicBezTo>
                    <a:pt x="1105" y="426"/>
                    <a:pt x="1107" y="427"/>
                    <a:pt x="1109" y="426"/>
                  </a:cubicBezTo>
                  <a:cubicBezTo>
                    <a:pt x="1109" y="426"/>
                    <a:pt x="1110" y="426"/>
                    <a:pt x="1111" y="426"/>
                  </a:cubicBezTo>
                  <a:cubicBezTo>
                    <a:pt x="1114" y="428"/>
                    <a:pt x="1122" y="433"/>
                    <a:pt x="1122" y="433"/>
                  </a:cubicBezTo>
                  <a:cubicBezTo>
                    <a:pt x="1124" y="435"/>
                    <a:pt x="1127" y="434"/>
                    <a:pt x="1128" y="433"/>
                  </a:cubicBezTo>
                  <a:cubicBezTo>
                    <a:pt x="1128" y="433"/>
                    <a:pt x="1130" y="432"/>
                    <a:pt x="1131" y="431"/>
                  </a:cubicBezTo>
                  <a:cubicBezTo>
                    <a:pt x="1134" y="434"/>
                    <a:pt x="1136" y="438"/>
                    <a:pt x="1136" y="438"/>
                  </a:cubicBezTo>
                  <a:cubicBezTo>
                    <a:pt x="1137" y="440"/>
                    <a:pt x="1139" y="441"/>
                    <a:pt x="1140" y="441"/>
                  </a:cubicBezTo>
                  <a:cubicBezTo>
                    <a:pt x="1142" y="441"/>
                    <a:pt x="1144" y="440"/>
                    <a:pt x="1145" y="439"/>
                  </a:cubicBezTo>
                  <a:cubicBezTo>
                    <a:pt x="1152" y="433"/>
                    <a:pt x="1152" y="433"/>
                    <a:pt x="1152" y="433"/>
                  </a:cubicBezTo>
                  <a:cubicBezTo>
                    <a:pt x="1152" y="432"/>
                    <a:pt x="1153" y="432"/>
                    <a:pt x="1153" y="431"/>
                  </a:cubicBezTo>
                  <a:cubicBezTo>
                    <a:pt x="1153" y="431"/>
                    <a:pt x="1159" y="417"/>
                    <a:pt x="1159" y="416"/>
                  </a:cubicBezTo>
                  <a:cubicBezTo>
                    <a:pt x="1160" y="415"/>
                    <a:pt x="1169" y="404"/>
                    <a:pt x="1169" y="404"/>
                  </a:cubicBezTo>
                  <a:cubicBezTo>
                    <a:pt x="1169" y="404"/>
                    <a:pt x="1169" y="403"/>
                    <a:pt x="1169" y="403"/>
                  </a:cubicBezTo>
                  <a:cubicBezTo>
                    <a:pt x="1169" y="403"/>
                    <a:pt x="1172" y="396"/>
                    <a:pt x="1173" y="394"/>
                  </a:cubicBezTo>
                  <a:cubicBezTo>
                    <a:pt x="1175" y="393"/>
                    <a:pt x="1184" y="385"/>
                    <a:pt x="1184" y="385"/>
                  </a:cubicBezTo>
                  <a:cubicBezTo>
                    <a:pt x="1184" y="385"/>
                    <a:pt x="1184" y="385"/>
                    <a:pt x="1184" y="384"/>
                  </a:cubicBezTo>
                  <a:cubicBezTo>
                    <a:pt x="1185" y="385"/>
                    <a:pt x="1185" y="387"/>
                    <a:pt x="1185" y="387"/>
                  </a:cubicBezTo>
                  <a:cubicBezTo>
                    <a:pt x="1186" y="389"/>
                    <a:pt x="1188" y="391"/>
                    <a:pt x="1190" y="391"/>
                  </a:cubicBezTo>
                  <a:cubicBezTo>
                    <a:pt x="1193" y="391"/>
                    <a:pt x="1195" y="389"/>
                    <a:pt x="1196" y="387"/>
                  </a:cubicBezTo>
                  <a:cubicBezTo>
                    <a:pt x="1196" y="387"/>
                    <a:pt x="1198" y="381"/>
                    <a:pt x="1200" y="375"/>
                  </a:cubicBezTo>
                  <a:cubicBezTo>
                    <a:pt x="1201" y="376"/>
                    <a:pt x="1203" y="377"/>
                    <a:pt x="1204" y="377"/>
                  </a:cubicBezTo>
                  <a:cubicBezTo>
                    <a:pt x="1206" y="376"/>
                    <a:pt x="1208" y="375"/>
                    <a:pt x="1209" y="373"/>
                  </a:cubicBezTo>
                  <a:cubicBezTo>
                    <a:pt x="1209" y="373"/>
                    <a:pt x="1209" y="371"/>
                    <a:pt x="1209" y="370"/>
                  </a:cubicBezTo>
                  <a:cubicBezTo>
                    <a:pt x="1209" y="373"/>
                    <a:pt x="1209" y="376"/>
                    <a:pt x="1209" y="376"/>
                  </a:cubicBezTo>
                  <a:cubicBezTo>
                    <a:pt x="1210" y="378"/>
                    <a:pt x="1211" y="380"/>
                    <a:pt x="1212" y="381"/>
                  </a:cubicBezTo>
                  <a:cubicBezTo>
                    <a:pt x="1214" y="382"/>
                    <a:pt x="1216" y="382"/>
                    <a:pt x="1218" y="381"/>
                  </a:cubicBezTo>
                  <a:cubicBezTo>
                    <a:pt x="1218" y="381"/>
                    <a:pt x="1219" y="380"/>
                    <a:pt x="1220" y="380"/>
                  </a:cubicBezTo>
                  <a:cubicBezTo>
                    <a:pt x="1220" y="380"/>
                    <a:pt x="1220" y="381"/>
                    <a:pt x="1220" y="381"/>
                  </a:cubicBezTo>
                  <a:cubicBezTo>
                    <a:pt x="1220" y="383"/>
                    <a:pt x="1221" y="384"/>
                    <a:pt x="1223" y="385"/>
                  </a:cubicBezTo>
                  <a:cubicBezTo>
                    <a:pt x="1225" y="386"/>
                    <a:pt x="1227" y="386"/>
                    <a:pt x="1229" y="385"/>
                  </a:cubicBezTo>
                  <a:cubicBezTo>
                    <a:pt x="1229" y="385"/>
                    <a:pt x="1231" y="383"/>
                    <a:pt x="1233" y="382"/>
                  </a:cubicBezTo>
                  <a:cubicBezTo>
                    <a:pt x="1234" y="383"/>
                    <a:pt x="1235" y="385"/>
                    <a:pt x="1235" y="385"/>
                  </a:cubicBezTo>
                  <a:cubicBezTo>
                    <a:pt x="1235" y="386"/>
                    <a:pt x="1237" y="387"/>
                    <a:pt x="1238" y="387"/>
                  </a:cubicBezTo>
                  <a:cubicBezTo>
                    <a:pt x="1239" y="387"/>
                    <a:pt x="1240" y="387"/>
                    <a:pt x="1240" y="387"/>
                  </a:cubicBezTo>
                  <a:cubicBezTo>
                    <a:pt x="1242" y="394"/>
                    <a:pt x="1244" y="401"/>
                    <a:pt x="1244" y="401"/>
                  </a:cubicBezTo>
                  <a:cubicBezTo>
                    <a:pt x="1244" y="402"/>
                    <a:pt x="1244" y="402"/>
                    <a:pt x="1244" y="403"/>
                  </a:cubicBezTo>
                  <a:cubicBezTo>
                    <a:pt x="1249" y="410"/>
                    <a:pt x="1249" y="410"/>
                    <a:pt x="1249" y="410"/>
                  </a:cubicBezTo>
                  <a:cubicBezTo>
                    <a:pt x="1250" y="413"/>
                    <a:pt x="1254" y="414"/>
                    <a:pt x="1257" y="412"/>
                  </a:cubicBezTo>
                  <a:cubicBezTo>
                    <a:pt x="1268" y="406"/>
                    <a:pt x="1268" y="406"/>
                    <a:pt x="1268" y="406"/>
                  </a:cubicBezTo>
                  <a:cubicBezTo>
                    <a:pt x="1269" y="405"/>
                    <a:pt x="1270" y="404"/>
                    <a:pt x="1271" y="402"/>
                  </a:cubicBezTo>
                  <a:cubicBezTo>
                    <a:pt x="1271" y="402"/>
                    <a:pt x="1272" y="393"/>
                    <a:pt x="1272" y="391"/>
                  </a:cubicBezTo>
                  <a:cubicBezTo>
                    <a:pt x="1272" y="391"/>
                    <a:pt x="1272" y="390"/>
                    <a:pt x="1272" y="390"/>
                  </a:cubicBezTo>
                  <a:cubicBezTo>
                    <a:pt x="1273" y="392"/>
                    <a:pt x="1275" y="392"/>
                    <a:pt x="1277" y="392"/>
                  </a:cubicBezTo>
                  <a:cubicBezTo>
                    <a:pt x="1279" y="392"/>
                    <a:pt x="1280" y="391"/>
                    <a:pt x="1281" y="390"/>
                  </a:cubicBezTo>
                  <a:cubicBezTo>
                    <a:pt x="1281" y="390"/>
                    <a:pt x="1283" y="386"/>
                    <a:pt x="1285" y="383"/>
                  </a:cubicBezTo>
                  <a:cubicBezTo>
                    <a:pt x="1286" y="383"/>
                    <a:pt x="1287" y="385"/>
                    <a:pt x="1287" y="385"/>
                  </a:cubicBezTo>
                  <a:cubicBezTo>
                    <a:pt x="1288" y="387"/>
                    <a:pt x="1290" y="388"/>
                    <a:pt x="1292" y="388"/>
                  </a:cubicBezTo>
                  <a:cubicBezTo>
                    <a:pt x="1294" y="388"/>
                    <a:pt x="1296" y="386"/>
                    <a:pt x="1297" y="384"/>
                  </a:cubicBezTo>
                  <a:cubicBezTo>
                    <a:pt x="1297" y="384"/>
                    <a:pt x="1299" y="377"/>
                    <a:pt x="1302" y="369"/>
                  </a:cubicBezTo>
                  <a:cubicBezTo>
                    <a:pt x="1303" y="374"/>
                    <a:pt x="1305" y="380"/>
                    <a:pt x="1305" y="380"/>
                  </a:cubicBezTo>
                  <a:cubicBezTo>
                    <a:pt x="1305" y="382"/>
                    <a:pt x="1307" y="383"/>
                    <a:pt x="1309" y="384"/>
                  </a:cubicBezTo>
                  <a:cubicBezTo>
                    <a:pt x="1311" y="384"/>
                    <a:pt x="1313" y="383"/>
                    <a:pt x="1315" y="382"/>
                  </a:cubicBezTo>
                  <a:cubicBezTo>
                    <a:pt x="1315" y="382"/>
                    <a:pt x="1317" y="379"/>
                    <a:pt x="1319" y="376"/>
                  </a:cubicBezTo>
                  <a:cubicBezTo>
                    <a:pt x="1319" y="377"/>
                    <a:pt x="1320" y="379"/>
                    <a:pt x="1320" y="379"/>
                  </a:cubicBezTo>
                  <a:cubicBezTo>
                    <a:pt x="1320" y="381"/>
                    <a:pt x="1322" y="382"/>
                    <a:pt x="1325" y="383"/>
                  </a:cubicBezTo>
                  <a:cubicBezTo>
                    <a:pt x="1327" y="383"/>
                    <a:pt x="1329" y="382"/>
                    <a:pt x="1330" y="380"/>
                  </a:cubicBezTo>
                  <a:cubicBezTo>
                    <a:pt x="1339" y="365"/>
                    <a:pt x="1339" y="365"/>
                    <a:pt x="1339" y="365"/>
                  </a:cubicBezTo>
                  <a:cubicBezTo>
                    <a:pt x="1339" y="365"/>
                    <a:pt x="1342" y="358"/>
                    <a:pt x="1343" y="357"/>
                  </a:cubicBezTo>
                  <a:cubicBezTo>
                    <a:pt x="1344" y="355"/>
                    <a:pt x="1351" y="349"/>
                    <a:pt x="1351" y="349"/>
                  </a:cubicBezTo>
                  <a:cubicBezTo>
                    <a:pt x="1352" y="348"/>
                    <a:pt x="1352" y="347"/>
                    <a:pt x="1353" y="346"/>
                  </a:cubicBezTo>
                  <a:cubicBezTo>
                    <a:pt x="1354" y="347"/>
                    <a:pt x="1355" y="347"/>
                    <a:pt x="1356" y="347"/>
                  </a:cubicBezTo>
                  <a:cubicBezTo>
                    <a:pt x="1359" y="347"/>
                    <a:pt x="1360" y="345"/>
                    <a:pt x="1361" y="343"/>
                  </a:cubicBezTo>
                  <a:cubicBezTo>
                    <a:pt x="1361" y="343"/>
                    <a:pt x="1364" y="331"/>
                    <a:pt x="1366" y="319"/>
                  </a:cubicBezTo>
                  <a:cubicBezTo>
                    <a:pt x="1366" y="320"/>
                    <a:pt x="1367" y="324"/>
                    <a:pt x="1367" y="324"/>
                  </a:cubicBezTo>
                  <a:cubicBezTo>
                    <a:pt x="1367" y="326"/>
                    <a:pt x="1369" y="328"/>
                    <a:pt x="1372" y="329"/>
                  </a:cubicBezTo>
                  <a:cubicBezTo>
                    <a:pt x="1374" y="329"/>
                    <a:pt x="1377" y="328"/>
                    <a:pt x="1378" y="326"/>
                  </a:cubicBezTo>
                  <a:cubicBezTo>
                    <a:pt x="1384" y="313"/>
                    <a:pt x="1384" y="313"/>
                    <a:pt x="1384" y="313"/>
                  </a:cubicBezTo>
                  <a:cubicBezTo>
                    <a:pt x="1385" y="313"/>
                    <a:pt x="1385" y="312"/>
                    <a:pt x="1385" y="312"/>
                  </a:cubicBezTo>
                  <a:cubicBezTo>
                    <a:pt x="1385" y="312"/>
                    <a:pt x="1386" y="308"/>
                    <a:pt x="1386" y="306"/>
                  </a:cubicBezTo>
                  <a:cubicBezTo>
                    <a:pt x="1387" y="307"/>
                    <a:pt x="1389" y="308"/>
                    <a:pt x="1390" y="308"/>
                  </a:cubicBezTo>
                  <a:cubicBezTo>
                    <a:pt x="1393" y="308"/>
                    <a:pt x="1395" y="306"/>
                    <a:pt x="1396" y="304"/>
                  </a:cubicBezTo>
                  <a:cubicBezTo>
                    <a:pt x="1396" y="304"/>
                    <a:pt x="1400" y="284"/>
                    <a:pt x="1404" y="268"/>
                  </a:cubicBezTo>
                  <a:cubicBezTo>
                    <a:pt x="1405" y="269"/>
                    <a:pt x="1406" y="272"/>
                    <a:pt x="1406" y="272"/>
                  </a:cubicBezTo>
                  <a:cubicBezTo>
                    <a:pt x="1406" y="275"/>
                    <a:pt x="1409" y="276"/>
                    <a:pt x="1411" y="276"/>
                  </a:cubicBezTo>
                  <a:cubicBezTo>
                    <a:pt x="1414" y="276"/>
                    <a:pt x="1416" y="274"/>
                    <a:pt x="1417" y="272"/>
                  </a:cubicBezTo>
                  <a:cubicBezTo>
                    <a:pt x="1417" y="272"/>
                    <a:pt x="1418" y="267"/>
                    <a:pt x="1418" y="262"/>
                  </a:cubicBezTo>
                  <a:cubicBezTo>
                    <a:pt x="1420" y="263"/>
                    <a:pt x="1421" y="264"/>
                    <a:pt x="1423" y="264"/>
                  </a:cubicBezTo>
                  <a:cubicBezTo>
                    <a:pt x="1425" y="263"/>
                    <a:pt x="1427" y="262"/>
                    <a:pt x="1428" y="259"/>
                  </a:cubicBezTo>
                  <a:cubicBezTo>
                    <a:pt x="1428" y="259"/>
                    <a:pt x="1431" y="240"/>
                    <a:pt x="1432" y="234"/>
                  </a:cubicBezTo>
                  <a:cubicBezTo>
                    <a:pt x="1432" y="234"/>
                    <a:pt x="1433" y="234"/>
                    <a:pt x="1433" y="234"/>
                  </a:cubicBezTo>
                  <a:cubicBezTo>
                    <a:pt x="1433" y="234"/>
                    <a:pt x="1433" y="234"/>
                    <a:pt x="1433" y="234"/>
                  </a:cubicBezTo>
                  <a:cubicBezTo>
                    <a:pt x="1435" y="249"/>
                    <a:pt x="1438" y="271"/>
                    <a:pt x="1438" y="271"/>
                  </a:cubicBezTo>
                  <a:cubicBezTo>
                    <a:pt x="1438" y="273"/>
                    <a:pt x="1440" y="275"/>
                    <a:pt x="1442" y="276"/>
                  </a:cubicBezTo>
                  <a:cubicBezTo>
                    <a:pt x="1444" y="276"/>
                    <a:pt x="1446" y="275"/>
                    <a:pt x="1447" y="274"/>
                  </a:cubicBezTo>
                  <a:cubicBezTo>
                    <a:pt x="1447" y="279"/>
                    <a:pt x="1448" y="284"/>
                    <a:pt x="1448" y="284"/>
                  </a:cubicBezTo>
                  <a:cubicBezTo>
                    <a:pt x="1448" y="287"/>
                    <a:pt x="1450" y="289"/>
                    <a:pt x="1453" y="290"/>
                  </a:cubicBezTo>
                  <a:cubicBezTo>
                    <a:pt x="1456" y="290"/>
                    <a:pt x="1458" y="288"/>
                    <a:pt x="1459" y="286"/>
                  </a:cubicBezTo>
                  <a:cubicBezTo>
                    <a:pt x="1459" y="286"/>
                    <a:pt x="1466" y="264"/>
                    <a:pt x="1468" y="259"/>
                  </a:cubicBezTo>
                  <a:cubicBezTo>
                    <a:pt x="1470" y="258"/>
                    <a:pt x="1473" y="257"/>
                    <a:pt x="1473" y="254"/>
                  </a:cubicBezTo>
                  <a:cubicBezTo>
                    <a:pt x="1473" y="254"/>
                    <a:pt x="1479" y="228"/>
                    <a:pt x="1481" y="223"/>
                  </a:cubicBezTo>
                  <a:cubicBezTo>
                    <a:pt x="1483" y="222"/>
                    <a:pt x="1485" y="220"/>
                    <a:pt x="1485" y="218"/>
                  </a:cubicBezTo>
                  <a:cubicBezTo>
                    <a:pt x="1485" y="218"/>
                    <a:pt x="1490" y="178"/>
                    <a:pt x="1492" y="160"/>
                  </a:cubicBezTo>
                  <a:cubicBezTo>
                    <a:pt x="1493" y="160"/>
                    <a:pt x="1493" y="160"/>
                    <a:pt x="1493" y="160"/>
                  </a:cubicBezTo>
                  <a:cubicBezTo>
                    <a:pt x="1496" y="160"/>
                    <a:pt x="1498" y="158"/>
                    <a:pt x="1498" y="155"/>
                  </a:cubicBezTo>
                  <a:cubicBezTo>
                    <a:pt x="1498" y="155"/>
                    <a:pt x="1505" y="109"/>
                    <a:pt x="1511" y="66"/>
                  </a:cubicBezTo>
                  <a:cubicBezTo>
                    <a:pt x="1514" y="146"/>
                    <a:pt x="1523" y="328"/>
                    <a:pt x="1523" y="328"/>
                  </a:cubicBezTo>
                  <a:cubicBezTo>
                    <a:pt x="1523" y="329"/>
                    <a:pt x="1523" y="331"/>
                    <a:pt x="1524" y="332"/>
                  </a:cubicBezTo>
                  <a:cubicBezTo>
                    <a:pt x="1535" y="341"/>
                    <a:pt x="1535" y="341"/>
                    <a:pt x="1535" y="341"/>
                  </a:cubicBezTo>
                  <a:cubicBezTo>
                    <a:pt x="1536" y="342"/>
                    <a:pt x="1539" y="343"/>
                    <a:pt x="1541" y="342"/>
                  </a:cubicBezTo>
                  <a:cubicBezTo>
                    <a:pt x="1543" y="341"/>
                    <a:pt x="1544" y="339"/>
                    <a:pt x="1544" y="337"/>
                  </a:cubicBezTo>
                  <a:cubicBezTo>
                    <a:pt x="1544" y="337"/>
                    <a:pt x="1549" y="284"/>
                    <a:pt x="1552" y="255"/>
                  </a:cubicBezTo>
                  <a:cubicBezTo>
                    <a:pt x="1553" y="256"/>
                    <a:pt x="1554" y="256"/>
                    <a:pt x="1555" y="256"/>
                  </a:cubicBezTo>
                  <a:cubicBezTo>
                    <a:pt x="1557" y="256"/>
                    <a:pt x="1560" y="254"/>
                    <a:pt x="1560" y="251"/>
                  </a:cubicBezTo>
                  <a:cubicBezTo>
                    <a:pt x="1560" y="251"/>
                    <a:pt x="1560" y="244"/>
                    <a:pt x="1561" y="238"/>
                  </a:cubicBezTo>
                  <a:cubicBezTo>
                    <a:pt x="1561" y="238"/>
                    <a:pt x="1562" y="238"/>
                    <a:pt x="1562" y="238"/>
                  </a:cubicBezTo>
                  <a:cubicBezTo>
                    <a:pt x="1564" y="237"/>
                    <a:pt x="1566" y="235"/>
                    <a:pt x="1566" y="233"/>
                  </a:cubicBezTo>
                  <a:cubicBezTo>
                    <a:pt x="1566" y="233"/>
                    <a:pt x="1567" y="227"/>
                    <a:pt x="1568" y="222"/>
                  </a:cubicBezTo>
                  <a:cubicBezTo>
                    <a:pt x="1568" y="222"/>
                    <a:pt x="1569" y="222"/>
                    <a:pt x="1569" y="222"/>
                  </a:cubicBezTo>
                  <a:cubicBezTo>
                    <a:pt x="1572" y="222"/>
                    <a:pt x="1574" y="221"/>
                    <a:pt x="1575" y="218"/>
                  </a:cubicBezTo>
                  <a:cubicBezTo>
                    <a:pt x="1575" y="218"/>
                    <a:pt x="1578" y="207"/>
                    <a:pt x="1578" y="205"/>
                  </a:cubicBezTo>
                  <a:cubicBezTo>
                    <a:pt x="1579" y="210"/>
                    <a:pt x="1579" y="217"/>
                    <a:pt x="1579" y="217"/>
                  </a:cubicBezTo>
                  <a:cubicBezTo>
                    <a:pt x="1580" y="219"/>
                    <a:pt x="1581" y="221"/>
                    <a:pt x="1584" y="222"/>
                  </a:cubicBezTo>
                  <a:cubicBezTo>
                    <a:pt x="1586" y="222"/>
                    <a:pt x="1588" y="221"/>
                    <a:pt x="1590" y="219"/>
                  </a:cubicBezTo>
                  <a:cubicBezTo>
                    <a:pt x="1590" y="219"/>
                    <a:pt x="1591" y="218"/>
                    <a:pt x="1592" y="217"/>
                  </a:cubicBezTo>
                  <a:cubicBezTo>
                    <a:pt x="1592" y="218"/>
                    <a:pt x="1594" y="219"/>
                    <a:pt x="1594" y="219"/>
                  </a:cubicBezTo>
                  <a:cubicBezTo>
                    <a:pt x="1595" y="220"/>
                    <a:pt x="1597" y="221"/>
                    <a:pt x="1599" y="220"/>
                  </a:cubicBezTo>
                  <a:cubicBezTo>
                    <a:pt x="1601" y="220"/>
                    <a:pt x="1603" y="218"/>
                    <a:pt x="1603" y="216"/>
                  </a:cubicBezTo>
                  <a:cubicBezTo>
                    <a:pt x="1603" y="216"/>
                    <a:pt x="1612" y="172"/>
                    <a:pt x="1613" y="168"/>
                  </a:cubicBezTo>
                  <a:cubicBezTo>
                    <a:pt x="1614" y="167"/>
                    <a:pt x="1616" y="166"/>
                    <a:pt x="1616" y="166"/>
                  </a:cubicBezTo>
                  <a:cubicBezTo>
                    <a:pt x="1617" y="165"/>
                    <a:pt x="1618" y="164"/>
                    <a:pt x="1618" y="162"/>
                  </a:cubicBezTo>
                  <a:cubicBezTo>
                    <a:pt x="1618" y="162"/>
                    <a:pt x="1619" y="147"/>
                    <a:pt x="1621" y="132"/>
                  </a:cubicBezTo>
                  <a:cubicBezTo>
                    <a:pt x="1621" y="133"/>
                    <a:pt x="1622" y="138"/>
                    <a:pt x="1622" y="138"/>
                  </a:cubicBezTo>
                  <a:cubicBezTo>
                    <a:pt x="1622" y="140"/>
                    <a:pt x="1624" y="142"/>
                    <a:pt x="1627" y="142"/>
                  </a:cubicBezTo>
                  <a:cubicBezTo>
                    <a:pt x="1627" y="150"/>
                    <a:pt x="1628" y="175"/>
                    <a:pt x="1628" y="175"/>
                  </a:cubicBezTo>
                  <a:cubicBezTo>
                    <a:pt x="1628" y="177"/>
                    <a:pt x="1629" y="179"/>
                    <a:pt x="1632" y="180"/>
                  </a:cubicBezTo>
                  <a:cubicBezTo>
                    <a:pt x="1636" y="181"/>
                    <a:pt x="1636" y="181"/>
                    <a:pt x="1636" y="181"/>
                  </a:cubicBezTo>
                  <a:cubicBezTo>
                    <a:pt x="1637" y="182"/>
                    <a:pt x="1639" y="181"/>
                    <a:pt x="1640" y="181"/>
                  </a:cubicBezTo>
                  <a:cubicBezTo>
                    <a:pt x="1642" y="180"/>
                    <a:pt x="1643" y="178"/>
                    <a:pt x="1643" y="177"/>
                  </a:cubicBezTo>
                  <a:cubicBezTo>
                    <a:pt x="1643" y="177"/>
                    <a:pt x="1650" y="138"/>
                    <a:pt x="1650" y="136"/>
                  </a:cubicBezTo>
                  <a:cubicBezTo>
                    <a:pt x="1651" y="135"/>
                    <a:pt x="1653" y="131"/>
                    <a:pt x="1655" y="127"/>
                  </a:cubicBezTo>
                  <a:cubicBezTo>
                    <a:pt x="1658" y="151"/>
                    <a:pt x="1662" y="188"/>
                    <a:pt x="1662" y="188"/>
                  </a:cubicBezTo>
                  <a:cubicBezTo>
                    <a:pt x="1662" y="191"/>
                    <a:pt x="1665" y="193"/>
                    <a:pt x="1667" y="193"/>
                  </a:cubicBezTo>
                  <a:cubicBezTo>
                    <a:pt x="1670" y="193"/>
                    <a:pt x="1673" y="191"/>
                    <a:pt x="1673" y="188"/>
                  </a:cubicBezTo>
                  <a:cubicBezTo>
                    <a:pt x="1673" y="188"/>
                    <a:pt x="1675" y="172"/>
                    <a:pt x="1676" y="160"/>
                  </a:cubicBezTo>
                  <a:cubicBezTo>
                    <a:pt x="1677" y="163"/>
                    <a:pt x="1679" y="167"/>
                    <a:pt x="1679" y="167"/>
                  </a:cubicBezTo>
                  <a:cubicBezTo>
                    <a:pt x="1679" y="170"/>
                    <a:pt x="1682" y="171"/>
                    <a:pt x="1684" y="171"/>
                  </a:cubicBezTo>
                  <a:cubicBezTo>
                    <a:pt x="1686" y="171"/>
                    <a:pt x="1689" y="169"/>
                    <a:pt x="1689" y="167"/>
                  </a:cubicBezTo>
                  <a:cubicBezTo>
                    <a:pt x="1689" y="167"/>
                    <a:pt x="1692" y="159"/>
                    <a:pt x="1693" y="153"/>
                  </a:cubicBezTo>
                  <a:cubicBezTo>
                    <a:pt x="1694" y="155"/>
                    <a:pt x="1696" y="158"/>
                    <a:pt x="1696" y="158"/>
                  </a:cubicBezTo>
                  <a:cubicBezTo>
                    <a:pt x="1697" y="160"/>
                    <a:pt x="1700" y="161"/>
                    <a:pt x="1703" y="160"/>
                  </a:cubicBezTo>
                  <a:cubicBezTo>
                    <a:pt x="1706" y="159"/>
                    <a:pt x="1707" y="155"/>
                    <a:pt x="1706" y="153"/>
                  </a:cubicBezTo>
                  <a:cubicBezTo>
                    <a:pt x="1700" y="140"/>
                    <a:pt x="1700" y="140"/>
                    <a:pt x="1700" y="140"/>
                  </a:cubicBezTo>
                  <a:cubicBezTo>
                    <a:pt x="1699" y="138"/>
                    <a:pt x="1696" y="136"/>
                    <a:pt x="1693" y="137"/>
                  </a:cubicBezTo>
                  <a:cubicBezTo>
                    <a:pt x="1688" y="139"/>
                    <a:pt x="1688" y="139"/>
                    <a:pt x="1688" y="139"/>
                  </a:cubicBezTo>
                  <a:cubicBezTo>
                    <a:pt x="1686" y="139"/>
                    <a:pt x="1685" y="141"/>
                    <a:pt x="1685" y="143"/>
                  </a:cubicBezTo>
                  <a:cubicBezTo>
                    <a:pt x="1685" y="143"/>
                    <a:pt x="1684" y="146"/>
                    <a:pt x="1683" y="147"/>
                  </a:cubicBezTo>
                  <a:cubicBezTo>
                    <a:pt x="1683" y="146"/>
                    <a:pt x="1682" y="143"/>
                    <a:pt x="1682" y="143"/>
                  </a:cubicBezTo>
                  <a:cubicBezTo>
                    <a:pt x="1681" y="142"/>
                    <a:pt x="1680" y="140"/>
                    <a:pt x="1678" y="140"/>
                  </a:cubicBezTo>
                  <a:cubicBezTo>
                    <a:pt x="1677" y="139"/>
                    <a:pt x="1675" y="139"/>
                    <a:pt x="1674" y="140"/>
                  </a:cubicBezTo>
                  <a:cubicBezTo>
                    <a:pt x="1669" y="143"/>
                    <a:pt x="1669" y="143"/>
                    <a:pt x="1669" y="143"/>
                  </a:cubicBezTo>
                  <a:cubicBezTo>
                    <a:pt x="1669" y="143"/>
                    <a:pt x="1668" y="143"/>
                    <a:pt x="1668" y="143"/>
                  </a:cubicBezTo>
                  <a:cubicBezTo>
                    <a:pt x="1666" y="124"/>
                    <a:pt x="1664" y="104"/>
                    <a:pt x="1664" y="104"/>
                  </a:cubicBezTo>
                  <a:cubicBezTo>
                    <a:pt x="1664" y="102"/>
                    <a:pt x="1662" y="100"/>
                    <a:pt x="1659" y="99"/>
                  </a:cubicBezTo>
                  <a:cubicBezTo>
                    <a:pt x="1656" y="99"/>
                    <a:pt x="1654" y="100"/>
                    <a:pt x="1653" y="103"/>
                  </a:cubicBezTo>
                  <a:cubicBezTo>
                    <a:pt x="1653" y="103"/>
                    <a:pt x="1649" y="115"/>
                    <a:pt x="1648" y="116"/>
                  </a:cubicBezTo>
                  <a:cubicBezTo>
                    <a:pt x="1648" y="116"/>
                    <a:pt x="1640" y="132"/>
                    <a:pt x="1640" y="132"/>
                  </a:cubicBezTo>
                  <a:cubicBezTo>
                    <a:pt x="1639" y="132"/>
                    <a:pt x="1639" y="133"/>
                    <a:pt x="1639" y="133"/>
                  </a:cubicBezTo>
                  <a:cubicBezTo>
                    <a:pt x="1639" y="133"/>
                    <a:pt x="1638" y="138"/>
                    <a:pt x="1638" y="139"/>
                  </a:cubicBezTo>
                  <a:cubicBezTo>
                    <a:pt x="1638" y="139"/>
                    <a:pt x="1638" y="137"/>
                    <a:pt x="1638" y="137"/>
                  </a:cubicBezTo>
                  <a:cubicBezTo>
                    <a:pt x="1638" y="134"/>
                    <a:pt x="1635" y="131"/>
                    <a:pt x="1632" y="131"/>
                  </a:cubicBezTo>
                  <a:cubicBezTo>
                    <a:pt x="1632" y="131"/>
                    <a:pt x="1632" y="131"/>
                    <a:pt x="1632" y="131"/>
                  </a:cubicBezTo>
                  <a:cubicBezTo>
                    <a:pt x="1631" y="123"/>
                    <a:pt x="1625" y="90"/>
                    <a:pt x="1625" y="90"/>
                  </a:cubicBezTo>
                  <a:cubicBezTo>
                    <a:pt x="1625" y="87"/>
                    <a:pt x="1622" y="85"/>
                    <a:pt x="1619" y="85"/>
                  </a:cubicBezTo>
                  <a:cubicBezTo>
                    <a:pt x="1616" y="85"/>
                    <a:pt x="1614" y="87"/>
                    <a:pt x="1614" y="90"/>
                  </a:cubicBezTo>
                  <a:cubicBezTo>
                    <a:pt x="1614" y="90"/>
                    <a:pt x="1607" y="154"/>
                    <a:pt x="1607" y="159"/>
                  </a:cubicBezTo>
                  <a:cubicBezTo>
                    <a:pt x="1606" y="159"/>
                    <a:pt x="1604" y="160"/>
                    <a:pt x="1604" y="160"/>
                  </a:cubicBezTo>
                  <a:cubicBezTo>
                    <a:pt x="1603" y="161"/>
                    <a:pt x="1602" y="162"/>
                    <a:pt x="1602" y="164"/>
                  </a:cubicBezTo>
                  <a:cubicBezTo>
                    <a:pt x="1602" y="164"/>
                    <a:pt x="1597" y="191"/>
                    <a:pt x="1594" y="204"/>
                  </a:cubicBezTo>
                  <a:cubicBezTo>
                    <a:pt x="1593" y="203"/>
                    <a:pt x="1592" y="202"/>
                    <a:pt x="1590" y="202"/>
                  </a:cubicBezTo>
                  <a:cubicBezTo>
                    <a:pt x="1590" y="202"/>
                    <a:pt x="1590" y="202"/>
                    <a:pt x="1590" y="203"/>
                  </a:cubicBezTo>
                  <a:cubicBezTo>
                    <a:pt x="1589" y="192"/>
                    <a:pt x="1587" y="179"/>
                    <a:pt x="1587" y="179"/>
                  </a:cubicBezTo>
                  <a:cubicBezTo>
                    <a:pt x="1587" y="177"/>
                    <a:pt x="1585" y="175"/>
                    <a:pt x="1583" y="174"/>
                  </a:cubicBezTo>
                  <a:cubicBezTo>
                    <a:pt x="1580" y="174"/>
                    <a:pt x="1577" y="175"/>
                    <a:pt x="1576" y="178"/>
                  </a:cubicBezTo>
                  <a:cubicBezTo>
                    <a:pt x="1576" y="178"/>
                    <a:pt x="1570" y="196"/>
                    <a:pt x="1569" y="199"/>
                  </a:cubicBezTo>
                  <a:cubicBezTo>
                    <a:pt x="1567" y="198"/>
                    <a:pt x="1566" y="197"/>
                    <a:pt x="1564" y="197"/>
                  </a:cubicBezTo>
                  <a:cubicBezTo>
                    <a:pt x="1562" y="197"/>
                    <a:pt x="1560" y="199"/>
                    <a:pt x="1559" y="202"/>
                  </a:cubicBezTo>
                  <a:cubicBezTo>
                    <a:pt x="1559" y="202"/>
                    <a:pt x="1557" y="213"/>
                    <a:pt x="1556" y="222"/>
                  </a:cubicBezTo>
                  <a:cubicBezTo>
                    <a:pt x="1556" y="222"/>
                    <a:pt x="1555" y="222"/>
                    <a:pt x="1555" y="222"/>
                  </a:cubicBezTo>
                  <a:cubicBezTo>
                    <a:pt x="1553" y="223"/>
                    <a:pt x="1552" y="224"/>
                    <a:pt x="1551" y="226"/>
                  </a:cubicBezTo>
                  <a:cubicBezTo>
                    <a:pt x="1550" y="226"/>
                    <a:pt x="1549" y="225"/>
                    <a:pt x="1548" y="225"/>
                  </a:cubicBezTo>
                  <a:cubicBezTo>
                    <a:pt x="1545" y="226"/>
                    <a:pt x="1543" y="228"/>
                    <a:pt x="1543" y="231"/>
                  </a:cubicBezTo>
                  <a:cubicBezTo>
                    <a:pt x="1543" y="231"/>
                    <a:pt x="1536" y="307"/>
                    <a:pt x="1534" y="325"/>
                  </a:cubicBezTo>
                  <a:cubicBezTo>
                    <a:pt x="1534" y="325"/>
                    <a:pt x="1534" y="325"/>
                    <a:pt x="1534" y="325"/>
                  </a:cubicBezTo>
                  <a:cubicBezTo>
                    <a:pt x="1534" y="320"/>
                    <a:pt x="1519" y="5"/>
                    <a:pt x="1519" y="5"/>
                  </a:cubicBezTo>
                  <a:cubicBezTo>
                    <a:pt x="1519" y="2"/>
                    <a:pt x="1517" y="0"/>
                    <a:pt x="1514" y="0"/>
                  </a:cubicBezTo>
                  <a:cubicBezTo>
                    <a:pt x="1511" y="0"/>
                    <a:pt x="1508" y="2"/>
                    <a:pt x="1508" y="5"/>
                  </a:cubicBez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 dirty="0"/>
            </a:p>
          </p:txBody>
        </p:sp>
        <p:grpSp>
          <p:nvGrpSpPr>
            <p:cNvPr id="7" name="îŝľïḓe">
              <a:extLst>
                <a:ext uri="{FF2B5EF4-FFF2-40B4-BE49-F238E27FC236}">
                  <a16:creationId xmlns:a16="http://schemas.microsoft.com/office/drawing/2014/main" id="{E21C4B2E-DA1E-46EC-8831-125DBCB0B3FE}"/>
                </a:ext>
              </a:extLst>
            </p:cNvPr>
            <p:cNvGrpSpPr/>
            <p:nvPr/>
          </p:nvGrpSpPr>
          <p:grpSpPr>
            <a:xfrm>
              <a:off x="673100" y="3800892"/>
              <a:ext cx="2197499" cy="1227441"/>
              <a:chOff x="850179" y="3467799"/>
              <a:chExt cx="2358713" cy="1227441"/>
            </a:xfrm>
          </p:grpSpPr>
          <p:sp>
            <p:nvSpPr>
              <p:cNvPr id="26" name="îṣḻîďé">
                <a:extLst>
                  <a:ext uri="{FF2B5EF4-FFF2-40B4-BE49-F238E27FC236}">
                    <a16:creationId xmlns:a16="http://schemas.microsoft.com/office/drawing/2014/main" id="{7BC4CA54-4F19-4A68-8210-06C708A35964}"/>
                  </a:ext>
                </a:extLst>
              </p:cNvPr>
              <p:cNvSpPr/>
              <p:nvPr/>
            </p:nvSpPr>
            <p:spPr bwMode="auto">
              <a:xfrm>
                <a:off x="850179" y="3891610"/>
                <a:ext cx="2358713" cy="803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7" name="íśḷïḋé">
                <a:extLst>
                  <a:ext uri="{FF2B5EF4-FFF2-40B4-BE49-F238E27FC236}">
                    <a16:creationId xmlns:a16="http://schemas.microsoft.com/office/drawing/2014/main" id="{5BF26D78-24F2-490E-BA4F-257A7E2AED27}"/>
                  </a:ext>
                </a:extLst>
              </p:cNvPr>
              <p:cNvSpPr/>
              <p:nvPr/>
            </p:nvSpPr>
            <p:spPr bwMode="auto">
              <a:xfrm>
                <a:off x="850179" y="3467799"/>
                <a:ext cx="2358713" cy="423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1.Text here</a:t>
                </a:r>
              </a:p>
            </p:txBody>
          </p:sp>
        </p:grpSp>
        <p:grpSp>
          <p:nvGrpSpPr>
            <p:cNvPr id="8" name="išḷîḓe">
              <a:extLst>
                <a:ext uri="{FF2B5EF4-FFF2-40B4-BE49-F238E27FC236}">
                  <a16:creationId xmlns:a16="http://schemas.microsoft.com/office/drawing/2014/main" id="{CBB8ADC0-D37D-47DF-B350-C92E97768887}"/>
                </a:ext>
              </a:extLst>
            </p:cNvPr>
            <p:cNvGrpSpPr/>
            <p:nvPr/>
          </p:nvGrpSpPr>
          <p:grpSpPr>
            <a:xfrm>
              <a:off x="3563805" y="2815279"/>
              <a:ext cx="2197499" cy="1227441"/>
              <a:chOff x="850179" y="3467799"/>
              <a:chExt cx="2358713" cy="1227441"/>
            </a:xfrm>
          </p:grpSpPr>
          <p:sp>
            <p:nvSpPr>
              <p:cNvPr id="24" name="iṧļiḓé">
                <a:extLst>
                  <a:ext uri="{FF2B5EF4-FFF2-40B4-BE49-F238E27FC236}">
                    <a16:creationId xmlns:a16="http://schemas.microsoft.com/office/drawing/2014/main" id="{61F98699-E0F6-4226-B262-756D04E9A401}"/>
                  </a:ext>
                </a:extLst>
              </p:cNvPr>
              <p:cNvSpPr/>
              <p:nvPr/>
            </p:nvSpPr>
            <p:spPr bwMode="auto">
              <a:xfrm>
                <a:off x="850179" y="3891610"/>
                <a:ext cx="2358713" cy="803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5" name="î$ḻïdè">
                <a:extLst>
                  <a:ext uri="{FF2B5EF4-FFF2-40B4-BE49-F238E27FC236}">
                    <a16:creationId xmlns:a16="http://schemas.microsoft.com/office/drawing/2014/main" id="{02CA3928-9ADE-47A2-8530-36AA6AE30954}"/>
                  </a:ext>
                </a:extLst>
              </p:cNvPr>
              <p:cNvSpPr/>
              <p:nvPr/>
            </p:nvSpPr>
            <p:spPr bwMode="auto">
              <a:xfrm>
                <a:off x="850179" y="3467799"/>
                <a:ext cx="2358713" cy="423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2.Text here</a:t>
                </a:r>
              </a:p>
            </p:txBody>
          </p:sp>
        </p:grpSp>
        <p:grpSp>
          <p:nvGrpSpPr>
            <p:cNvPr id="9" name="í$ļidé">
              <a:extLst>
                <a:ext uri="{FF2B5EF4-FFF2-40B4-BE49-F238E27FC236}">
                  <a16:creationId xmlns:a16="http://schemas.microsoft.com/office/drawing/2014/main" id="{5F04756E-3117-41F2-B337-942E57B50CAB}"/>
                </a:ext>
              </a:extLst>
            </p:cNvPr>
            <p:cNvGrpSpPr/>
            <p:nvPr/>
          </p:nvGrpSpPr>
          <p:grpSpPr>
            <a:xfrm>
              <a:off x="6830616" y="2187575"/>
              <a:ext cx="2197499" cy="1227441"/>
              <a:chOff x="850179" y="3467799"/>
              <a:chExt cx="2358713" cy="1227441"/>
            </a:xfrm>
          </p:grpSpPr>
          <p:sp>
            <p:nvSpPr>
              <p:cNvPr id="22" name="îsļíḋê">
                <a:extLst>
                  <a:ext uri="{FF2B5EF4-FFF2-40B4-BE49-F238E27FC236}">
                    <a16:creationId xmlns:a16="http://schemas.microsoft.com/office/drawing/2014/main" id="{07047FED-77F9-43AD-94C8-BE9C3AA4A7B4}"/>
                  </a:ext>
                </a:extLst>
              </p:cNvPr>
              <p:cNvSpPr/>
              <p:nvPr/>
            </p:nvSpPr>
            <p:spPr bwMode="auto">
              <a:xfrm>
                <a:off x="850179" y="3891610"/>
                <a:ext cx="2358713" cy="803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3" name="iṥḻiďê">
                <a:extLst>
                  <a:ext uri="{FF2B5EF4-FFF2-40B4-BE49-F238E27FC236}">
                    <a16:creationId xmlns:a16="http://schemas.microsoft.com/office/drawing/2014/main" id="{BD1A8F83-9C8E-4CD6-83F4-2F9129431D85}"/>
                  </a:ext>
                </a:extLst>
              </p:cNvPr>
              <p:cNvSpPr/>
              <p:nvPr/>
            </p:nvSpPr>
            <p:spPr bwMode="auto">
              <a:xfrm>
                <a:off x="850179" y="3467799"/>
                <a:ext cx="2358713" cy="423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3.Text here</a:t>
                </a:r>
              </a:p>
            </p:txBody>
          </p:sp>
        </p:grpSp>
        <p:grpSp>
          <p:nvGrpSpPr>
            <p:cNvPr id="10" name="îṩļiḋé">
              <a:extLst>
                <a:ext uri="{FF2B5EF4-FFF2-40B4-BE49-F238E27FC236}">
                  <a16:creationId xmlns:a16="http://schemas.microsoft.com/office/drawing/2014/main" id="{FC89F5C4-E87E-41E7-870E-6F12C030B6D5}"/>
                </a:ext>
              </a:extLst>
            </p:cNvPr>
            <p:cNvGrpSpPr/>
            <p:nvPr/>
          </p:nvGrpSpPr>
          <p:grpSpPr>
            <a:xfrm>
              <a:off x="9091217" y="1130300"/>
              <a:ext cx="2197499" cy="1227441"/>
              <a:chOff x="850179" y="3467799"/>
              <a:chExt cx="2358713" cy="1227441"/>
            </a:xfrm>
          </p:grpSpPr>
          <p:sp>
            <p:nvSpPr>
              <p:cNvPr id="20" name="îŝ1iḍê">
                <a:extLst>
                  <a:ext uri="{FF2B5EF4-FFF2-40B4-BE49-F238E27FC236}">
                    <a16:creationId xmlns:a16="http://schemas.microsoft.com/office/drawing/2014/main" id="{6474352E-DB82-4B30-BD78-4A51C5C5DABF}"/>
                  </a:ext>
                </a:extLst>
              </p:cNvPr>
              <p:cNvSpPr/>
              <p:nvPr/>
            </p:nvSpPr>
            <p:spPr bwMode="auto">
              <a:xfrm>
                <a:off x="850179" y="3891610"/>
                <a:ext cx="2358713" cy="803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1" name="ísḷïḑé">
                <a:extLst>
                  <a:ext uri="{FF2B5EF4-FFF2-40B4-BE49-F238E27FC236}">
                    <a16:creationId xmlns:a16="http://schemas.microsoft.com/office/drawing/2014/main" id="{9FFAE07B-4400-4B16-B701-C8C8193B3CCF}"/>
                  </a:ext>
                </a:extLst>
              </p:cNvPr>
              <p:cNvSpPr/>
              <p:nvPr/>
            </p:nvSpPr>
            <p:spPr bwMode="auto">
              <a:xfrm>
                <a:off x="850179" y="3467799"/>
                <a:ext cx="2358713" cy="423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4.Text here</a:t>
                </a:r>
              </a:p>
            </p:txBody>
          </p: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37D93C67-76E1-4614-97CE-9D446E490F7B}"/>
                </a:ext>
              </a:extLst>
            </p:cNvPr>
            <p:cNvCxnSpPr>
              <a:cxnSpLocks/>
            </p:cNvCxnSpPr>
            <p:nvPr/>
          </p:nvCxnSpPr>
          <p:spPr>
            <a:xfrm>
              <a:off x="1771849" y="5219700"/>
              <a:ext cx="0" cy="78105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F19B13F2-244E-4B78-8F5F-9B76787B9180}"/>
                </a:ext>
              </a:extLst>
            </p:cNvPr>
            <p:cNvCxnSpPr>
              <a:cxnSpLocks/>
            </p:cNvCxnSpPr>
            <p:nvPr/>
          </p:nvCxnSpPr>
          <p:spPr>
            <a:xfrm>
              <a:off x="4662555" y="4152900"/>
              <a:ext cx="0" cy="137596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A0565497-800D-44DF-BB01-8668CED48A61}"/>
                </a:ext>
              </a:extLst>
            </p:cNvPr>
            <p:cNvCxnSpPr/>
            <p:nvPr/>
          </p:nvCxnSpPr>
          <p:spPr>
            <a:xfrm>
              <a:off x="10291566" y="2447088"/>
              <a:ext cx="0" cy="7920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4B45F39F-786E-41C9-87AF-3724B04C2EF2}"/>
                </a:ext>
              </a:extLst>
            </p:cNvPr>
            <p:cNvCxnSpPr>
              <a:cxnSpLocks/>
            </p:cNvCxnSpPr>
            <p:nvPr/>
          </p:nvCxnSpPr>
          <p:spPr>
            <a:xfrm>
              <a:off x="7929366" y="3479632"/>
              <a:ext cx="0" cy="243856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ï$ḷíḓè">
              <a:extLst>
                <a:ext uri="{FF2B5EF4-FFF2-40B4-BE49-F238E27FC236}">
                  <a16:creationId xmlns:a16="http://schemas.microsoft.com/office/drawing/2014/main" id="{85ACE334-398F-4C19-AEDF-C530DD9EDBF4}"/>
                </a:ext>
              </a:extLst>
            </p:cNvPr>
            <p:cNvSpPr txBox="1"/>
            <p:nvPr/>
          </p:nvSpPr>
          <p:spPr>
            <a:xfrm>
              <a:off x="673099" y="1130300"/>
              <a:ext cx="4688283" cy="13167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Unified fonts make reading more fluent.</a:t>
              </a:r>
            </a:p>
          </p:txBody>
        </p:sp>
        <p:sp>
          <p:nvSpPr>
            <p:cNvPr id="16" name="íŝļíḋê">
              <a:extLst>
                <a:ext uri="{FF2B5EF4-FFF2-40B4-BE49-F238E27FC236}">
                  <a16:creationId xmlns:a16="http://schemas.microsoft.com/office/drawing/2014/main" id="{1513A79B-8EE6-450F-8D9E-290A9548F566}"/>
                </a:ext>
              </a:extLst>
            </p:cNvPr>
            <p:cNvSpPr/>
            <p:nvPr/>
          </p:nvSpPr>
          <p:spPr bwMode="auto">
            <a:xfrm>
              <a:off x="1124348" y="5528865"/>
              <a:ext cx="1295002" cy="3257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100" b="1" i="1" dirty="0"/>
                <a:t>2017/06/03</a:t>
              </a:r>
            </a:p>
          </p:txBody>
        </p:sp>
        <p:sp>
          <p:nvSpPr>
            <p:cNvPr id="17" name="iṧ1ïḑé">
              <a:extLst>
                <a:ext uri="{FF2B5EF4-FFF2-40B4-BE49-F238E27FC236}">
                  <a16:creationId xmlns:a16="http://schemas.microsoft.com/office/drawing/2014/main" id="{B2DDABFC-A767-4E91-964A-1FBA3D96B4A2}"/>
                </a:ext>
              </a:extLst>
            </p:cNvPr>
            <p:cNvSpPr/>
            <p:nvPr/>
          </p:nvSpPr>
          <p:spPr bwMode="auto">
            <a:xfrm>
              <a:off x="4015053" y="4833633"/>
              <a:ext cx="1295002" cy="3257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100" b="1" i="1" dirty="0"/>
                <a:t>2017/12/28</a:t>
              </a:r>
            </a:p>
          </p:txBody>
        </p:sp>
        <p:sp>
          <p:nvSpPr>
            <p:cNvPr id="18" name="îşḻîḍe">
              <a:extLst>
                <a:ext uri="{FF2B5EF4-FFF2-40B4-BE49-F238E27FC236}">
                  <a16:creationId xmlns:a16="http://schemas.microsoft.com/office/drawing/2014/main" id="{12482361-4C7D-447E-8B28-E15FBA85D983}"/>
                </a:ext>
              </a:extLst>
            </p:cNvPr>
            <p:cNvSpPr/>
            <p:nvPr/>
          </p:nvSpPr>
          <p:spPr bwMode="auto">
            <a:xfrm>
              <a:off x="7281864" y="4340201"/>
              <a:ext cx="1295002" cy="3257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100" b="1" i="1" dirty="0"/>
                <a:t>2018/03/01</a:t>
              </a:r>
            </a:p>
          </p:txBody>
        </p:sp>
        <p:sp>
          <p:nvSpPr>
            <p:cNvPr id="19" name="îṩḷiḑê">
              <a:extLst>
                <a:ext uri="{FF2B5EF4-FFF2-40B4-BE49-F238E27FC236}">
                  <a16:creationId xmlns:a16="http://schemas.microsoft.com/office/drawing/2014/main" id="{878EF566-58B1-45B1-A7AE-8FB79290BA3A}"/>
                </a:ext>
              </a:extLst>
            </p:cNvPr>
            <p:cNvSpPr/>
            <p:nvPr/>
          </p:nvSpPr>
          <p:spPr bwMode="auto">
            <a:xfrm>
              <a:off x="9644065" y="2678059"/>
              <a:ext cx="1295002" cy="3257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100" b="1" i="1" dirty="0"/>
                <a:t>2018/10/1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2495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D82F74-F356-4884-8EB3-FB3646DF5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DC539F0-B94E-421F-9A2F-CCEEF4C6C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2176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2E2CD24-0FF7-42B1-8647-831E50A0F501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2083275"/>
            <a:ext cx="10845800" cy="3110550"/>
            <a:chOff x="673100" y="2083275"/>
            <a:chExt cx="10845800" cy="3110550"/>
          </a:xfrm>
        </p:grpSpPr>
        <p:sp>
          <p:nvSpPr>
            <p:cNvPr id="6" name="ïsḷïḓè">
              <a:extLst>
                <a:ext uri="{FF2B5EF4-FFF2-40B4-BE49-F238E27FC236}">
                  <a16:creationId xmlns:a16="http://schemas.microsoft.com/office/drawing/2014/main" id="{4ABAD973-E42C-4A26-9150-638E3189B60E}"/>
                </a:ext>
              </a:extLst>
            </p:cNvPr>
            <p:cNvSpPr/>
            <p:nvPr/>
          </p:nvSpPr>
          <p:spPr bwMode="auto">
            <a:xfrm>
              <a:off x="4920331" y="3035734"/>
              <a:ext cx="933556" cy="1205632"/>
            </a:xfrm>
            <a:custGeom>
              <a:avLst/>
              <a:gdLst>
                <a:gd name="T0" fmla="*/ 3250 w 3635"/>
                <a:gd name="T1" fmla="*/ 2043 h 4701"/>
                <a:gd name="T2" fmla="*/ 2365 w 3635"/>
                <a:gd name="T3" fmla="*/ 1417 h 4701"/>
                <a:gd name="T4" fmla="*/ 2500 w 3635"/>
                <a:gd name="T5" fmla="*/ 1414 h 4701"/>
                <a:gd name="T6" fmla="*/ 3193 w 3635"/>
                <a:gd name="T7" fmla="*/ 1490 h 4701"/>
                <a:gd name="T8" fmla="*/ 3332 w 3635"/>
                <a:gd name="T9" fmla="*/ 1453 h 4701"/>
                <a:gd name="T10" fmla="*/ 2904 w 3635"/>
                <a:gd name="T11" fmla="*/ 1344 h 4701"/>
                <a:gd name="T12" fmla="*/ 2345 w 3635"/>
                <a:gd name="T13" fmla="*/ 1358 h 4701"/>
                <a:gd name="T14" fmla="*/ 2555 w 3635"/>
                <a:gd name="T15" fmla="*/ 1321 h 4701"/>
                <a:gd name="T16" fmla="*/ 3115 w 3635"/>
                <a:gd name="T17" fmla="*/ 1087 h 4701"/>
                <a:gd name="T18" fmla="*/ 3164 w 3635"/>
                <a:gd name="T19" fmla="*/ 986 h 4701"/>
                <a:gd name="T20" fmla="*/ 2816 w 3635"/>
                <a:gd name="T21" fmla="*/ 1081 h 4701"/>
                <a:gd name="T22" fmla="*/ 2629 w 3635"/>
                <a:gd name="T23" fmla="*/ 1209 h 4701"/>
                <a:gd name="T24" fmla="*/ 2181 w 3635"/>
                <a:gd name="T25" fmla="*/ 1292 h 4701"/>
                <a:gd name="T26" fmla="*/ 2603 w 3635"/>
                <a:gd name="T27" fmla="*/ 126 h 4701"/>
                <a:gd name="T28" fmla="*/ 2312 w 3635"/>
                <a:gd name="T29" fmla="*/ 78 h 4701"/>
                <a:gd name="T30" fmla="*/ 1847 w 3635"/>
                <a:gd name="T31" fmla="*/ 174 h 4701"/>
                <a:gd name="T32" fmla="*/ 1664 w 3635"/>
                <a:gd name="T33" fmla="*/ 170 h 4701"/>
                <a:gd name="T34" fmla="*/ 1483 w 3635"/>
                <a:gd name="T35" fmla="*/ 165 h 4701"/>
                <a:gd name="T36" fmla="*/ 893 w 3635"/>
                <a:gd name="T37" fmla="*/ 359 h 4701"/>
                <a:gd name="T38" fmla="*/ 1466 w 3635"/>
                <a:gd name="T39" fmla="*/ 1398 h 4701"/>
                <a:gd name="T40" fmla="*/ 115 w 3635"/>
                <a:gd name="T41" fmla="*/ 2775 h 4701"/>
                <a:gd name="T42" fmla="*/ 402 w 3635"/>
                <a:gd name="T43" fmla="*/ 4149 h 4701"/>
                <a:gd name="T44" fmla="*/ 1817 w 3635"/>
                <a:gd name="T45" fmla="*/ 4701 h 4701"/>
                <a:gd name="T46" fmla="*/ 3515 w 3635"/>
                <a:gd name="T47" fmla="*/ 3556 h 4701"/>
                <a:gd name="T48" fmla="*/ 3250 w 3635"/>
                <a:gd name="T49" fmla="*/ 2043 h 4701"/>
                <a:gd name="T50" fmla="*/ 1605 w 3635"/>
                <a:gd name="T51" fmla="*/ 329 h 4701"/>
                <a:gd name="T52" fmla="*/ 1781 w 3635"/>
                <a:gd name="T53" fmla="*/ 333 h 4701"/>
                <a:gd name="T54" fmla="*/ 1970 w 3635"/>
                <a:gd name="T55" fmla="*/ 338 h 4701"/>
                <a:gd name="T56" fmla="*/ 2287 w 3635"/>
                <a:gd name="T57" fmla="*/ 306 h 4701"/>
                <a:gd name="T58" fmla="*/ 2077 w 3635"/>
                <a:gd name="T59" fmla="*/ 444 h 4701"/>
                <a:gd name="T60" fmla="*/ 1157 w 3635"/>
                <a:gd name="T61" fmla="*/ 446 h 4701"/>
                <a:gd name="T62" fmla="*/ 1605 w 3635"/>
                <a:gd name="T63" fmla="*/ 329 h 4701"/>
                <a:gd name="T64" fmla="*/ 1874 w 3635"/>
                <a:gd name="T65" fmla="*/ 3776 h 4701"/>
                <a:gd name="T66" fmla="*/ 1874 w 3635"/>
                <a:gd name="T67" fmla="*/ 4034 h 4701"/>
                <a:gd name="T68" fmla="*/ 1717 w 3635"/>
                <a:gd name="T69" fmla="*/ 4034 h 4701"/>
                <a:gd name="T70" fmla="*/ 1717 w 3635"/>
                <a:gd name="T71" fmla="*/ 3786 h 4701"/>
                <a:gd name="T72" fmla="*/ 1340 w 3635"/>
                <a:gd name="T73" fmla="*/ 3677 h 4701"/>
                <a:gd name="T74" fmla="*/ 1400 w 3635"/>
                <a:gd name="T75" fmla="*/ 3510 h 4701"/>
                <a:gd name="T76" fmla="*/ 1755 w 3635"/>
                <a:gd name="T77" fmla="*/ 3617 h 4701"/>
                <a:gd name="T78" fmla="*/ 2034 w 3635"/>
                <a:gd name="T79" fmla="*/ 3374 h 4701"/>
                <a:gd name="T80" fmla="*/ 1769 w 3635"/>
                <a:gd name="T81" fmla="*/ 3079 h 4701"/>
                <a:gd name="T82" fmla="*/ 1360 w 3635"/>
                <a:gd name="T83" fmla="*/ 2647 h 4701"/>
                <a:gd name="T84" fmla="*/ 1732 w 3635"/>
                <a:gd name="T85" fmla="*/ 2248 h 4701"/>
                <a:gd name="T86" fmla="*/ 1732 w 3635"/>
                <a:gd name="T87" fmla="*/ 2000 h 4701"/>
                <a:gd name="T88" fmla="*/ 1889 w 3635"/>
                <a:gd name="T89" fmla="*/ 2000 h 4701"/>
                <a:gd name="T90" fmla="*/ 1888 w 3635"/>
                <a:gd name="T91" fmla="*/ 2240 h 4701"/>
                <a:gd name="T92" fmla="*/ 2211 w 3635"/>
                <a:gd name="T93" fmla="*/ 2327 h 4701"/>
                <a:gd name="T94" fmla="*/ 2149 w 3635"/>
                <a:gd name="T95" fmla="*/ 2491 h 4701"/>
                <a:gd name="T96" fmla="*/ 1836 w 3635"/>
                <a:gd name="T97" fmla="*/ 2404 h 4701"/>
                <a:gd name="T98" fmla="*/ 1589 w 3635"/>
                <a:gd name="T99" fmla="*/ 2620 h 4701"/>
                <a:gd name="T100" fmla="*/ 1881 w 3635"/>
                <a:gd name="T101" fmla="*/ 2902 h 4701"/>
                <a:gd name="T102" fmla="*/ 2265 w 3635"/>
                <a:gd name="T103" fmla="*/ 3354 h 4701"/>
                <a:gd name="T104" fmla="*/ 1874 w 3635"/>
                <a:gd name="T105" fmla="*/ 3776 h 4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35" h="4701">
                  <a:moveTo>
                    <a:pt x="3250" y="2043"/>
                  </a:moveTo>
                  <a:cubicBezTo>
                    <a:pt x="3034" y="1723"/>
                    <a:pt x="2729" y="1509"/>
                    <a:pt x="2365" y="1417"/>
                  </a:cubicBezTo>
                  <a:cubicBezTo>
                    <a:pt x="2410" y="1417"/>
                    <a:pt x="2456" y="1416"/>
                    <a:pt x="2500" y="1414"/>
                  </a:cubicBezTo>
                  <a:cubicBezTo>
                    <a:pt x="2679" y="1408"/>
                    <a:pt x="3072" y="1316"/>
                    <a:pt x="3193" y="1490"/>
                  </a:cubicBezTo>
                  <a:cubicBezTo>
                    <a:pt x="3217" y="1524"/>
                    <a:pt x="3342" y="1468"/>
                    <a:pt x="3332" y="1453"/>
                  </a:cubicBezTo>
                  <a:cubicBezTo>
                    <a:pt x="3242" y="1324"/>
                    <a:pt x="3042" y="1341"/>
                    <a:pt x="2904" y="1344"/>
                  </a:cubicBezTo>
                  <a:cubicBezTo>
                    <a:pt x="2730" y="1349"/>
                    <a:pt x="2528" y="1384"/>
                    <a:pt x="2345" y="1358"/>
                  </a:cubicBezTo>
                  <a:cubicBezTo>
                    <a:pt x="2415" y="1351"/>
                    <a:pt x="2485" y="1340"/>
                    <a:pt x="2555" y="1321"/>
                  </a:cubicBezTo>
                  <a:cubicBezTo>
                    <a:pt x="2757" y="1266"/>
                    <a:pt x="2892" y="1086"/>
                    <a:pt x="3115" y="1087"/>
                  </a:cubicBezTo>
                  <a:cubicBezTo>
                    <a:pt x="3139" y="1081"/>
                    <a:pt x="3202" y="987"/>
                    <a:pt x="3164" y="986"/>
                  </a:cubicBezTo>
                  <a:cubicBezTo>
                    <a:pt x="3034" y="986"/>
                    <a:pt x="2929" y="1016"/>
                    <a:pt x="2816" y="1081"/>
                  </a:cubicBezTo>
                  <a:cubicBezTo>
                    <a:pt x="2751" y="1118"/>
                    <a:pt x="2692" y="1168"/>
                    <a:pt x="2629" y="1209"/>
                  </a:cubicBezTo>
                  <a:cubicBezTo>
                    <a:pt x="2499" y="1292"/>
                    <a:pt x="2336" y="1296"/>
                    <a:pt x="2181" y="1292"/>
                  </a:cubicBezTo>
                  <a:cubicBezTo>
                    <a:pt x="2457" y="910"/>
                    <a:pt x="2694" y="338"/>
                    <a:pt x="2603" y="126"/>
                  </a:cubicBezTo>
                  <a:cubicBezTo>
                    <a:pt x="2560" y="25"/>
                    <a:pt x="2452" y="0"/>
                    <a:pt x="2312" y="78"/>
                  </a:cubicBezTo>
                  <a:cubicBezTo>
                    <a:pt x="2162" y="163"/>
                    <a:pt x="1992" y="174"/>
                    <a:pt x="1847" y="174"/>
                  </a:cubicBezTo>
                  <a:cubicBezTo>
                    <a:pt x="1786" y="174"/>
                    <a:pt x="1724" y="172"/>
                    <a:pt x="1664" y="170"/>
                  </a:cubicBezTo>
                  <a:cubicBezTo>
                    <a:pt x="1603" y="167"/>
                    <a:pt x="1542" y="165"/>
                    <a:pt x="1483" y="165"/>
                  </a:cubicBezTo>
                  <a:cubicBezTo>
                    <a:pt x="1287" y="165"/>
                    <a:pt x="1064" y="188"/>
                    <a:pt x="893" y="359"/>
                  </a:cubicBezTo>
                  <a:cubicBezTo>
                    <a:pt x="759" y="498"/>
                    <a:pt x="939" y="1065"/>
                    <a:pt x="1466" y="1398"/>
                  </a:cubicBezTo>
                  <a:cubicBezTo>
                    <a:pt x="532" y="1536"/>
                    <a:pt x="256" y="2162"/>
                    <a:pt x="115" y="2775"/>
                  </a:cubicBezTo>
                  <a:cubicBezTo>
                    <a:pt x="0" y="3275"/>
                    <a:pt x="105" y="3776"/>
                    <a:pt x="402" y="4149"/>
                  </a:cubicBezTo>
                  <a:cubicBezTo>
                    <a:pt x="686" y="4505"/>
                    <a:pt x="1337" y="4701"/>
                    <a:pt x="1817" y="4701"/>
                  </a:cubicBezTo>
                  <a:cubicBezTo>
                    <a:pt x="2946" y="4701"/>
                    <a:pt x="3375" y="4232"/>
                    <a:pt x="3515" y="3556"/>
                  </a:cubicBezTo>
                  <a:cubicBezTo>
                    <a:pt x="3635" y="3033"/>
                    <a:pt x="3536" y="2467"/>
                    <a:pt x="3250" y="2043"/>
                  </a:cubicBezTo>
                  <a:close/>
                  <a:moveTo>
                    <a:pt x="1605" y="329"/>
                  </a:moveTo>
                  <a:cubicBezTo>
                    <a:pt x="1663" y="329"/>
                    <a:pt x="1722" y="331"/>
                    <a:pt x="1781" y="333"/>
                  </a:cubicBezTo>
                  <a:cubicBezTo>
                    <a:pt x="1844" y="335"/>
                    <a:pt x="1907" y="338"/>
                    <a:pt x="1970" y="338"/>
                  </a:cubicBezTo>
                  <a:cubicBezTo>
                    <a:pt x="2064" y="338"/>
                    <a:pt x="2174" y="332"/>
                    <a:pt x="2287" y="306"/>
                  </a:cubicBezTo>
                  <a:cubicBezTo>
                    <a:pt x="2216" y="349"/>
                    <a:pt x="2145" y="396"/>
                    <a:pt x="2077" y="444"/>
                  </a:cubicBezTo>
                  <a:cubicBezTo>
                    <a:pt x="1745" y="672"/>
                    <a:pt x="1482" y="852"/>
                    <a:pt x="1157" y="446"/>
                  </a:cubicBezTo>
                  <a:cubicBezTo>
                    <a:pt x="1285" y="345"/>
                    <a:pt x="1447" y="329"/>
                    <a:pt x="1605" y="329"/>
                  </a:cubicBezTo>
                  <a:close/>
                  <a:moveTo>
                    <a:pt x="1874" y="3776"/>
                  </a:moveTo>
                  <a:lnTo>
                    <a:pt x="1874" y="4034"/>
                  </a:lnTo>
                  <a:lnTo>
                    <a:pt x="1717" y="4034"/>
                  </a:lnTo>
                  <a:lnTo>
                    <a:pt x="1717" y="3786"/>
                  </a:lnTo>
                  <a:cubicBezTo>
                    <a:pt x="1574" y="3783"/>
                    <a:pt x="1427" y="3738"/>
                    <a:pt x="1340" y="3677"/>
                  </a:cubicBezTo>
                  <a:lnTo>
                    <a:pt x="1400" y="3510"/>
                  </a:lnTo>
                  <a:cubicBezTo>
                    <a:pt x="1487" y="3567"/>
                    <a:pt x="1616" y="3617"/>
                    <a:pt x="1755" y="3617"/>
                  </a:cubicBezTo>
                  <a:cubicBezTo>
                    <a:pt x="1930" y="3617"/>
                    <a:pt x="2034" y="3515"/>
                    <a:pt x="2034" y="3374"/>
                  </a:cubicBezTo>
                  <a:cubicBezTo>
                    <a:pt x="2034" y="3238"/>
                    <a:pt x="1953" y="3153"/>
                    <a:pt x="1769" y="3079"/>
                  </a:cubicBezTo>
                  <a:cubicBezTo>
                    <a:pt x="1517" y="2979"/>
                    <a:pt x="1360" y="2863"/>
                    <a:pt x="1360" y="2647"/>
                  </a:cubicBezTo>
                  <a:cubicBezTo>
                    <a:pt x="1360" y="2441"/>
                    <a:pt x="1506" y="2285"/>
                    <a:pt x="1732" y="2248"/>
                  </a:cubicBezTo>
                  <a:lnTo>
                    <a:pt x="1732" y="2000"/>
                  </a:lnTo>
                  <a:lnTo>
                    <a:pt x="1889" y="2000"/>
                  </a:lnTo>
                  <a:lnTo>
                    <a:pt x="1888" y="2240"/>
                  </a:lnTo>
                  <a:cubicBezTo>
                    <a:pt x="2035" y="2245"/>
                    <a:pt x="2136" y="2285"/>
                    <a:pt x="2211" y="2327"/>
                  </a:cubicBezTo>
                  <a:lnTo>
                    <a:pt x="2149" y="2491"/>
                  </a:lnTo>
                  <a:cubicBezTo>
                    <a:pt x="2097" y="2461"/>
                    <a:pt x="1995" y="2404"/>
                    <a:pt x="1836" y="2404"/>
                  </a:cubicBezTo>
                  <a:cubicBezTo>
                    <a:pt x="1645" y="2404"/>
                    <a:pt x="1589" y="2518"/>
                    <a:pt x="1589" y="2620"/>
                  </a:cubicBezTo>
                  <a:cubicBezTo>
                    <a:pt x="1589" y="2746"/>
                    <a:pt x="1665" y="2811"/>
                    <a:pt x="1881" y="2902"/>
                  </a:cubicBezTo>
                  <a:cubicBezTo>
                    <a:pt x="2136" y="3007"/>
                    <a:pt x="2265" y="3133"/>
                    <a:pt x="2265" y="3354"/>
                  </a:cubicBezTo>
                  <a:cubicBezTo>
                    <a:pt x="2265" y="3552"/>
                    <a:pt x="2129" y="3736"/>
                    <a:pt x="1874" y="3776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7" name="îs1îḓé">
              <a:extLst>
                <a:ext uri="{FF2B5EF4-FFF2-40B4-BE49-F238E27FC236}">
                  <a16:creationId xmlns:a16="http://schemas.microsoft.com/office/drawing/2014/main" id="{AF168676-B8CB-4CB0-A430-5F775429EB88}"/>
                </a:ext>
              </a:extLst>
            </p:cNvPr>
            <p:cNvSpPr/>
            <p:nvPr/>
          </p:nvSpPr>
          <p:spPr bwMode="auto">
            <a:xfrm>
              <a:off x="6338112" y="3035734"/>
              <a:ext cx="933556" cy="1205632"/>
            </a:xfrm>
            <a:custGeom>
              <a:avLst/>
              <a:gdLst>
                <a:gd name="T0" fmla="*/ 3250 w 3635"/>
                <a:gd name="T1" fmla="*/ 2043 h 4701"/>
                <a:gd name="T2" fmla="*/ 2365 w 3635"/>
                <a:gd name="T3" fmla="*/ 1417 h 4701"/>
                <a:gd name="T4" fmla="*/ 2500 w 3635"/>
                <a:gd name="T5" fmla="*/ 1414 h 4701"/>
                <a:gd name="T6" fmla="*/ 3193 w 3635"/>
                <a:gd name="T7" fmla="*/ 1490 h 4701"/>
                <a:gd name="T8" fmla="*/ 3332 w 3635"/>
                <a:gd name="T9" fmla="*/ 1453 h 4701"/>
                <a:gd name="T10" fmla="*/ 2904 w 3635"/>
                <a:gd name="T11" fmla="*/ 1344 h 4701"/>
                <a:gd name="T12" fmla="*/ 2345 w 3635"/>
                <a:gd name="T13" fmla="*/ 1358 h 4701"/>
                <a:gd name="T14" fmla="*/ 2555 w 3635"/>
                <a:gd name="T15" fmla="*/ 1321 h 4701"/>
                <a:gd name="T16" fmla="*/ 3115 w 3635"/>
                <a:gd name="T17" fmla="*/ 1087 h 4701"/>
                <a:gd name="T18" fmla="*/ 3164 w 3635"/>
                <a:gd name="T19" fmla="*/ 986 h 4701"/>
                <a:gd name="T20" fmla="*/ 2816 w 3635"/>
                <a:gd name="T21" fmla="*/ 1081 h 4701"/>
                <a:gd name="T22" fmla="*/ 2629 w 3635"/>
                <a:gd name="T23" fmla="*/ 1209 h 4701"/>
                <a:gd name="T24" fmla="*/ 2181 w 3635"/>
                <a:gd name="T25" fmla="*/ 1292 h 4701"/>
                <a:gd name="T26" fmla="*/ 2603 w 3635"/>
                <a:gd name="T27" fmla="*/ 126 h 4701"/>
                <a:gd name="T28" fmla="*/ 2312 w 3635"/>
                <a:gd name="T29" fmla="*/ 78 h 4701"/>
                <a:gd name="T30" fmla="*/ 1847 w 3635"/>
                <a:gd name="T31" fmla="*/ 174 h 4701"/>
                <a:gd name="T32" fmla="*/ 1664 w 3635"/>
                <a:gd name="T33" fmla="*/ 170 h 4701"/>
                <a:gd name="T34" fmla="*/ 1483 w 3635"/>
                <a:gd name="T35" fmla="*/ 165 h 4701"/>
                <a:gd name="T36" fmla="*/ 893 w 3635"/>
                <a:gd name="T37" fmla="*/ 359 h 4701"/>
                <a:gd name="T38" fmla="*/ 1466 w 3635"/>
                <a:gd name="T39" fmla="*/ 1398 h 4701"/>
                <a:gd name="T40" fmla="*/ 115 w 3635"/>
                <a:gd name="T41" fmla="*/ 2775 h 4701"/>
                <a:gd name="T42" fmla="*/ 402 w 3635"/>
                <a:gd name="T43" fmla="*/ 4149 h 4701"/>
                <a:gd name="T44" fmla="*/ 1817 w 3635"/>
                <a:gd name="T45" fmla="*/ 4701 h 4701"/>
                <a:gd name="T46" fmla="*/ 3515 w 3635"/>
                <a:gd name="T47" fmla="*/ 3556 h 4701"/>
                <a:gd name="T48" fmla="*/ 3250 w 3635"/>
                <a:gd name="T49" fmla="*/ 2043 h 4701"/>
                <a:gd name="T50" fmla="*/ 1605 w 3635"/>
                <a:gd name="T51" fmla="*/ 329 h 4701"/>
                <a:gd name="T52" fmla="*/ 1781 w 3635"/>
                <a:gd name="T53" fmla="*/ 333 h 4701"/>
                <a:gd name="T54" fmla="*/ 1970 w 3635"/>
                <a:gd name="T55" fmla="*/ 338 h 4701"/>
                <a:gd name="T56" fmla="*/ 2287 w 3635"/>
                <a:gd name="T57" fmla="*/ 306 h 4701"/>
                <a:gd name="T58" fmla="*/ 2077 w 3635"/>
                <a:gd name="T59" fmla="*/ 444 h 4701"/>
                <a:gd name="T60" fmla="*/ 1157 w 3635"/>
                <a:gd name="T61" fmla="*/ 446 h 4701"/>
                <a:gd name="T62" fmla="*/ 1605 w 3635"/>
                <a:gd name="T63" fmla="*/ 329 h 4701"/>
                <a:gd name="T64" fmla="*/ 1874 w 3635"/>
                <a:gd name="T65" fmla="*/ 3776 h 4701"/>
                <a:gd name="T66" fmla="*/ 1874 w 3635"/>
                <a:gd name="T67" fmla="*/ 4034 h 4701"/>
                <a:gd name="T68" fmla="*/ 1717 w 3635"/>
                <a:gd name="T69" fmla="*/ 4034 h 4701"/>
                <a:gd name="T70" fmla="*/ 1717 w 3635"/>
                <a:gd name="T71" fmla="*/ 3786 h 4701"/>
                <a:gd name="T72" fmla="*/ 1340 w 3635"/>
                <a:gd name="T73" fmla="*/ 3677 h 4701"/>
                <a:gd name="T74" fmla="*/ 1400 w 3635"/>
                <a:gd name="T75" fmla="*/ 3510 h 4701"/>
                <a:gd name="T76" fmla="*/ 1755 w 3635"/>
                <a:gd name="T77" fmla="*/ 3617 h 4701"/>
                <a:gd name="T78" fmla="*/ 2034 w 3635"/>
                <a:gd name="T79" fmla="*/ 3374 h 4701"/>
                <a:gd name="T80" fmla="*/ 1769 w 3635"/>
                <a:gd name="T81" fmla="*/ 3079 h 4701"/>
                <a:gd name="T82" fmla="*/ 1360 w 3635"/>
                <a:gd name="T83" fmla="*/ 2647 h 4701"/>
                <a:gd name="T84" fmla="*/ 1732 w 3635"/>
                <a:gd name="T85" fmla="*/ 2248 h 4701"/>
                <a:gd name="T86" fmla="*/ 1732 w 3635"/>
                <a:gd name="T87" fmla="*/ 2000 h 4701"/>
                <a:gd name="T88" fmla="*/ 1889 w 3635"/>
                <a:gd name="T89" fmla="*/ 2000 h 4701"/>
                <a:gd name="T90" fmla="*/ 1888 w 3635"/>
                <a:gd name="T91" fmla="*/ 2240 h 4701"/>
                <a:gd name="T92" fmla="*/ 2211 w 3635"/>
                <a:gd name="T93" fmla="*/ 2327 h 4701"/>
                <a:gd name="T94" fmla="*/ 2149 w 3635"/>
                <a:gd name="T95" fmla="*/ 2491 h 4701"/>
                <a:gd name="T96" fmla="*/ 1836 w 3635"/>
                <a:gd name="T97" fmla="*/ 2404 h 4701"/>
                <a:gd name="T98" fmla="*/ 1589 w 3635"/>
                <a:gd name="T99" fmla="*/ 2620 h 4701"/>
                <a:gd name="T100" fmla="*/ 1881 w 3635"/>
                <a:gd name="T101" fmla="*/ 2902 h 4701"/>
                <a:gd name="T102" fmla="*/ 2265 w 3635"/>
                <a:gd name="T103" fmla="*/ 3354 h 4701"/>
                <a:gd name="T104" fmla="*/ 1874 w 3635"/>
                <a:gd name="T105" fmla="*/ 3776 h 4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35" h="4701">
                  <a:moveTo>
                    <a:pt x="3250" y="2043"/>
                  </a:moveTo>
                  <a:cubicBezTo>
                    <a:pt x="3034" y="1723"/>
                    <a:pt x="2729" y="1509"/>
                    <a:pt x="2365" y="1417"/>
                  </a:cubicBezTo>
                  <a:cubicBezTo>
                    <a:pt x="2410" y="1417"/>
                    <a:pt x="2456" y="1416"/>
                    <a:pt x="2500" y="1414"/>
                  </a:cubicBezTo>
                  <a:cubicBezTo>
                    <a:pt x="2679" y="1408"/>
                    <a:pt x="3072" y="1316"/>
                    <a:pt x="3193" y="1490"/>
                  </a:cubicBezTo>
                  <a:cubicBezTo>
                    <a:pt x="3217" y="1524"/>
                    <a:pt x="3342" y="1468"/>
                    <a:pt x="3332" y="1453"/>
                  </a:cubicBezTo>
                  <a:cubicBezTo>
                    <a:pt x="3242" y="1324"/>
                    <a:pt x="3042" y="1341"/>
                    <a:pt x="2904" y="1344"/>
                  </a:cubicBezTo>
                  <a:cubicBezTo>
                    <a:pt x="2730" y="1349"/>
                    <a:pt x="2528" y="1384"/>
                    <a:pt x="2345" y="1358"/>
                  </a:cubicBezTo>
                  <a:cubicBezTo>
                    <a:pt x="2415" y="1351"/>
                    <a:pt x="2485" y="1340"/>
                    <a:pt x="2555" y="1321"/>
                  </a:cubicBezTo>
                  <a:cubicBezTo>
                    <a:pt x="2757" y="1266"/>
                    <a:pt x="2892" y="1086"/>
                    <a:pt x="3115" y="1087"/>
                  </a:cubicBezTo>
                  <a:cubicBezTo>
                    <a:pt x="3139" y="1081"/>
                    <a:pt x="3202" y="987"/>
                    <a:pt x="3164" y="986"/>
                  </a:cubicBezTo>
                  <a:cubicBezTo>
                    <a:pt x="3034" y="986"/>
                    <a:pt x="2929" y="1016"/>
                    <a:pt x="2816" y="1081"/>
                  </a:cubicBezTo>
                  <a:cubicBezTo>
                    <a:pt x="2751" y="1118"/>
                    <a:pt x="2692" y="1168"/>
                    <a:pt x="2629" y="1209"/>
                  </a:cubicBezTo>
                  <a:cubicBezTo>
                    <a:pt x="2499" y="1292"/>
                    <a:pt x="2336" y="1296"/>
                    <a:pt x="2181" y="1292"/>
                  </a:cubicBezTo>
                  <a:cubicBezTo>
                    <a:pt x="2457" y="910"/>
                    <a:pt x="2694" y="338"/>
                    <a:pt x="2603" y="126"/>
                  </a:cubicBezTo>
                  <a:cubicBezTo>
                    <a:pt x="2560" y="25"/>
                    <a:pt x="2452" y="0"/>
                    <a:pt x="2312" y="78"/>
                  </a:cubicBezTo>
                  <a:cubicBezTo>
                    <a:pt x="2162" y="163"/>
                    <a:pt x="1992" y="174"/>
                    <a:pt x="1847" y="174"/>
                  </a:cubicBezTo>
                  <a:cubicBezTo>
                    <a:pt x="1786" y="174"/>
                    <a:pt x="1724" y="172"/>
                    <a:pt x="1664" y="170"/>
                  </a:cubicBezTo>
                  <a:cubicBezTo>
                    <a:pt x="1603" y="167"/>
                    <a:pt x="1542" y="165"/>
                    <a:pt x="1483" y="165"/>
                  </a:cubicBezTo>
                  <a:cubicBezTo>
                    <a:pt x="1287" y="165"/>
                    <a:pt x="1064" y="188"/>
                    <a:pt x="893" y="359"/>
                  </a:cubicBezTo>
                  <a:cubicBezTo>
                    <a:pt x="759" y="498"/>
                    <a:pt x="939" y="1065"/>
                    <a:pt x="1466" y="1398"/>
                  </a:cubicBezTo>
                  <a:cubicBezTo>
                    <a:pt x="532" y="1536"/>
                    <a:pt x="256" y="2162"/>
                    <a:pt x="115" y="2775"/>
                  </a:cubicBezTo>
                  <a:cubicBezTo>
                    <a:pt x="0" y="3275"/>
                    <a:pt x="105" y="3776"/>
                    <a:pt x="402" y="4149"/>
                  </a:cubicBezTo>
                  <a:cubicBezTo>
                    <a:pt x="686" y="4505"/>
                    <a:pt x="1337" y="4701"/>
                    <a:pt x="1817" y="4701"/>
                  </a:cubicBezTo>
                  <a:cubicBezTo>
                    <a:pt x="2946" y="4701"/>
                    <a:pt x="3375" y="4232"/>
                    <a:pt x="3515" y="3556"/>
                  </a:cubicBezTo>
                  <a:cubicBezTo>
                    <a:pt x="3635" y="3033"/>
                    <a:pt x="3536" y="2467"/>
                    <a:pt x="3250" y="2043"/>
                  </a:cubicBezTo>
                  <a:close/>
                  <a:moveTo>
                    <a:pt x="1605" y="329"/>
                  </a:moveTo>
                  <a:cubicBezTo>
                    <a:pt x="1663" y="329"/>
                    <a:pt x="1722" y="331"/>
                    <a:pt x="1781" y="333"/>
                  </a:cubicBezTo>
                  <a:cubicBezTo>
                    <a:pt x="1844" y="335"/>
                    <a:pt x="1907" y="338"/>
                    <a:pt x="1970" y="338"/>
                  </a:cubicBezTo>
                  <a:cubicBezTo>
                    <a:pt x="2064" y="338"/>
                    <a:pt x="2174" y="332"/>
                    <a:pt x="2287" y="306"/>
                  </a:cubicBezTo>
                  <a:cubicBezTo>
                    <a:pt x="2216" y="349"/>
                    <a:pt x="2145" y="396"/>
                    <a:pt x="2077" y="444"/>
                  </a:cubicBezTo>
                  <a:cubicBezTo>
                    <a:pt x="1745" y="672"/>
                    <a:pt x="1482" y="852"/>
                    <a:pt x="1157" y="446"/>
                  </a:cubicBezTo>
                  <a:cubicBezTo>
                    <a:pt x="1285" y="345"/>
                    <a:pt x="1447" y="329"/>
                    <a:pt x="1605" y="329"/>
                  </a:cubicBezTo>
                  <a:close/>
                  <a:moveTo>
                    <a:pt x="1874" y="3776"/>
                  </a:moveTo>
                  <a:lnTo>
                    <a:pt x="1874" y="4034"/>
                  </a:lnTo>
                  <a:lnTo>
                    <a:pt x="1717" y="4034"/>
                  </a:lnTo>
                  <a:lnTo>
                    <a:pt x="1717" y="3786"/>
                  </a:lnTo>
                  <a:cubicBezTo>
                    <a:pt x="1574" y="3783"/>
                    <a:pt x="1427" y="3738"/>
                    <a:pt x="1340" y="3677"/>
                  </a:cubicBezTo>
                  <a:lnTo>
                    <a:pt x="1400" y="3510"/>
                  </a:lnTo>
                  <a:cubicBezTo>
                    <a:pt x="1487" y="3567"/>
                    <a:pt x="1616" y="3617"/>
                    <a:pt x="1755" y="3617"/>
                  </a:cubicBezTo>
                  <a:cubicBezTo>
                    <a:pt x="1930" y="3617"/>
                    <a:pt x="2034" y="3515"/>
                    <a:pt x="2034" y="3374"/>
                  </a:cubicBezTo>
                  <a:cubicBezTo>
                    <a:pt x="2034" y="3238"/>
                    <a:pt x="1953" y="3153"/>
                    <a:pt x="1769" y="3079"/>
                  </a:cubicBezTo>
                  <a:cubicBezTo>
                    <a:pt x="1517" y="2979"/>
                    <a:pt x="1360" y="2863"/>
                    <a:pt x="1360" y="2647"/>
                  </a:cubicBezTo>
                  <a:cubicBezTo>
                    <a:pt x="1360" y="2441"/>
                    <a:pt x="1506" y="2285"/>
                    <a:pt x="1732" y="2248"/>
                  </a:cubicBezTo>
                  <a:lnTo>
                    <a:pt x="1732" y="2000"/>
                  </a:lnTo>
                  <a:lnTo>
                    <a:pt x="1889" y="2000"/>
                  </a:lnTo>
                  <a:lnTo>
                    <a:pt x="1888" y="2240"/>
                  </a:lnTo>
                  <a:cubicBezTo>
                    <a:pt x="2035" y="2245"/>
                    <a:pt x="2136" y="2285"/>
                    <a:pt x="2211" y="2327"/>
                  </a:cubicBezTo>
                  <a:lnTo>
                    <a:pt x="2149" y="2491"/>
                  </a:lnTo>
                  <a:cubicBezTo>
                    <a:pt x="2097" y="2461"/>
                    <a:pt x="1995" y="2404"/>
                    <a:pt x="1836" y="2404"/>
                  </a:cubicBezTo>
                  <a:cubicBezTo>
                    <a:pt x="1645" y="2404"/>
                    <a:pt x="1589" y="2518"/>
                    <a:pt x="1589" y="2620"/>
                  </a:cubicBezTo>
                  <a:cubicBezTo>
                    <a:pt x="1589" y="2746"/>
                    <a:pt x="1665" y="2811"/>
                    <a:pt x="1881" y="2902"/>
                  </a:cubicBezTo>
                  <a:cubicBezTo>
                    <a:pt x="2136" y="3007"/>
                    <a:pt x="2265" y="3133"/>
                    <a:pt x="2265" y="3354"/>
                  </a:cubicBezTo>
                  <a:cubicBezTo>
                    <a:pt x="2265" y="3552"/>
                    <a:pt x="2129" y="3736"/>
                    <a:pt x="1874" y="3776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grpSp>
          <p:nvGrpSpPr>
            <p:cNvPr id="8" name="ïṥľíḍê">
              <a:extLst>
                <a:ext uri="{FF2B5EF4-FFF2-40B4-BE49-F238E27FC236}">
                  <a16:creationId xmlns:a16="http://schemas.microsoft.com/office/drawing/2014/main" id="{CECACDCD-EE7C-4274-8106-90382D049480}"/>
                </a:ext>
              </a:extLst>
            </p:cNvPr>
            <p:cNvGrpSpPr/>
            <p:nvPr/>
          </p:nvGrpSpPr>
          <p:grpSpPr>
            <a:xfrm>
              <a:off x="7560419" y="2083275"/>
              <a:ext cx="3958481" cy="3110550"/>
              <a:chOff x="7560419" y="2083275"/>
              <a:chExt cx="3958481" cy="3110550"/>
            </a:xfrm>
          </p:grpSpPr>
          <p:sp>
            <p:nvSpPr>
              <p:cNvPr id="13" name="ís1iḑê">
                <a:extLst>
                  <a:ext uri="{FF2B5EF4-FFF2-40B4-BE49-F238E27FC236}">
                    <a16:creationId xmlns:a16="http://schemas.microsoft.com/office/drawing/2014/main" id="{6892949E-9558-4373-B201-85DA020C1126}"/>
                  </a:ext>
                </a:extLst>
              </p:cNvPr>
              <p:cNvSpPr/>
              <p:nvPr/>
            </p:nvSpPr>
            <p:spPr>
              <a:xfrm flipH="1">
                <a:off x="7560419" y="3689141"/>
                <a:ext cx="3958481" cy="7088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8757" y="21600"/>
                    </a:lnTo>
                    <a:lnTo>
                      <a:pt x="21600" y="0"/>
                    </a:lnTo>
                    <a:lnTo>
                      <a:pt x="0" y="0"/>
                    </a:lnTo>
                    <a:cubicBezTo>
                      <a:pt x="0" y="0"/>
                      <a:pt x="0" y="21600"/>
                      <a:pt x="0" y="2160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ïSlîḍè">
                <a:extLst>
                  <a:ext uri="{FF2B5EF4-FFF2-40B4-BE49-F238E27FC236}">
                    <a16:creationId xmlns:a16="http://schemas.microsoft.com/office/drawing/2014/main" id="{243248B1-B081-4FBF-B256-BD96513BBB8D}"/>
                  </a:ext>
                </a:extLst>
              </p:cNvPr>
              <p:cNvSpPr/>
              <p:nvPr/>
            </p:nvSpPr>
            <p:spPr>
              <a:xfrm flipH="1">
                <a:off x="7562043" y="2882193"/>
                <a:ext cx="3956857" cy="7228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0" y="21600"/>
                    </a:moveTo>
                    <a:lnTo>
                      <a:pt x="21600" y="21600"/>
                    </a:lnTo>
                    <a:lnTo>
                      <a:pt x="18744" y="0"/>
                    </a:lnTo>
                    <a:lnTo>
                      <a:pt x="0" y="1"/>
                    </a:lnTo>
                    <a:cubicBezTo>
                      <a:pt x="0" y="1"/>
                      <a:pt x="30" y="21600"/>
                      <a:pt x="30" y="2160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íṩliḍe">
                <a:extLst>
                  <a:ext uri="{FF2B5EF4-FFF2-40B4-BE49-F238E27FC236}">
                    <a16:creationId xmlns:a16="http://schemas.microsoft.com/office/drawing/2014/main" id="{431A2DEA-1E3B-47B6-B3D7-8BF08AA57629}"/>
                  </a:ext>
                </a:extLst>
              </p:cNvPr>
              <p:cNvSpPr/>
              <p:nvPr/>
            </p:nvSpPr>
            <p:spPr>
              <a:xfrm flipH="1">
                <a:off x="8095386" y="2083275"/>
                <a:ext cx="3423514" cy="71478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21599"/>
                    </a:lnTo>
                    <a:lnTo>
                      <a:pt x="18305" y="0"/>
                    </a:lnTo>
                    <a:lnTo>
                      <a:pt x="34" y="37"/>
                    </a:lnTo>
                    <a:cubicBezTo>
                      <a:pt x="34" y="37"/>
                      <a:pt x="0" y="21600"/>
                      <a:pt x="0" y="2160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íṣľïdé">
                <a:extLst>
                  <a:ext uri="{FF2B5EF4-FFF2-40B4-BE49-F238E27FC236}">
                    <a16:creationId xmlns:a16="http://schemas.microsoft.com/office/drawing/2014/main" id="{CCC71517-5786-4996-B25C-EDED5FC952C6}"/>
                  </a:ext>
                </a:extLst>
              </p:cNvPr>
              <p:cNvSpPr/>
              <p:nvPr/>
            </p:nvSpPr>
            <p:spPr>
              <a:xfrm flipH="1">
                <a:off x="8095386" y="4482155"/>
                <a:ext cx="3423514" cy="7116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8283" y="21600"/>
                    </a:lnTo>
                    <a:lnTo>
                      <a:pt x="21600" y="0"/>
                    </a:lnTo>
                    <a:lnTo>
                      <a:pt x="0" y="0"/>
                    </a:lnTo>
                    <a:cubicBezTo>
                      <a:pt x="0" y="0"/>
                      <a:pt x="0" y="21600"/>
                      <a:pt x="0" y="2160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íṩ1îdé">
                <a:extLst>
                  <a:ext uri="{FF2B5EF4-FFF2-40B4-BE49-F238E27FC236}">
                    <a16:creationId xmlns:a16="http://schemas.microsoft.com/office/drawing/2014/main" id="{815ED44E-529E-414A-9BE9-DB86FC35DCF4}"/>
                  </a:ext>
                </a:extLst>
              </p:cNvPr>
              <p:cNvSpPr txBox="1"/>
              <p:nvPr/>
            </p:nvSpPr>
            <p:spPr>
              <a:xfrm flipH="1">
                <a:off x="8646160" y="2131113"/>
                <a:ext cx="2872740" cy="61911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8" name="iṣľïďe">
                <a:extLst>
                  <a:ext uri="{FF2B5EF4-FFF2-40B4-BE49-F238E27FC236}">
                    <a16:creationId xmlns:a16="http://schemas.microsoft.com/office/drawing/2014/main" id="{495048DF-CBA8-4271-9A07-33B5868A51E9}"/>
                  </a:ext>
                </a:extLst>
              </p:cNvPr>
              <p:cNvSpPr txBox="1"/>
              <p:nvPr/>
            </p:nvSpPr>
            <p:spPr>
              <a:xfrm flipH="1">
                <a:off x="8095386" y="2948792"/>
                <a:ext cx="3423514" cy="61911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9" name="îṥḻîḋe">
                <a:extLst>
                  <a:ext uri="{FF2B5EF4-FFF2-40B4-BE49-F238E27FC236}">
                    <a16:creationId xmlns:a16="http://schemas.microsoft.com/office/drawing/2014/main" id="{756FB781-6AEF-456F-BE74-3A312079FCF8}"/>
                  </a:ext>
                </a:extLst>
              </p:cNvPr>
              <p:cNvSpPr txBox="1"/>
              <p:nvPr/>
            </p:nvSpPr>
            <p:spPr>
              <a:xfrm flipH="1">
                <a:off x="8095386" y="3734026"/>
                <a:ext cx="3423514" cy="61911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0" name="í$ḷíḋè">
                <a:extLst>
                  <a:ext uri="{FF2B5EF4-FFF2-40B4-BE49-F238E27FC236}">
                    <a16:creationId xmlns:a16="http://schemas.microsoft.com/office/drawing/2014/main" id="{B2E24A83-7C2B-4D06-A9E2-5BF213F1247B}"/>
                  </a:ext>
                </a:extLst>
              </p:cNvPr>
              <p:cNvSpPr txBox="1"/>
              <p:nvPr/>
            </p:nvSpPr>
            <p:spPr>
              <a:xfrm flipH="1">
                <a:off x="8646160" y="4528434"/>
                <a:ext cx="2872740" cy="61911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sp>
          <p:nvSpPr>
            <p:cNvPr id="9" name="iṥḷïḋe">
              <a:extLst>
                <a:ext uri="{FF2B5EF4-FFF2-40B4-BE49-F238E27FC236}">
                  <a16:creationId xmlns:a16="http://schemas.microsoft.com/office/drawing/2014/main" id="{8D09DDD0-82E8-434A-8D5D-32991B23650D}"/>
                </a:ext>
              </a:extLst>
            </p:cNvPr>
            <p:cNvSpPr/>
            <p:nvPr/>
          </p:nvSpPr>
          <p:spPr bwMode="auto">
            <a:xfrm>
              <a:off x="5446957" y="2800350"/>
              <a:ext cx="1298086" cy="1676400"/>
            </a:xfrm>
            <a:custGeom>
              <a:avLst/>
              <a:gdLst>
                <a:gd name="T0" fmla="*/ 3250 w 3635"/>
                <a:gd name="T1" fmla="*/ 2043 h 4701"/>
                <a:gd name="T2" fmla="*/ 2365 w 3635"/>
                <a:gd name="T3" fmla="*/ 1417 h 4701"/>
                <a:gd name="T4" fmla="*/ 2500 w 3635"/>
                <a:gd name="T5" fmla="*/ 1414 h 4701"/>
                <a:gd name="T6" fmla="*/ 3193 w 3635"/>
                <a:gd name="T7" fmla="*/ 1490 h 4701"/>
                <a:gd name="T8" fmla="*/ 3332 w 3635"/>
                <a:gd name="T9" fmla="*/ 1453 h 4701"/>
                <a:gd name="T10" fmla="*/ 2904 w 3635"/>
                <a:gd name="T11" fmla="*/ 1344 h 4701"/>
                <a:gd name="T12" fmla="*/ 2345 w 3635"/>
                <a:gd name="T13" fmla="*/ 1358 h 4701"/>
                <a:gd name="T14" fmla="*/ 2555 w 3635"/>
                <a:gd name="T15" fmla="*/ 1321 h 4701"/>
                <a:gd name="T16" fmla="*/ 3115 w 3635"/>
                <a:gd name="T17" fmla="*/ 1087 h 4701"/>
                <a:gd name="T18" fmla="*/ 3164 w 3635"/>
                <a:gd name="T19" fmla="*/ 986 h 4701"/>
                <a:gd name="T20" fmla="*/ 2816 w 3635"/>
                <a:gd name="T21" fmla="*/ 1081 h 4701"/>
                <a:gd name="T22" fmla="*/ 2629 w 3635"/>
                <a:gd name="T23" fmla="*/ 1209 h 4701"/>
                <a:gd name="T24" fmla="*/ 2181 w 3635"/>
                <a:gd name="T25" fmla="*/ 1292 h 4701"/>
                <a:gd name="T26" fmla="*/ 2603 w 3635"/>
                <a:gd name="T27" fmla="*/ 126 h 4701"/>
                <a:gd name="T28" fmla="*/ 2312 w 3635"/>
                <a:gd name="T29" fmla="*/ 78 h 4701"/>
                <a:gd name="T30" fmla="*/ 1847 w 3635"/>
                <a:gd name="T31" fmla="*/ 174 h 4701"/>
                <a:gd name="T32" fmla="*/ 1664 w 3635"/>
                <a:gd name="T33" fmla="*/ 170 h 4701"/>
                <a:gd name="T34" fmla="*/ 1483 w 3635"/>
                <a:gd name="T35" fmla="*/ 165 h 4701"/>
                <a:gd name="T36" fmla="*/ 893 w 3635"/>
                <a:gd name="T37" fmla="*/ 359 h 4701"/>
                <a:gd name="T38" fmla="*/ 1466 w 3635"/>
                <a:gd name="T39" fmla="*/ 1398 h 4701"/>
                <a:gd name="T40" fmla="*/ 115 w 3635"/>
                <a:gd name="T41" fmla="*/ 2775 h 4701"/>
                <a:gd name="T42" fmla="*/ 402 w 3635"/>
                <a:gd name="T43" fmla="*/ 4149 h 4701"/>
                <a:gd name="T44" fmla="*/ 1817 w 3635"/>
                <a:gd name="T45" fmla="*/ 4701 h 4701"/>
                <a:gd name="T46" fmla="*/ 3515 w 3635"/>
                <a:gd name="T47" fmla="*/ 3556 h 4701"/>
                <a:gd name="T48" fmla="*/ 3250 w 3635"/>
                <a:gd name="T49" fmla="*/ 2043 h 4701"/>
                <a:gd name="T50" fmla="*/ 1605 w 3635"/>
                <a:gd name="T51" fmla="*/ 329 h 4701"/>
                <a:gd name="T52" fmla="*/ 1781 w 3635"/>
                <a:gd name="T53" fmla="*/ 333 h 4701"/>
                <a:gd name="T54" fmla="*/ 1970 w 3635"/>
                <a:gd name="T55" fmla="*/ 338 h 4701"/>
                <a:gd name="T56" fmla="*/ 2287 w 3635"/>
                <a:gd name="T57" fmla="*/ 306 h 4701"/>
                <a:gd name="T58" fmla="*/ 2077 w 3635"/>
                <a:gd name="T59" fmla="*/ 444 h 4701"/>
                <a:gd name="T60" fmla="*/ 1157 w 3635"/>
                <a:gd name="T61" fmla="*/ 446 h 4701"/>
                <a:gd name="T62" fmla="*/ 1605 w 3635"/>
                <a:gd name="T63" fmla="*/ 329 h 4701"/>
                <a:gd name="T64" fmla="*/ 1874 w 3635"/>
                <a:gd name="T65" fmla="*/ 3776 h 4701"/>
                <a:gd name="T66" fmla="*/ 1874 w 3635"/>
                <a:gd name="T67" fmla="*/ 4034 h 4701"/>
                <a:gd name="T68" fmla="*/ 1717 w 3635"/>
                <a:gd name="T69" fmla="*/ 4034 h 4701"/>
                <a:gd name="T70" fmla="*/ 1717 w 3635"/>
                <a:gd name="T71" fmla="*/ 3786 h 4701"/>
                <a:gd name="T72" fmla="*/ 1340 w 3635"/>
                <a:gd name="T73" fmla="*/ 3677 h 4701"/>
                <a:gd name="T74" fmla="*/ 1400 w 3635"/>
                <a:gd name="T75" fmla="*/ 3510 h 4701"/>
                <a:gd name="T76" fmla="*/ 1755 w 3635"/>
                <a:gd name="T77" fmla="*/ 3617 h 4701"/>
                <a:gd name="T78" fmla="*/ 2034 w 3635"/>
                <a:gd name="T79" fmla="*/ 3374 h 4701"/>
                <a:gd name="T80" fmla="*/ 1769 w 3635"/>
                <a:gd name="T81" fmla="*/ 3079 h 4701"/>
                <a:gd name="T82" fmla="*/ 1360 w 3635"/>
                <a:gd name="T83" fmla="*/ 2647 h 4701"/>
                <a:gd name="T84" fmla="*/ 1732 w 3635"/>
                <a:gd name="T85" fmla="*/ 2248 h 4701"/>
                <a:gd name="T86" fmla="*/ 1732 w 3635"/>
                <a:gd name="T87" fmla="*/ 2000 h 4701"/>
                <a:gd name="T88" fmla="*/ 1889 w 3635"/>
                <a:gd name="T89" fmla="*/ 2000 h 4701"/>
                <a:gd name="T90" fmla="*/ 1888 w 3635"/>
                <a:gd name="T91" fmla="*/ 2240 h 4701"/>
                <a:gd name="T92" fmla="*/ 2211 w 3635"/>
                <a:gd name="T93" fmla="*/ 2327 h 4701"/>
                <a:gd name="T94" fmla="*/ 2149 w 3635"/>
                <a:gd name="T95" fmla="*/ 2491 h 4701"/>
                <a:gd name="T96" fmla="*/ 1836 w 3635"/>
                <a:gd name="T97" fmla="*/ 2404 h 4701"/>
                <a:gd name="T98" fmla="*/ 1589 w 3635"/>
                <a:gd name="T99" fmla="*/ 2620 h 4701"/>
                <a:gd name="T100" fmla="*/ 1881 w 3635"/>
                <a:gd name="T101" fmla="*/ 2902 h 4701"/>
                <a:gd name="T102" fmla="*/ 2265 w 3635"/>
                <a:gd name="T103" fmla="*/ 3354 h 4701"/>
                <a:gd name="T104" fmla="*/ 1874 w 3635"/>
                <a:gd name="T105" fmla="*/ 3776 h 4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35" h="4701">
                  <a:moveTo>
                    <a:pt x="3250" y="2043"/>
                  </a:moveTo>
                  <a:cubicBezTo>
                    <a:pt x="3034" y="1723"/>
                    <a:pt x="2729" y="1509"/>
                    <a:pt x="2365" y="1417"/>
                  </a:cubicBezTo>
                  <a:cubicBezTo>
                    <a:pt x="2410" y="1417"/>
                    <a:pt x="2456" y="1416"/>
                    <a:pt x="2500" y="1414"/>
                  </a:cubicBezTo>
                  <a:cubicBezTo>
                    <a:pt x="2679" y="1408"/>
                    <a:pt x="3072" y="1316"/>
                    <a:pt x="3193" y="1490"/>
                  </a:cubicBezTo>
                  <a:cubicBezTo>
                    <a:pt x="3217" y="1524"/>
                    <a:pt x="3342" y="1468"/>
                    <a:pt x="3332" y="1453"/>
                  </a:cubicBezTo>
                  <a:cubicBezTo>
                    <a:pt x="3242" y="1324"/>
                    <a:pt x="3042" y="1341"/>
                    <a:pt x="2904" y="1344"/>
                  </a:cubicBezTo>
                  <a:cubicBezTo>
                    <a:pt x="2730" y="1349"/>
                    <a:pt x="2528" y="1384"/>
                    <a:pt x="2345" y="1358"/>
                  </a:cubicBezTo>
                  <a:cubicBezTo>
                    <a:pt x="2415" y="1351"/>
                    <a:pt x="2485" y="1340"/>
                    <a:pt x="2555" y="1321"/>
                  </a:cubicBezTo>
                  <a:cubicBezTo>
                    <a:pt x="2757" y="1266"/>
                    <a:pt x="2892" y="1086"/>
                    <a:pt x="3115" y="1087"/>
                  </a:cubicBezTo>
                  <a:cubicBezTo>
                    <a:pt x="3139" y="1081"/>
                    <a:pt x="3202" y="987"/>
                    <a:pt x="3164" y="986"/>
                  </a:cubicBezTo>
                  <a:cubicBezTo>
                    <a:pt x="3034" y="986"/>
                    <a:pt x="2929" y="1016"/>
                    <a:pt x="2816" y="1081"/>
                  </a:cubicBezTo>
                  <a:cubicBezTo>
                    <a:pt x="2751" y="1118"/>
                    <a:pt x="2692" y="1168"/>
                    <a:pt x="2629" y="1209"/>
                  </a:cubicBezTo>
                  <a:cubicBezTo>
                    <a:pt x="2499" y="1292"/>
                    <a:pt x="2336" y="1296"/>
                    <a:pt x="2181" y="1292"/>
                  </a:cubicBezTo>
                  <a:cubicBezTo>
                    <a:pt x="2457" y="910"/>
                    <a:pt x="2694" y="338"/>
                    <a:pt x="2603" y="126"/>
                  </a:cubicBezTo>
                  <a:cubicBezTo>
                    <a:pt x="2560" y="25"/>
                    <a:pt x="2452" y="0"/>
                    <a:pt x="2312" y="78"/>
                  </a:cubicBezTo>
                  <a:cubicBezTo>
                    <a:pt x="2162" y="163"/>
                    <a:pt x="1992" y="174"/>
                    <a:pt x="1847" y="174"/>
                  </a:cubicBezTo>
                  <a:cubicBezTo>
                    <a:pt x="1786" y="174"/>
                    <a:pt x="1724" y="172"/>
                    <a:pt x="1664" y="170"/>
                  </a:cubicBezTo>
                  <a:cubicBezTo>
                    <a:pt x="1603" y="167"/>
                    <a:pt x="1542" y="165"/>
                    <a:pt x="1483" y="165"/>
                  </a:cubicBezTo>
                  <a:cubicBezTo>
                    <a:pt x="1287" y="165"/>
                    <a:pt x="1064" y="188"/>
                    <a:pt x="893" y="359"/>
                  </a:cubicBezTo>
                  <a:cubicBezTo>
                    <a:pt x="759" y="498"/>
                    <a:pt x="939" y="1065"/>
                    <a:pt x="1466" y="1398"/>
                  </a:cubicBezTo>
                  <a:cubicBezTo>
                    <a:pt x="532" y="1536"/>
                    <a:pt x="256" y="2162"/>
                    <a:pt x="115" y="2775"/>
                  </a:cubicBezTo>
                  <a:cubicBezTo>
                    <a:pt x="0" y="3275"/>
                    <a:pt x="105" y="3776"/>
                    <a:pt x="402" y="4149"/>
                  </a:cubicBezTo>
                  <a:cubicBezTo>
                    <a:pt x="686" y="4505"/>
                    <a:pt x="1337" y="4701"/>
                    <a:pt x="1817" y="4701"/>
                  </a:cubicBezTo>
                  <a:cubicBezTo>
                    <a:pt x="2946" y="4701"/>
                    <a:pt x="3375" y="4232"/>
                    <a:pt x="3515" y="3556"/>
                  </a:cubicBezTo>
                  <a:cubicBezTo>
                    <a:pt x="3635" y="3033"/>
                    <a:pt x="3536" y="2467"/>
                    <a:pt x="3250" y="2043"/>
                  </a:cubicBezTo>
                  <a:close/>
                  <a:moveTo>
                    <a:pt x="1605" y="329"/>
                  </a:moveTo>
                  <a:cubicBezTo>
                    <a:pt x="1663" y="329"/>
                    <a:pt x="1722" y="331"/>
                    <a:pt x="1781" y="333"/>
                  </a:cubicBezTo>
                  <a:cubicBezTo>
                    <a:pt x="1844" y="335"/>
                    <a:pt x="1907" y="338"/>
                    <a:pt x="1970" y="338"/>
                  </a:cubicBezTo>
                  <a:cubicBezTo>
                    <a:pt x="2064" y="338"/>
                    <a:pt x="2174" y="332"/>
                    <a:pt x="2287" y="306"/>
                  </a:cubicBezTo>
                  <a:cubicBezTo>
                    <a:pt x="2216" y="349"/>
                    <a:pt x="2145" y="396"/>
                    <a:pt x="2077" y="444"/>
                  </a:cubicBezTo>
                  <a:cubicBezTo>
                    <a:pt x="1745" y="672"/>
                    <a:pt x="1482" y="852"/>
                    <a:pt x="1157" y="446"/>
                  </a:cubicBezTo>
                  <a:cubicBezTo>
                    <a:pt x="1285" y="345"/>
                    <a:pt x="1447" y="329"/>
                    <a:pt x="1605" y="329"/>
                  </a:cubicBezTo>
                  <a:close/>
                  <a:moveTo>
                    <a:pt x="1874" y="3776"/>
                  </a:moveTo>
                  <a:lnTo>
                    <a:pt x="1874" y="4034"/>
                  </a:lnTo>
                  <a:lnTo>
                    <a:pt x="1717" y="4034"/>
                  </a:lnTo>
                  <a:lnTo>
                    <a:pt x="1717" y="3786"/>
                  </a:lnTo>
                  <a:cubicBezTo>
                    <a:pt x="1574" y="3783"/>
                    <a:pt x="1427" y="3738"/>
                    <a:pt x="1340" y="3677"/>
                  </a:cubicBezTo>
                  <a:lnTo>
                    <a:pt x="1400" y="3510"/>
                  </a:lnTo>
                  <a:cubicBezTo>
                    <a:pt x="1487" y="3567"/>
                    <a:pt x="1616" y="3617"/>
                    <a:pt x="1755" y="3617"/>
                  </a:cubicBezTo>
                  <a:cubicBezTo>
                    <a:pt x="1930" y="3617"/>
                    <a:pt x="2034" y="3515"/>
                    <a:pt x="2034" y="3374"/>
                  </a:cubicBezTo>
                  <a:cubicBezTo>
                    <a:pt x="2034" y="3238"/>
                    <a:pt x="1953" y="3153"/>
                    <a:pt x="1769" y="3079"/>
                  </a:cubicBezTo>
                  <a:cubicBezTo>
                    <a:pt x="1517" y="2979"/>
                    <a:pt x="1360" y="2863"/>
                    <a:pt x="1360" y="2647"/>
                  </a:cubicBezTo>
                  <a:cubicBezTo>
                    <a:pt x="1360" y="2441"/>
                    <a:pt x="1506" y="2285"/>
                    <a:pt x="1732" y="2248"/>
                  </a:cubicBezTo>
                  <a:lnTo>
                    <a:pt x="1732" y="2000"/>
                  </a:lnTo>
                  <a:lnTo>
                    <a:pt x="1889" y="2000"/>
                  </a:lnTo>
                  <a:lnTo>
                    <a:pt x="1888" y="2240"/>
                  </a:lnTo>
                  <a:cubicBezTo>
                    <a:pt x="2035" y="2245"/>
                    <a:pt x="2136" y="2285"/>
                    <a:pt x="2211" y="2327"/>
                  </a:cubicBezTo>
                  <a:lnTo>
                    <a:pt x="2149" y="2491"/>
                  </a:lnTo>
                  <a:cubicBezTo>
                    <a:pt x="2097" y="2461"/>
                    <a:pt x="1995" y="2404"/>
                    <a:pt x="1836" y="2404"/>
                  </a:cubicBezTo>
                  <a:cubicBezTo>
                    <a:pt x="1645" y="2404"/>
                    <a:pt x="1589" y="2518"/>
                    <a:pt x="1589" y="2620"/>
                  </a:cubicBezTo>
                  <a:cubicBezTo>
                    <a:pt x="1589" y="2746"/>
                    <a:pt x="1665" y="2811"/>
                    <a:pt x="1881" y="2902"/>
                  </a:cubicBezTo>
                  <a:cubicBezTo>
                    <a:pt x="2136" y="3007"/>
                    <a:pt x="2265" y="3133"/>
                    <a:pt x="2265" y="3354"/>
                  </a:cubicBezTo>
                  <a:cubicBezTo>
                    <a:pt x="2265" y="3552"/>
                    <a:pt x="2129" y="3736"/>
                    <a:pt x="1874" y="37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grpSp>
          <p:nvGrpSpPr>
            <p:cNvPr id="10" name="íŝľíḍê">
              <a:extLst>
                <a:ext uri="{FF2B5EF4-FFF2-40B4-BE49-F238E27FC236}">
                  <a16:creationId xmlns:a16="http://schemas.microsoft.com/office/drawing/2014/main" id="{DB077D85-8839-4385-94A0-33B5D7B97718}"/>
                </a:ext>
              </a:extLst>
            </p:cNvPr>
            <p:cNvGrpSpPr/>
            <p:nvPr/>
          </p:nvGrpSpPr>
          <p:grpSpPr>
            <a:xfrm>
              <a:off x="673100" y="2579675"/>
              <a:ext cx="4098925" cy="1894334"/>
              <a:chOff x="6681458" y="1028700"/>
              <a:chExt cx="4837442" cy="1894334"/>
            </a:xfrm>
          </p:grpSpPr>
          <p:sp>
            <p:nvSpPr>
              <p:cNvPr id="11" name="iṡḻîḓe">
                <a:extLst>
                  <a:ext uri="{FF2B5EF4-FFF2-40B4-BE49-F238E27FC236}">
                    <a16:creationId xmlns:a16="http://schemas.microsoft.com/office/drawing/2014/main" id="{0DFC077F-A04A-43D4-915C-750EB6CF423F}"/>
                  </a:ext>
                </a:extLst>
              </p:cNvPr>
              <p:cNvSpPr txBox="1"/>
              <p:nvPr/>
            </p:nvSpPr>
            <p:spPr>
              <a:xfrm>
                <a:off x="6681460" y="1028700"/>
                <a:ext cx="4837440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 dirty="0"/>
                  <a:t>reading more fluent.</a:t>
                </a:r>
              </a:p>
            </p:txBody>
          </p:sp>
          <p:sp>
            <p:nvSpPr>
              <p:cNvPr id="12" name="îṡḻîḍê">
                <a:extLst>
                  <a:ext uri="{FF2B5EF4-FFF2-40B4-BE49-F238E27FC236}">
                    <a16:creationId xmlns:a16="http://schemas.microsoft.com/office/drawing/2014/main" id="{30592BC0-536D-47E2-9847-16E7D88A8131}"/>
                  </a:ext>
                </a:extLst>
              </p:cNvPr>
              <p:cNvSpPr txBox="1"/>
              <p:nvPr/>
            </p:nvSpPr>
            <p:spPr>
              <a:xfrm>
                <a:off x="6681458" y="1880862"/>
                <a:ext cx="4837441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Chinese typesetting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5156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7b0b4839-66d5-43a0-9b65-57e45531198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76FA7"/>
      </a:accent1>
      <a:accent2>
        <a:srgbClr val="1F2352"/>
      </a:accent2>
      <a:accent3>
        <a:srgbClr val="54B3A5"/>
      </a:accent3>
      <a:accent4>
        <a:srgbClr val="793062"/>
      </a:accent4>
      <a:accent5>
        <a:srgbClr val="7282F5"/>
      </a:accent5>
      <a:accent6>
        <a:srgbClr val="1F254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6FA7"/>
    </a:accent1>
    <a:accent2>
      <a:srgbClr val="1F2352"/>
    </a:accent2>
    <a:accent3>
      <a:srgbClr val="54B3A5"/>
    </a:accent3>
    <a:accent4>
      <a:srgbClr val="793062"/>
    </a:accent4>
    <a:accent5>
      <a:srgbClr val="7282F5"/>
    </a:accent5>
    <a:accent6>
      <a:srgbClr val="1F254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</TotalTime>
  <Words>2163</Words>
  <Application>Microsoft Office PowerPoint</Application>
  <PresentationFormat>宽屏</PresentationFormat>
  <Paragraphs>414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40" baseType="lpstr">
      <vt:lpstr>Gill Sans</vt:lpstr>
      <vt:lpstr>等线</vt:lpstr>
      <vt:lpstr>微软雅黑</vt:lpstr>
      <vt:lpstr>Arial</vt:lpstr>
      <vt:lpstr>Calibri</vt:lpstr>
      <vt:lpstr>Impact</vt:lpstr>
      <vt:lpstr>主题5</vt:lpstr>
      <vt:lpstr>think-cell Slide</vt:lpstr>
      <vt:lpstr>毕业论文答辩 PPT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桂林电子科技大学MBA教育中心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郭星宇</dc:creator>
  <cp:lastModifiedBy>星宇 郭</cp:lastModifiedBy>
  <cp:revision>2</cp:revision>
  <cp:lastPrinted>2019-08-29T16:00:00Z</cp:lastPrinted>
  <dcterms:created xsi:type="dcterms:W3CDTF">2019-08-29T16:00:00Z</dcterms:created>
  <dcterms:modified xsi:type="dcterms:W3CDTF">2023-10-24T00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